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439" r:id="rId2"/>
    <p:sldId id="382" r:id="rId3"/>
    <p:sldId id="434" r:id="rId4"/>
    <p:sldId id="386" r:id="rId5"/>
    <p:sldId id="440" r:id="rId6"/>
    <p:sldId id="442" r:id="rId7"/>
    <p:sldId id="444" r:id="rId8"/>
    <p:sldId id="420" r:id="rId9"/>
    <p:sldId id="350" r:id="rId10"/>
    <p:sldId id="394" r:id="rId11"/>
    <p:sldId id="430" r:id="rId12"/>
    <p:sldId id="431" r:id="rId13"/>
    <p:sldId id="376" r:id="rId14"/>
    <p:sldId id="435" r:id="rId15"/>
    <p:sldId id="437" r:id="rId16"/>
    <p:sldId id="438" r:id="rId17"/>
    <p:sldId id="443" r:id="rId18"/>
    <p:sldId id="391" r:id="rId19"/>
    <p:sldId id="310" r:id="rId20"/>
    <p:sldId id="313" r:id="rId21"/>
    <p:sldId id="415" r:id="rId22"/>
    <p:sldId id="409" r:id="rId23"/>
    <p:sldId id="408" r:id="rId24"/>
    <p:sldId id="396" r:id="rId25"/>
    <p:sldId id="375" r:id="rId26"/>
    <p:sldId id="436" r:id="rId27"/>
    <p:sldId id="429" r:id="rId28"/>
    <p:sldId id="403" r:id="rId29"/>
    <p:sldId id="426" r:id="rId30"/>
    <p:sldId id="398" r:id="rId31"/>
    <p:sldId id="421" r:id="rId32"/>
    <p:sldId id="388" r:id="rId33"/>
    <p:sldId id="422" r:id="rId34"/>
    <p:sldId id="441" r:id="rId35"/>
    <p:sldId id="433"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BCA48"/>
    <a:srgbClr val="E95219"/>
    <a:srgbClr val="A0E5FE"/>
    <a:srgbClr val="02668A"/>
    <a:srgbClr val="003658"/>
    <a:srgbClr val="F6B6A4"/>
    <a:srgbClr val="010E31"/>
    <a:srgbClr val="042B4C"/>
    <a:srgbClr val="7E8FAA"/>
    <a:srgbClr val="19191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972" autoAdjust="0"/>
    <p:restoredTop sz="96252" autoAdjust="0"/>
  </p:normalViewPr>
  <p:slideViewPr>
    <p:cSldViewPr snapToGrid="0" showGuides="1">
      <p:cViewPr varScale="1">
        <p:scale>
          <a:sx n="109" d="100"/>
          <a:sy n="109" d="100"/>
        </p:scale>
        <p:origin x="200" y="368"/>
      </p:cViewPr>
      <p:guideLst>
        <p:guide orient="horz" pos="2160"/>
        <p:guide pos="3864"/>
      </p:guideLst>
    </p:cSldViewPr>
  </p:slideViewPr>
  <p:notesTextViewPr>
    <p:cViewPr>
      <p:scale>
        <a:sx n="1" d="1"/>
        <a:sy n="1" d="1"/>
      </p:scale>
      <p:origin x="0" y="0"/>
    </p:cViewPr>
  </p:notesTextViewPr>
  <p:sorterViewPr>
    <p:cViewPr>
      <p:scale>
        <a:sx n="124" d="100"/>
        <a:sy n="124" d="100"/>
      </p:scale>
      <p:origin x="0" y="-1665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0D5B94"/>
            </a:solidFill>
          </c:spPr>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8D4-486E-BC9B-5D2C23EBFAA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8D4-486E-BC9B-5D2C23EBFAA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D4-486E-BC9B-5D2C23EBFAAE}"/>
              </c:ext>
            </c:extLst>
          </c:dPt>
          <c:dPt>
            <c:idx val="3"/>
            <c:bubble3D val="0"/>
            <c:spPr>
              <a:solidFill>
                <a:schemeClr val="accent4">
                  <a:lumMod val="90000"/>
                  <a:lumOff val="10000"/>
                </a:schemeClr>
              </a:solidFill>
              <a:ln w="19050">
                <a:solidFill>
                  <a:schemeClr val="lt1"/>
                </a:solidFill>
              </a:ln>
              <a:effectLst/>
            </c:spPr>
            <c:extLst>
              <c:ext xmlns:c16="http://schemas.microsoft.com/office/drawing/2014/chart" uri="{C3380CC4-5D6E-409C-BE32-E72D297353CC}">
                <c16:uniqueId val="{00000007-58D4-486E-BC9B-5D2C23EBFAA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6</c:v>
                </c:pt>
                <c:pt idx="1">
                  <c:v>2.5</c:v>
                </c:pt>
                <c:pt idx="2">
                  <c:v>1.5</c:v>
                </c:pt>
                <c:pt idx="3">
                  <c:v>1</c:v>
                </c:pt>
              </c:numCache>
            </c:numRef>
          </c:val>
          <c:extLst>
            <c:ext xmlns:c16="http://schemas.microsoft.com/office/drawing/2014/chart" uri="{C3380CC4-5D6E-409C-BE32-E72D297353CC}">
              <c16:uniqueId val="{00000008-58D4-486E-BC9B-5D2C23EBFAA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bg2">
                  <a:lumMod val="50000"/>
                </a:schemeClr>
              </a:solidFill>
              <a:latin typeface="+mj-lt"/>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E34-4F6D-870E-9D91D7136F51}"/>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E34-4F6D-870E-9D91D7136F51}"/>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E34-4F6D-870E-9D91D7136F51}"/>
            </c:ext>
          </c:extLst>
        </c:ser>
        <c:dLbls>
          <c:showLegendKey val="0"/>
          <c:showVal val="0"/>
          <c:showCatName val="0"/>
          <c:showSerName val="0"/>
          <c:showPercent val="0"/>
          <c:showBubbleSize val="0"/>
        </c:dLbls>
        <c:gapWidth val="182"/>
        <c:axId val="818328656"/>
        <c:axId val="818322832"/>
      </c:barChart>
      <c:catAx>
        <c:axId val="818328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bg2">
                    <a:lumMod val="50000"/>
                  </a:schemeClr>
                </a:solidFill>
                <a:latin typeface="+mj-lt"/>
                <a:ea typeface="+mn-ea"/>
                <a:cs typeface="Calibri" panose="020F0502020204030204" pitchFamily="34" charset="0"/>
              </a:defRPr>
            </a:pPr>
            <a:endParaRPr lang="en-US"/>
          </a:p>
        </c:txPr>
        <c:crossAx val="818322832"/>
        <c:crosses val="autoZero"/>
        <c:auto val="1"/>
        <c:lblAlgn val="ctr"/>
        <c:lblOffset val="100"/>
        <c:noMultiLvlLbl val="0"/>
      </c:catAx>
      <c:valAx>
        <c:axId val="818322832"/>
        <c:scaling>
          <c:orientation val="minMax"/>
        </c:scaling>
        <c:delete val="1"/>
        <c:axPos val="l"/>
        <c:numFmt formatCode="General" sourceLinked="1"/>
        <c:majorTickMark val="none"/>
        <c:minorTickMark val="none"/>
        <c:tickLblPos val="nextTo"/>
        <c:crossAx val="818328656"/>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bg2">
                  <a:lumMod val="50000"/>
                </a:schemeClr>
              </a:solidFill>
              <a:latin typeface="+mj-lt"/>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w="25400">
          <a:noFill/>
        </a:ln>
        <a:effectLst/>
      </c:spPr>
    </c:plotArea>
    <c:plotVisOnly val="1"/>
    <c:dispBlanksAs val="gap"/>
    <c:showDLblsOverMax val="0"/>
  </c:chart>
  <c:spPr>
    <a:noFill/>
    <a:ln>
      <a:noFill/>
    </a:ln>
    <a:effectLst/>
  </c:spPr>
  <c:txPr>
    <a:bodyPr/>
    <a:lstStyle/>
    <a:p>
      <a:pPr>
        <a:defRPr sz="1000">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34AF-4956-A90D-20FDE1DA72CE}"/>
              </c:ext>
            </c:extLst>
          </c:dPt>
          <c:dPt>
            <c:idx val="1"/>
            <c:bubble3D val="0"/>
            <c:spPr>
              <a:solidFill>
                <a:schemeClr val="bg1">
                  <a:alpha val="50000"/>
                </a:schemeClr>
              </a:solidFill>
              <a:ln w="19050">
                <a:noFill/>
              </a:ln>
              <a:effectLst/>
            </c:spPr>
            <c:extLst>
              <c:ext xmlns:c16="http://schemas.microsoft.com/office/drawing/2014/chart" uri="{C3380CC4-5D6E-409C-BE32-E72D297353CC}">
                <c16:uniqueId val="{00000003-34AF-4956-A90D-20FDE1DA72CE}"/>
              </c:ext>
            </c:extLst>
          </c:dPt>
          <c:dPt>
            <c:idx val="2"/>
            <c:bubble3D val="0"/>
            <c:spPr>
              <a:solidFill>
                <a:schemeClr val="accent3"/>
              </a:solidFill>
              <a:ln w="19050">
                <a:noFill/>
              </a:ln>
              <a:effectLst/>
            </c:spPr>
            <c:extLst>
              <c:ext xmlns:c16="http://schemas.microsoft.com/office/drawing/2014/chart" uri="{C3380CC4-5D6E-409C-BE32-E72D297353CC}">
                <c16:uniqueId val="{00000005-34AF-4956-A90D-20FDE1DA72CE}"/>
              </c:ext>
            </c:extLst>
          </c:dPt>
          <c:dPt>
            <c:idx val="3"/>
            <c:bubble3D val="0"/>
            <c:spPr>
              <a:solidFill>
                <a:schemeClr val="accent4"/>
              </a:solidFill>
              <a:ln w="19050">
                <a:noFill/>
              </a:ln>
              <a:effectLst/>
            </c:spPr>
            <c:extLst>
              <c:ext xmlns:c16="http://schemas.microsoft.com/office/drawing/2014/chart" uri="{C3380CC4-5D6E-409C-BE32-E72D297353CC}">
                <c16:uniqueId val="{00000007-34AF-4956-A90D-20FDE1DA72CE}"/>
              </c:ext>
            </c:extLst>
          </c:dPt>
          <c:cat>
            <c:strRef>
              <c:f>Sheet1!$A$2:$A$5</c:f>
              <c:strCache>
                <c:ptCount val="2"/>
                <c:pt idx="0">
                  <c:v>1st Qtr</c:v>
                </c:pt>
                <c:pt idx="1">
                  <c:v>2nd Qtr</c:v>
                </c:pt>
              </c:strCache>
            </c:strRef>
          </c:cat>
          <c:val>
            <c:numRef>
              <c:f>Sheet1!$B$2:$B$5</c:f>
              <c:numCache>
                <c:formatCode>General</c:formatCode>
                <c:ptCount val="4"/>
                <c:pt idx="0">
                  <c:v>50</c:v>
                </c:pt>
                <c:pt idx="1">
                  <c:v>50</c:v>
                </c:pt>
              </c:numCache>
            </c:numRef>
          </c:val>
          <c:extLst>
            <c:ext xmlns:c16="http://schemas.microsoft.com/office/drawing/2014/chart" uri="{C3380CC4-5D6E-409C-BE32-E72D297353CC}">
              <c16:uniqueId val="{00000008-34AF-4956-A90D-20FDE1DA72CE}"/>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sz="1000">
          <a:latin typeface="+mn-lt"/>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CC13-4CC6-9B2B-E84DC305217A}"/>
              </c:ext>
            </c:extLst>
          </c:dPt>
          <c:dPt>
            <c:idx val="1"/>
            <c:bubble3D val="0"/>
            <c:spPr>
              <a:solidFill>
                <a:schemeClr val="bg1">
                  <a:alpha val="50000"/>
                </a:schemeClr>
              </a:solidFill>
              <a:ln w="19050">
                <a:noFill/>
              </a:ln>
              <a:effectLst/>
            </c:spPr>
            <c:extLst>
              <c:ext xmlns:c16="http://schemas.microsoft.com/office/drawing/2014/chart" uri="{C3380CC4-5D6E-409C-BE32-E72D297353CC}">
                <c16:uniqueId val="{00000003-CC13-4CC6-9B2B-E84DC305217A}"/>
              </c:ext>
            </c:extLst>
          </c:dPt>
          <c:dPt>
            <c:idx val="2"/>
            <c:bubble3D val="0"/>
            <c:spPr>
              <a:solidFill>
                <a:schemeClr val="accent3"/>
              </a:solidFill>
              <a:ln w="19050">
                <a:noFill/>
              </a:ln>
              <a:effectLst/>
            </c:spPr>
            <c:extLst>
              <c:ext xmlns:c16="http://schemas.microsoft.com/office/drawing/2014/chart" uri="{C3380CC4-5D6E-409C-BE32-E72D297353CC}">
                <c16:uniqueId val="{00000005-CC13-4CC6-9B2B-E84DC305217A}"/>
              </c:ext>
            </c:extLst>
          </c:dPt>
          <c:dPt>
            <c:idx val="3"/>
            <c:bubble3D val="0"/>
            <c:spPr>
              <a:solidFill>
                <a:schemeClr val="accent4"/>
              </a:solidFill>
              <a:ln w="19050">
                <a:noFill/>
              </a:ln>
              <a:effectLst/>
            </c:spPr>
            <c:extLst>
              <c:ext xmlns:c16="http://schemas.microsoft.com/office/drawing/2014/chart" uri="{C3380CC4-5D6E-409C-BE32-E72D297353CC}">
                <c16:uniqueId val="{00000007-CC13-4CC6-9B2B-E84DC305217A}"/>
              </c:ext>
            </c:extLst>
          </c:dPt>
          <c:cat>
            <c:strRef>
              <c:f>Sheet1!$A$2:$A$5</c:f>
              <c:strCache>
                <c:ptCount val="2"/>
                <c:pt idx="0">
                  <c:v>1st Qtr</c:v>
                </c:pt>
                <c:pt idx="1">
                  <c:v>2nd Qtr</c:v>
                </c:pt>
              </c:strCache>
            </c:strRef>
          </c:cat>
          <c:val>
            <c:numRef>
              <c:f>Sheet1!$B$2:$B$5</c:f>
              <c:numCache>
                <c:formatCode>General</c:formatCode>
                <c:ptCount val="4"/>
                <c:pt idx="0">
                  <c:v>30</c:v>
                </c:pt>
                <c:pt idx="1">
                  <c:v>70</c:v>
                </c:pt>
              </c:numCache>
            </c:numRef>
          </c:val>
          <c:extLst>
            <c:ext xmlns:c16="http://schemas.microsoft.com/office/drawing/2014/chart" uri="{C3380CC4-5D6E-409C-BE32-E72D297353CC}">
              <c16:uniqueId val="{00000008-CC13-4CC6-9B2B-E84DC305217A}"/>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sz="1000">
          <a:latin typeface="+mn-lt"/>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67FB-425D-902E-334E2C9C0381}"/>
              </c:ext>
            </c:extLst>
          </c:dPt>
          <c:dPt>
            <c:idx val="1"/>
            <c:bubble3D val="0"/>
            <c:spPr>
              <a:solidFill>
                <a:schemeClr val="bg1">
                  <a:alpha val="50000"/>
                </a:schemeClr>
              </a:solidFill>
              <a:ln w="19050">
                <a:noFill/>
              </a:ln>
              <a:effectLst/>
            </c:spPr>
            <c:extLst>
              <c:ext xmlns:c16="http://schemas.microsoft.com/office/drawing/2014/chart" uri="{C3380CC4-5D6E-409C-BE32-E72D297353CC}">
                <c16:uniqueId val="{00000003-67FB-425D-902E-334E2C9C0381}"/>
              </c:ext>
            </c:extLst>
          </c:dPt>
          <c:dPt>
            <c:idx val="2"/>
            <c:bubble3D val="0"/>
            <c:spPr>
              <a:solidFill>
                <a:schemeClr val="accent3"/>
              </a:solidFill>
              <a:ln w="19050">
                <a:noFill/>
              </a:ln>
              <a:effectLst/>
            </c:spPr>
            <c:extLst>
              <c:ext xmlns:c16="http://schemas.microsoft.com/office/drawing/2014/chart" uri="{C3380CC4-5D6E-409C-BE32-E72D297353CC}">
                <c16:uniqueId val="{00000005-67FB-425D-902E-334E2C9C0381}"/>
              </c:ext>
            </c:extLst>
          </c:dPt>
          <c:dPt>
            <c:idx val="3"/>
            <c:bubble3D val="0"/>
            <c:spPr>
              <a:solidFill>
                <a:schemeClr val="accent4"/>
              </a:solidFill>
              <a:ln w="19050">
                <a:noFill/>
              </a:ln>
              <a:effectLst/>
            </c:spPr>
            <c:extLst>
              <c:ext xmlns:c16="http://schemas.microsoft.com/office/drawing/2014/chart" uri="{C3380CC4-5D6E-409C-BE32-E72D297353CC}">
                <c16:uniqueId val="{00000007-67FB-425D-902E-334E2C9C0381}"/>
              </c:ext>
            </c:extLst>
          </c:dPt>
          <c:cat>
            <c:strRef>
              <c:f>Sheet1!$A$2:$A$5</c:f>
              <c:strCache>
                <c:ptCount val="2"/>
                <c:pt idx="0">
                  <c:v>1st Qtr</c:v>
                </c:pt>
                <c:pt idx="1">
                  <c:v>2nd Qtr</c:v>
                </c:pt>
              </c:strCache>
            </c:strRef>
          </c:cat>
          <c:val>
            <c:numRef>
              <c:f>Sheet1!$B$2:$B$5</c:f>
              <c:numCache>
                <c:formatCode>General</c:formatCode>
                <c:ptCount val="4"/>
                <c:pt idx="0">
                  <c:v>10</c:v>
                </c:pt>
                <c:pt idx="1">
                  <c:v>90</c:v>
                </c:pt>
              </c:numCache>
            </c:numRef>
          </c:val>
          <c:extLst>
            <c:ext xmlns:c16="http://schemas.microsoft.com/office/drawing/2014/chart" uri="{C3380CC4-5D6E-409C-BE32-E72D297353CC}">
              <c16:uniqueId val="{00000008-67FB-425D-902E-334E2C9C0381}"/>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sz="1000">
          <a:latin typeface="+mn-lt"/>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91F8-4B1D-BD82-3D90A150966E}"/>
              </c:ext>
            </c:extLst>
          </c:dPt>
          <c:dPt>
            <c:idx val="1"/>
            <c:bubble3D val="0"/>
            <c:spPr>
              <a:solidFill>
                <a:schemeClr val="bg1">
                  <a:alpha val="50000"/>
                </a:schemeClr>
              </a:solidFill>
              <a:ln w="19050">
                <a:noFill/>
              </a:ln>
              <a:effectLst/>
            </c:spPr>
            <c:extLst>
              <c:ext xmlns:c16="http://schemas.microsoft.com/office/drawing/2014/chart" uri="{C3380CC4-5D6E-409C-BE32-E72D297353CC}">
                <c16:uniqueId val="{00000003-91F8-4B1D-BD82-3D90A150966E}"/>
              </c:ext>
            </c:extLst>
          </c:dPt>
          <c:dPt>
            <c:idx val="2"/>
            <c:bubble3D val="0"/>
            <c:spPr>
              <a:solidFill>
                <a:schemeClr val="accent3"/>
              </a:solidFill>
              <a:ln w="19050">
                <a:noFill/>
              </a:ln>
              <a:effectLst/>
            </c:spPr>
            <c:extLst>
              <c:ext xmlns:c16="http://schemas.microsoft.com/office/drawing/2014/chart" uri="{C3380CC4-5D6E-409C-BE32-E72D297353CC}">
                <c16:uniqueId val="{00000005-91F8-4B1D-BD82-3D90A150966E}"/>
              </c:ext>
            </c:extLst>
          </c:dPt>
          <c:dPt>
            <c:idx val="3"/>
            <c:bubble3D val="0"/>
            <c:spPr>
              <a:solidFill>
                <a:schemeClr val="accent4"/>
              </a:solidFill>
              <a:ln w="19050">
                <a:noFill/>
              </a:ln>
              <a:effectLst/>
            </c:spPr>
            <c:extLst>
              <c:ext xmlns:c16="http://schemas.microsoft.com/office/drawing/2014/chart" uri="{C3380CC4-5D6E-409C-BE32-E72D297353CC}">
                <c16:uniqueId val="{00000007-91F8-4B1D-BD82-3D90A150966E}"/>
              </c:ext>
            </c:extLst>
          </c:dPt>
          <c:cat>
            <c:strRef>
              <c:f>Sheet1!$A$2:$A$5</c:f>
              <c:strCache>
                <c:ptCount val="2"/>
                <c:pt idx="0">
                  <c:v>1st Qtr</c:v>
                </c:pt>
                <c:pt idx="1">
                  <c:v>2nd Qtr</c:v>
                </c:pt>
              </c:strCache>
            </c:strRef>
          </c:cat>
          <c:val>
            <c:numRef>
              <c:f>Sheet1!$B$2:$B$5</c:f>
              <c:numCache>
                <c:formatCode>General</c:formatCode>
                <c:ptCount val="4"/>
                <c:pt idx="0">
                  <c:v>20</c:v>
                </c:pt>
                <c:pt idx="1">
                  <c:v>80</c:v>
                </c:pt>
              </c:numCache>
            </c:numRef>
          </c:val>
          <c:extLst>
            <c:ext xmlns:c16="http://schemas.microsoft.com/office/drawing/2014/chart" uri="{C3380CC4-5D6E-409C-BE32-E72D297353CC}">
              <c16:uniqueId val="{00000008-91F8-4B1D-BD82-3D90A150966E}"/>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sz="1000">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2C2CF3-881C-4C55-A85F-EBD632B58686}" type="datetimeFigureOut">
              <a:rPr lang="en-US" smtClean="0"/>
              <a:t>8/29/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FAEC75-9BCA-4E0F-84AD-BFB45CABEA2A}" type="slidenum">
              <a:rPr lang="en-US" smtClean="0"/>
              <a:t>‹#›</a:t>
            </a:fld>
            <a:endParaRPr lang="en-US"/>
          </a:p>
        </p:txBody>
      </p:sp>
    </p:spTree>
    <p:extLst>
      <p:ext uri="{BB962C8B-B14F-4D97-AF65-F5344CB8AC3E}">
        <p14:creationId xmlns:p14="http://schemas.microsoft.com/office/powerpoint/2010/main" val="27388202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 change required</a:t>
            </a:r>
          </a:p>
        </p:txBody>
      </p:sp>
      <p:sp>
        <p:nvSpPr>
          <p:cNvPr id="4" name="Slide Number Placeholder 3"/>
          <p:cNvSpPr>
            <a:spLocks noGrp="1"/>
          </p:cNvSpPr>
          <p:nvPr>
            <p:ph type="sldNum" sz="quarter" idx="10"/>
          </p:nvPr>
        </p:nvSpPr>
        <p:spPr/>
        <p:txBody>
          <a:bodyPr/>
          <a:lstStyle/>
          <a:p>
            <a:fld id="{A45AD496-F649-0846-8032-080E6FA00371}" type="slidenum">
              <a:rPr lang="en-GB" smtClean="0"/>
              <a:t>2</a:t>
            </a:fld>
            <a:endParaRPr lang="en-GB"/>
          </a:p>
        </p:txBody>
      </p:sp>
    </p:spTree>
    <p:extLst>
      <p:ext uri="{BB962C8B-B14F-4D97-AF65-F5344CB8AC3E}">
        <p14:creationId xmlns:p14="http://schemas.microsoft.com/office/powerpoint/2010/main" val="4007422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 change required</a:t>
            </a:r>
          </a:p>
        </p:txBody>
      </p:sp>
      <p:sp>
        <p:nvSpPr>
          <p:cNvPr id="4" name="Slide Number Placeholder 3"/>
          <p:cNvSpPr>
            <a:spLocks noGrp="1"/>
          </p:cNvSpPr>
          <p:nvPr>
            <p:ph type="sldNum" sz="quarter" idx="10"/>
          </p:nvPr>
        </p:nvSpPr>
        <p:spPr/>
        <p:txBody>
          <a:bodyPr/>
          <a:lstStyle/>
          <a:p>
            <a:fld id="{A45AD496-F649-0846-8032-080E6FA00371}" type="slidenum">
              <a:rPr lang="en-GB" smtClean="0"/>
              <a:t>3</a:t>
            </a:fld>
            <a:endParaRPr lang="en-GB"/>
          </a:p>
        </p:txBody>
      </p:sp>
    </p:spTree>
    <p:extLst>
      <p:ext uri="{BB962C8B-B14F-4D97-AF65-F5344CB8AC3E}">
        <p14:creationId xmlns:p14="http://schemas.microsoft.com/office/powerpoint/2010/main" val="347044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7</a:t>
            </a:fld>
            <a:endParaRPr lang="en-US" dirty="0"/>
          </a:p>
        </p:txBody>
      </p:sp>
    </p:spTree>
    <p:extLst>
      <p:ext uri="{BB962C8B-B14F-4D97-AF65-F5344CB8AC3E}">
        <p14:creationId xmlns:p14="http://schemas.microsoft.com/office/powerpoint/2010/main" val="871310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25FF66-D43C-4709-967B-917E1FE885B0}" type="slidenum">
              <a:rPr lang="en-US" smtClean="0"/>
              <a:pPr/>
              <a:t>9</a:t>
            </a:fld>
            <a:endParaRPr lang="en-US" dirty="0"/>
          </a:p>
        </p:txBody>
      </p:sp>
    </p:spTree>
    <p:extLst>
      <p:ext uri="{BB962C8B-B14F-4D97-AF65-F5344CB8AC3E}">
        <p14:creationId xmlns:p14="http://schemas.microsoft.com/office/powerpoint/2010/main" val="2836701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21</a:t>
            </a:fld>
            <a:endParaRPr lang="en-US" dirty="0"/>
          </a:p>
        </p:txBody>
      </p:sp>
    </p:spTree>
    <p:extLst>
      <p:ext uri="{BB962C8B-B14F-4D97-AF65-F5344CB8AC3E}">
        <p14:creationId xmlns:p14="http://schemas.microsoft.com/office/powerpoint/2010/main" val="1835010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ext Placeholder 17"/>
          <p:cNvSpPr>
            <a:spLocks noGrp="1"/>
          </p:cNvSpPr>
          <p:nvPr>
            <p:ph type="body" sz="quarter" idx="13" hasCustomPrompt="1"/>
          </p:nvPr>
        </p:nvSpPr>
        <p:spPr>
          <a:xfrm>
            <a:off x="502023" y="285147"/>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tx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531026532"/>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84" userDrawn="1">
          <p15:clr>
            <a:srgbClr val="FBAE40"/>
          </p15:clr>
        </p15:guide>
        <p15:guide id="4" pos="7296" userDrawn="1">
          <p15:clr>
            <a:srgbClr val="FBAE40"/>
          </p15:clr>
        </p15:guide>
        <p15:guide id="5" orient="horz" pos="432" userDrawn="1">
          <p15:clr>
            <a:srgbClr val="FBAE40"/>
          </p15:clr>
        </p15:guide>
        <p15:guide id="6" orient="horz" pos="24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266700" y="1998663"/>
            <a:ext cx="2662238" cy="3521075"/>
          </a:xfrm>
          <a:prstGeom prst="rect">
            <a:avLst/>
          </a:prstGeom>
        </p:spPr>
        <p:txBody>
          <a:bodyPr/>
          <a:lstStyle>
            <a:lvl1pPr marL="0" indent="0">
              <a:buNone/>
              <a:defRPr>
                <a:solidFill>
                  <a:schemeClr val="accent1"/>
                </a:solidFill>
              </a:defRPr>
            </a:lvl1pPr>
          </a:lstStyle>
          <a:p>
            <a:pPr lvl="0"/>
            <a:r>
              <a:rPr lang="en-US" dirty="0"/>
              <a:t>Edit Master text styles</a:t>
            </a:r>
          </a:p>
        </p:txBody>
      </p:sp>
      <p:sp>
        <p:nvSpPr>
          <p:cNvPr id="3" name="Picture Placeholder 2"/>
          <p:cNvSpPr>
            <a:spLocks noGrp="1"/>
          </p:cNvSpPr>
          <p:nvPr>
            <p:ph type="pic" sz="quarter" idx="10"/>
          </p:nvPr>
        </p:nvSpPr>
        <p:spPr>
          <a:xfrm>
            <a:off x="8348133" y="1862662"/>
            <a:ext cx="3843867" cy="3860800"/>
          </a:xfrm>
          <a:prstGeom prst="rect">
            <a:avLst/>
          </a:prstGeom>
        </p:spPr>
        <p:txBody>
          <a:bodyPr/>
          <a:lstStyle/>
          <a:p>
            <a:endParaRPr lang="en-US"/>
          </a:p>
        </p:txBody>
      </p:sp>
      <p:sp>
        <p:nvSpPr>
          <p:cNvPr id="10" name="Text Placeholder 17"/>
          <p:cNvSpPr>
            <a:spLocks noGrp="1"/>
          </p:cNvSpPr>
          <p:nvPr>
            <p:ph type="body" sz="quarter" idx="13" hasCustomPrompt="1"/>
          </p:nvPr>
        </p:nvSpPr>
        <p:spPr>
          <a:xfrm>
            <a:off x="502023" y="297391"/>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
        <p:nvSpPr>
          <p:cNvPr id="9" name="Text Placeholder 6"/>
          <p:cNvSpPr>
            <a:spLocks noGrp="1"/>
          </p:cNvSpPr>
          <p:nvPr>
            <p:ph type="body" sz="quarter" idx="15"/>
          </p:nvPr>
        </p:nvSpPr>
        <p:spPr>
          <a:xfrm>
            <a:off x="2976297" y="1998663"/>
            <a:ext cx="2662238" cy="3521075"/>
          </a:xfrm>
          <a:prstGeom prst="rect">
            <a:avLst/>
          </a:prstGeom>
        </p:spPr>
        <p:txBody>
          <a:bodyPr/>
          <a:lstStyle>
            <a:lvl1pPr marL="0" indent="0">
              <a:buNone/>
              <a:defRPr>
                <a:solidFill>
                  <a:schemeClr val="accent1"/>
                </a:solidFill>
              </a:defRPr>
            </a:lvl1pPr>
          </a:lstStyle>
          <a:p>
            <a:pPr lvl="0"/>
            <a:r>
              <a:rPr lang="en-US" dirty="0"/>
              <a:t>Edit Master text styles</a:t>
            </a:r>
          </a:p>
        </p:txBody>
      </p:sp>
      <p:sp>
        <p:nvSpPr>
          <p:cNvPr id="11" name="Text Placeholder 6"/>
          <p:cNvSpPr>
            <a:spLocks noGrp="1"/>
          </p:cNvSpPr>
          <p:nvPr>
            <p:ph type="body" sz="quarter" idx="16"/>
          </p:nvPr>
        </p:nvSpPr>
        <p:spPr>
          <a:xfrm>
            <a:off x="5685895" y="1998663"/>
            <a:ext cx="2662238" cy="3521075"/>
          </a:xfrm>
          <a:prstGeom prst="rect">
            <a:avLst/>
          </a:prstGeom>
        </p:spPr>
        <p:txBody>
          <a:bodyPr/>
          <a:lstStyle>
            <a:lvl1pPr marL="0" indent="0">
              <a:buNone/>
              <a:defRPr>
                <a:solidFill>
                  <a:schemeClr val="accent1"/>
                </a:solidFill>
              </a:defRPr>
            </a:lvl1pPr>
          </a:lstStyle>
          <a:p>
            <a:pPr lvl="0"/>
            <a:r>
              <a:rPr lang="en-US" dirty="0"/>
              <a:t>Edit Master text styles</a:t>
            </a:r>
          </a:p>
        </p:txBody>
      </p:sp>
    </p:spTree>
    <p:extLst>
      <p:ext uri="{BB962C8B-B14F-4D97-AF65-F5344CB8AC3E}">
        <p14:creationId xmlns:p14="http://schemas.microsoft.com/office/powerpoint/2010/main" val="10408613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1942429"/>
            <a:ext cx="12192000" cy="2973142"/>
          </a:xfrm>
          <a:prstGeom prst="rect">
            <a:avLst/>
          </a:prstGeom>
        </p:spPr>
        <p:txBody>
          <a:bodyPr/>
          <a:lstStyle/>
          <a:p>
            <a:endParaRPr lang="en-US"/>
          </a:p>
        </p:txBody>
      </p:sp>
      <p:sp>
        <p:nvSpPr>
          <p:cNvPr id="4" name="Text Placeholder 17"/>
          <p:cNvSpPr>
            <a:spLocks noGrp="1"/>
          </p:cNvSpPr>
          <p:nvPr>
            <p:ph type="body" sz="quarter" idx="14" hasCustomPrompt="1"/>
          </p:nvPr>
        </p:nvSpPr>
        <p:spPr>
          <a:xfrm>
            <a:off x="502023" y="295606"/>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tx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31632226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16" name="Text Placeholder 17"/>
          <p:cNvSpPr>
            <a:spLocks noGrp="1"/>
          </p:cNvSpPr>
          <p:nvPr>
            <p:ph type="body" sz="quarter" idx="13" hasCustomPrompt="1"/>
          </p:nvPr>
        </p:nvSpPr>
        <p:spPr>
          <a:xfrm>
            <a:off x="502023" y="290031"/>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4104390169"/>
      </p:ext>
    </p:extLst>
  </p:cSld>
  <p:clrMapOvr>
    <a:masterClrMapping/>
  </p:clrMapOvr>
  <p:extLst mod="1">
    <p:ext uri="{DCECCB84-F9BA-43D5-87BE-67443E8EF086}">
      <p15:sldGuideLst xmlns:p15="http://schemas.microsoft.com/office/powerpoint/2012/main">
        <p15:guide id="1" pos="3840">
          <p15:clr>
            <a:srgbClr val="FBAE40"/>
          </p15:clr>
        </p15:guide>
        <p15:guide id="2" orient="horz" pos="2160">
          <p15:clr>
            <a:srgbClr val="FBAE40"/>
          </p15:clr>
        </p15:guide>
        <p15:guide id="6" pos="390">
          <p15:clr>
            <a:srgbClr val="FBAE40"/>
          </p15:clr>
        </p15:guide>
        <p15:guide id="7" pos="73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am2">
    <p:spTree>
      <p:nvGrpSpPr>
        <p:cNvPr id="1" name=""/>
        <p:cNvGrpSpPr/>
        <p:nvPr/>
      </p:nvGrpSpPr>
      <p:grpSpPr>
        <a:xfrm>
          <a:off x="0" y="0"/>
          <a:ext cx="0" cy="0"/>
          <a:chOff x="0" y="0"/>
          <a:chExt cx="0" cy="0"/>
        </a:xfrm>
      </p:grpSpPr>
      <p:sp>
        <p:nvSpPr>
          <p:cNvPr id="16" name="Rectangle 15"/>
          <p:cNvSpPr/>
          <p:nvPr userDrawn="1"/>
        </p:nvSpPr>
        <p:spPr>
          <a:xfrm>
            <a:off x="1676401" y="2047161"/>
            <a:ext cx="274141" cy="1601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userDrawn="1"/>
        </p:nvSpPr>
        <p:spPr>
          <a:xfrm>
            <a:off x="4203528" y="2047161"/>
            <a:ext cx="274141" cy="1601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userDrawn="1"/>
        </p:nvSpPr>
        <p:spPr>
          <a:xfrm>
            <a:off x="6705304" y="2047161"/>
            <a:ext cx="274141" cy="1601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userDrawn="1"/>
        </p:nvSpPr>
        <p:spPr>
          <a:xfrm>
            <a:off x="9207080" y="2047161"/>
            <a:ext cx="274141" cy="1601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userDrawn="1"/>
        </p:nvSpPr>
        <p:spPr>
          <a:xfrm>
            <a:off x="11708855" y="2047161"/>
            <a:ext cx="274141" cy="1601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12"/>
          <p:cNvSpPr>
            <a:spLocks noGrp="1"/>
          </p:cNvSpPr>
          <p:nvPr>
            <p:ph type="pic" sz="quarter" idx="12"/>
          </p:nvPr>
        </p:nvSpPr>
        <p:spPr>
          <a:xfrm>
            <a:off x="215901" y="2047161"/>
            <a:ext cx="1622922" cy="1611493"/>
          </a:xfrm>
          <a:prstGeom prst="rect">
            <a:avLst/>
          </a:prstGeom>
        </p:spPr>
        <p:txBody>
          <a:bodyPr/>
          <a:lstStyle>
            <a:lvl1pPr>
              <a:defRPr sz="1050"/>
            </a:lvl1pPr>
          </a:lstStyle>
          <a:p>
            <a:endParaRPr lang="en-US"/>
          </a:p>
        </p:txBody>
      </p:sp>
      <p:sp>
        <p:nvSpPr>
          <p:cNvPr id="19" name="Picture Placeholder 12"/>
          <p:cNvSpPr>
            <a:spLocks noGrp="1"/>
          </p:cNvSpPr>
          <p:nvPr>
            <p:ph type="pic" sz="quarter" idx="17"/>
          </p:nvPr>
        </p:nvSpPr>
        <p:spPr>
          <a:xfrm>
            <a:off x="2717677" y="2047161"/>
            <a:ext cx="1622922" cy="1611493"/>
          </a:xfrm>
          <a:prstGeom prst="rect">
            <a:avLst/>
          </a:prstGeom>
        </p:spPr>
        <p:txBody>
          <a:bodyPr/>
          <a:lstStyle>
            <a:lvl1pPr>
              <a:defRPr sz="1050"/>
            </a:lvl1pPr>
          </a:lstStyle>
          <a:p>
            <a:endParaRPr lang="en-US"/>
          </a:p>
        </p:txBody>
      </p:sp>
      <p:sp>
        <p:nvSpPr>
          <p:cNvPr id="20" name="Picture Placeholder 12"/>
          <p:cNvSpPr>
            <a:spLocks noGrp="1"/>
          </p:cNvSpPr>
          <p:nvPr>
            <p:ph type="pic" sz="quarter" idx="18"/>
          </p:nvPr>
        </p:nvSpPr>
        <p:spPr>
          <a:xfrm>
            <a:off x="5219453" y="2047161"/>
            <a:ext cx="1622922" cy="1611493"/>
          </a:xfrm>
          <a:prstGeom prst="rect">
            <a:avLst/>
          </a:prstGeom>
        </p:spPr>
        <p:txBody>
          <a:bodyPr/>
          <a:lstStyle>
            <a:lvl1pPr>
              <a:defRPr sz="1050"/>
            </a:lvl1pPr>
          </a:lstStyle>
          <a:p>
            <a:endParaRPr lang="en-US"/>
          </a:p>
        </p:txBody>
      </p:sp>
      <p:sp>
        <p:nvSpPr>
          <p:cNvPr id="21" name="Picture Placeholder 12"/>
          <p:cNvSpPr>
            <a:spLocks noGrp="1"/>
          </p:cNvSpPr>
          <p:nvPr>
            <p:ph type="pic" sz="quarter" idx="19"/>
          </p:nvPr>
        </p:nvSpPr>
        <p:spPr>
          <a:xfrm>
            <a:off x="7721229" y="2047161"/>
            <a:ext cx="1622922" cy="1611493"/>
          </a:xfrm>
          <a:prstGeom prst="rect">
            <a:avLst/>
          </a:prstGeom>
        </p:spPr>
        <p:txBody>
          <a:bodyPr/>
          <a:lstStyle>
            <a:lvl1pPr>
              <a:defRPr sz="1050"/>
            </a:lvl1pPr>
          </a:lstStyle>
          <a:p>
            <a:endParaRPr lang="en-US"/>
          </a:p>
        </p:txBody>
      </p:sp>
      <p:sp>
        <p:nvSpPr>
          <p:cNvPr id="22" name="Picture Placeholder 12"/>
          <p:cNvSpPr>
            <a:spLocks noGrp="1"/>
          </p:cNvSpPr>
          <p:nvPr>
            <p:ph type="pic" sz="quarter" idx="20"/>
          </p:nvPr>
        </p:nvSpPr>
        <p:spPr>
          <a:xfrm>
            <a:off x="10223004" y="2047161"/>
            <a:ext cx="1622922" cy="1611493"/>
          </a:xfrm>
          <a:prstGeom prst="rect">
            <a:avLst/>
          </a:prstGeom>
        </p:spPr>
        <p:txBody>
          <a:bodyPr/>
          <a:lstStyle>
            <a:lvl1pPr>
              <a:defRPr sz="1050"/>
            </a:lvl1pPr>
          </a:lstStyle>
          <a:p>
            <a:endParaRPr lang="en-US"/>
          </a:p>
        </p:txBody>
      </p:sp>
      <p:sp>
        <p:nvSpPr>
          <p:cNvPr id="14" name="Text Placeholder 17"/>
          <p:cNvSpPr>
            <a:spLocks noGrp="1"/>
          </p:cNvSpPr>
          <p:nvPr>
            <p:ph type="body" sz="quarter" idx="13" hasCustomPrompt="1"/>
          </p:nvPr>
        </p:nvSpPr>
        <p:spPr>
          <a:xfrm>
            <a:off x="502023" y="287452"/>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tx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2522328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4_Title Slide">
    <p:spTree>
      <p:nvGrpSpPr>
        <p:cNvPr id="1" name=""/>
        <p:cNvGrpSpPr/>
        <p:nvPr/>
      </p:nvGrpSpPr>
      <p:grpSpPr>
        <a:xfrm>
          <a:off x="0" y="0"/>
          <a:ext cx="0" cy="0"/>
          <a:chOff x="0" y="0"/>
          <a:chExt cx="0" cy="0"/>
        </a:xfrm>
      </p:grpSpPr>
      <p:sp>
        <p:nvSpPr>
          <p:cNvPr id="3" name="Text Placeholder 17"/>
          <p:cNvSpPr>
            <a:spLocks noGrp="1"/>
          </p:cNvSpPr>
          <p:nvPr>
            <p:ph type="body" sz="quarter" idx="13" hasCustomPrompt="1"/>
          </p:nvPr>
        </p:nvSpPr>
        <p:spPr>
          <a:xfrm>
            <a:off x="502023" y="287452"/>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685978953"/>
      </p:ext>
    </p:extLst>
  </p:cSld>
  <p:clrMapOvr>
    <a:masterClrMapping/>
  </p:clrMapOvr>
  <p:extLst mod="1">
    <p:ext uri="{DCECCB84-F9BA-43D5-87BE-67443E8EF086}">
      <p15:sldGuideLst xmlns:p15="http://schemas.microsoft.com/office/powerpoint/2012/main">
        <p15:guide id="1" pos="3840">
          <p15:clr>
            <a:srgbClr val="FBAE40"/>
          </p15:clr>
        </p15:guide>
        <p15:guide id="2" orient="horz" pos="2160">
          <p15:clr>
            <a:srgbClr val="FBAE40"/>
          </p15:clr>
        </p15:guide>
        <p15:guide id="6" pos="390">
          <p15:clr>
            <a:srgbClr val="FBAE40"/>
          </p15:clr>
        </p15:guide>
        <p15:guide id="7" pos="73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4_Title Slide">
    <p:spTree>
      <p:nvGrpSpPr>
        <p:cNvPr id="1" name=""/>
        <p:cNvGrpSpPr/>
        <p:nvPr/>
      </p:nvGrpSpPr>
      <p:grpSpPr>
        <a:xfrm>
          <a:off x="0" y="0"/>
          <a:ext cx="0" cy="0"/>
          <a:chOff x="0" y="0"/>
          <a:chExt cx="0" cy="0"/>
        </a:xfrm>
      </p:grpSpPr>
      <p:sp>
        <p:nvSpPr>
          <p:cNvPr id="4" name="Picture Placeholder 7"/>
          <p:cNvSpPr>
            <a:spLocks noGrp="1"/>
          </p:cNvSpPr>
          <p:nvPr>
            <p:ph type="pic" sz="quarter" idx="15" hasCustomPrompt="1"/>
          </p:nvPr>
        </p:nvSpPr>
        <p:spPr>
          <a:xfrm>
            <a:off x="558801" y="1284638"/>
            <a:ext cx="1988820" cy="2252133"/>
          </a:xfrm>
          <a:prstGeom prst="rect">
            <a:avLst/>
          </a:prstGeom>
          <a:solidFill>
            <a:schemeClr val="bg1">
              <a:lumMod val="95000"/>
            </a:schemeClr>
          </a:solidFill>
          <a:ln w="38100">
            <a:noFill/>
          </a:ln>
        </p:spPr>
        <p:txBody>
          <a:bodyPr tIns="822960" bIns="274320" anchor="ctr" anchorCtr="0"/>
          <a:lstStyle>
            <a:lvl1pPr algn="ctr" rtl="0">
              <a:buNone/>
              <a:defRPr sz="1400">
                <a:solidFill>
                  <a:schemeClr val="tx1">
                    <a:lumMod val="50000"/>
                    <a:lumOff val="50000"/>
                  </a:schemeClr>
                </a:solidFill>
                <a:latin typeface="Abeezee" panose="02000000000000000000" pitchFamily="2" charset="0"/>
                <a:ea typeface="Abeezee" panose="02000000000000000000" pitchFamily="2" charset="0"/>
              </a:defRPr>
            </a:lvl1pPr>
          </a:lstStyle>
          <a:p>
            <a:r>
              <a:rPr lang="en-US" dirty="0"/>
              <a:t>Image Holder</a:t>
            </a:r>
          </a:p>
        </p:txBody>
      </p:sp>
      <p:sp>
        <p:nvSpPr>
          <p:cNvPr id="11" name="Picture Placeholder 7"/>
          <p:cNvSpPr>
            <a:spLocks noGrp="1"/>
          </p:cNvSpPr>
          <p:nvPr>
            <p:ph type="pic" sz="quarter" idx="20" hasCustomPrompt="1"/>
          </p:nvPr>
        </p:nvSpPr>
        <p:spPr>
          <a:xfrm>
            <a:off x="558801" y="3698484"/>
            <a:ext cx="1988820" cy="2252133"/>
          </a:xfrm>
          <a:prstGeom prst="rect">
            <a:avLst/>
          </a:prstGeom>
          <a:solidFill>
            <a:schemeClr val="bg1">
              <a:lumMod val="95000"/>
            </a:schemeClr>
          </a:solidFill>
          <a:ln w="38100">
            <a:noFill/>
          </a:ln>
        </p:spPr>
        <p:txBody>
          <a:bodyPr tIns="822960" bIns="274320" anchor="ctr" anchorCtr="0"/>
          <a:lstStyle>
            <a:lvl1pPr algn="ctr" rtl="0">
              <a:buNone/>
              <a:defRPr sz="1400">
                <a:solidFill>
                  <a:schemeClr val="tx1">
                    <a:lumMod val="50000"/>
                    <a:lumOff val="50000"/>
                  </a:schemeClr>
                </a:solidFill>
                <a:latin typeface="Abeezee" panose="02000000000000000000" pitchFamily="2" charset="0"/>
                <a:ea typeface="Abeezee" panose="02000000000000000000" pitchFamily="2" charset="0"/>
              </a:defRPr>
            </a:lvl1pPr>
          </a:lstStyle>
          <a:p>
            <a:r>
              <a:rPr lang="en-US" dirty="0"/>
              <a:t>Image Holder</a:t>
            </a:r>
          </a:p>
        </p:txBody>
      </p:sp>
      <p:sp>
        <p:nvSpPr>
          <p:cNvPr id="2" name="Rectangle 1"/>
          <p:cNvSpPr/>
          <p:nvPr userDrawn="1"/>
        </p:nvSpPr>
        <p:spPr>
          <a:xfrm>
            <a:off x="2742810" y="1282944"/>
            <a:ext cx="3218688" cy="22555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beezee" panose="02000000000000000000" pitchFamily="2" charset="0"/>
              <a:ea typeface="Roboto" panose="02000000000000000000" pitchFamily="2" charset="0"/>
            </a:endParaRPr>
          </a:p>
        </p:txBody>
      </p:sp>
      <p:sp>
        <p:nvSpPr>
          <p:cNvPr id="14" name="Rectangle 13"/>
          <p:cNvSpPr/>
          <p:nvPr userDrawn="1"/>
        </p:nvSpPr>
        <p:spPr>
          <a:xfrm>
            <a:off x="2742810" y="3696791"/>
            <a:ext cx="3218688" cy="2255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beezee" panose="02000000000000000000" pitchFamily="2" charset="0"/>
              <a:ea typeface="Roboto" panose="02000000000000000000" pitchFamily="2" charset="0"/>
            </a:endParaRPr>
          </a:p>
        </p:txBody>
      </p:sp>
      <p:sp>
        <p:nvSpPr>
          <p:cNvPr id="16" name="Picture Placeholder 7"/>
          <p:cNvSpPr>
            <a:spLocks noGrp="1"/>
          </p:cNvSpPr>
          <p:nvPr>
            <p:ph type="pic" sz="quarter" idx="21" hasCustomPrompt="1"/>
          </p:nvPr>
        </p:nvSpPr>
        <p:spPr>
          <a:xfrm>
            <a:off x="9570565" y="1284638"/>
            <a:ext cx="1961036" cy="2252133"/>
          </a:xfrm>
          <a:prstGeom prst="rect">
            <a:avLst/>
          </a:prstGeom>
          <a:solidFill>
            <a:schemeClr val="bg1">
              <a:lumMod val="95000"/>
            </a:schemeClr>
          </a:solidFill>
          <a:ln w="38100">
            <a:noFill/>
          </a:ln>
        </p:spPr>
        <p:txBody>
          <a:bodyPr tIns="822960" bIns="274320" anchor="ctr" anchorCtr="0"/>
          <a:lstStyle>
            <a:lvl1pPr algn="ctr" rtl="0">
              <a:buNone/>
              <a:defRPr sz="1400">
                <a:solidFill>
                  <a:schemeClr val="tx1">
                    <a:lumMod val="50000"/>
                    <a:lumOff val="50000"/>
                  </a:schemeClr>
                </a:solidFill>
                <a:latin typeface="Abeezee" panose="02000000000000000000" pitchFamily="2" charset="0"/>
                <a:ea typeface="Abeezee" panose="02000000000000000000" pitchFamily="2" charset="0"/>
              </a:defRPr>
            </a:lvl1pPr>
          </a:lstStyle>
          <a:p>
            <a:r>
              <a:rPr lang="en-US" dirty="0"/>
              <a:t>Image Holder</a:t>
            </a:r>
          </a:p>
        </p:txBody>
      </p:sp>
      <p:sp>
        <p:nvSpPr>
          <p:cNvPr id="17" name="Picture Placeholder 7"/>
          <p:cNvSpPr>
            <a:spLocks noGrp="1"/>
          </p:cNvSpPr>
          <p:nvPr>
            <p:ph type="pic" sz="quarter" idx="22" hasCustomPrompt="1"/>
          </p:nvPr>
        </p:nvSpPr>
        <p:spPr>
          <a:xfrm>
            <a:off x="9570565" y="3698484"/>
            <a:ext cx="1961036" cy="2252133"/>
          </a:xfrm>
          <a:prstGeom prst="rect">
            <a:avLst/>
          </a:prstGeom>
          <a:solidFill>
            <a:schemeClr val="bg1">
              <a:lumMod val="95000"/>
            </a:schemeClr>
          </a:solidFill>
          <a:ln w="38100">
            <a:noFill/>
          </a:ln>
        </p:spPr>
        <p:txBody>
          <a:bodyPr tIns="822960" bIns="274320" anchor="ctr" anchorCtr="0"/>
          <a:lstStyle>
            <a:lvl1pPr algn="ctr" rtl="0">
              <a:buNone/>
              <a:defRPr sz="1400">
                <a:solidFill>
                  <a:schemeClr val="tx1">
                    <a:lumMod val="50000"/>
                    <a:lumOff val="50000"/>
                  </a:schemeClr>
                </a:solidFill>
                <a:latin typeface="Abeezee" panose="02000000000000000000" pitchFamily="2" charset="0"/>
                <a:ea typeface="Abeezee" panose="02000000000000000000" pitchFamily="2" charset="0"/>
              </a:defRPr>
            </a:lvl1pPr>
          </a:lstStyle>
          <a:p>
            <a:r>
              <a:rPr lang="en-US" dirty="0"/>
              <a:t>Image Holder</a:t>
            </a:r>
          </a:p>
        </p:txBody>
      </p:sp>
      <p:sp>
        <p:nvSpPr>
          <p:cNvPr id="18" name="Rectangle 17"/>
          <p:cNvSpPr/>
          <p:nvPr userDrawn="1"/>
        </p:nvSpPr>
        <p:spPr>
          <a:xfrm>
            <a:off x="6156688" y="1282944"/>
            <a:ext cx="3218688" cy="22555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beezee" panose="02000000000000000000" pitchFamily="2" charset="0"/>
              <a:ea typeface="Roboto" panose="02000000000000000000" pitchFamily="2" charset="0"/>
            </a:endParaRPr>
          </a:p>
        </p:txBody>
      </p:sp>
      <p:sp>
        <p:nvSpPr>
          <p:cNvPr id="19" name="Rectangle 18"/>
          <p:cNvSpPr/>
          <p:nvPr userDrawn="1"/>
        </p:nvSpPr>
        <p:spPr>
          <a:xfrm>
            <a:off x="6156688" y="3696791"/>
            <a:ext cx="3218688" cy="2255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beezee" panose="02000000000000000000" pitchFamily="2" charset="0"/>
              <a:ea typeface="Roboto" panose="02000000000000000000" pitchFamily="2" charset="0"/>
            </a:endParaRPr>
          </a:p>
        </p:txBody>
      </p:sp>
      <p:sp>
        <p:nvSpPr>
          <p:cNvPr id="12" name="Text Placeholder 17"/>
          <p:cNvSpPr>
            <a:spLocks noGrp="1"/>
          </p:cNvSpPr>
          <p:nvPr>
            <p:ph type="body" sz="quarter" idx="13" hasCustomPrompt="1"/>
          </p:nvPr>
        </p:nvSpPr>
        <p:spPr>
          <a:xfrm>
            <a:off x="502023" y="287452"/>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tx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25418573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12146571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5_Placeholder">
    <p:spTree>
      <p:nvGrpSpPr>
        <p:cNvPr id="1" name=""/>
        <p:cNvGrpSpPr/>
        <p:nvPr/>
      </p:nvGrpSpPr>
      <p:grpSpPr>
        <a:xfrm>
          <a:off x="0" y="0"/>
          <a:ext cx="0" cy="0"/>
          <a:chOff x="0" y="0"/>
          <a:chExt cx="0" cy="0"/>
        </a:xfrm>
      </p:grpSpPr>
      <p:sp>
        <p:nvSpPr>
          <p:cNvPr id="3" name="Picture Placeholder 2"/>
          <p:cNvSpPr>
            <a:spLocks noGrp="1"/>
          </p:cNvSpPr>
          <p:nvPr>
            <p:ph type="pic" sz="quarter" idx="29"/>
          </p:nvPr>
        </p:nvSpPr>
        <p:spPr>
          <a:xfrm>
            <a:off x="678180" y="1660536"/>
            <a:ext cx="2374900" cy="1774825"/>
          </a:xfrm>
          <a:prstGeom prst="rect">
            <a:avLst/>
          </a:prstGeom>
        </p:spPr>
        <p:txBody>
          <a:bodyPr/>
          <a:lstStyle/>
          <a:p>
            <a:endParaRPr lang="en-US"/>
          </a:p>
        </p:txBody>
      </p:sp>
      <p:sp>
        <p:nvSpPr>
          <p:cNvPr id="20" name="Picture Placeholder 2"/>
          <p:cNvSpPr>
            <a:spLocks noGrp="1"/>
          </p:cNvSpPr>
          <p:nvPr>
            <p:ph type="pic" sz="quarter" idx="30"/>
          </p:nvPr>
        </p:nvSpPr>
        <p:spPr>
          <a:xfrm>
            <a:off x="3488667" y="1660536"/>
            <a:ext cx="2374900" cy="1774825"/>
          </a:xfrm>
          <a:prstGeom prst="rect">
            <a:avLst/>
          </a:prstGeom>
        </p:spPr>
        <p:txBody>
          <a:bodyPr/>
          <a:lstStyle/>
          <a:p>
            <a:endParaRPr lang="en-US"/>
          </a:p>
        </p:txBody>
      </p:sp>
      <p:sp>
        <p:nvSpPr>
          <p:cNvPr id="21" name="Picture Placeholder 2"/>
          <p:cNvSpPr>
            <a:spLocks noGrp="1"/>
          </p:cNvSpPr>
          <p:nvPr>
            <p:ph type="pic" sz="quarter" idx="31"/>
          </p:nvPr>
        </p:nvSpPr>
        <p:spPr>
          <a:xfrm>
            <a:off x="6299154" y="1660536"/>
            <a:ext cx="2374900" cy="1774825"/>
          </a:xfrm>
          <a:prstGeom prst="rect">
            <a:avLst/>
          </a:prstGeom>
        </p:spPr>
        <p:txBody>
          <a:bodyPr/>
          <a:lstStyle/>
          <a:p>
            <a:endParaRPr lang="en-US"/>
          </a:p>
        </p:txBody>
      </p:sp>
      <p:sp>
        <p:nvSpPr>
          <p:cNvPr id="22" name="Picture Placeholder 2"/>
          <p:cNvSpPr>
            <a:spLocks noGrp="1"/>
          </p:cNvSpPr>
          <p:nvPr>
            <p:ph type="pic" sz="quarter" idx="32"/>
          </p:nvPr>
        </p:nvSpPr>
        <p:spPr>
          <a:xfrm>
            <a:off x="9109640" y="1660536"/>
            <a:ext cx="2374900" cy="1774825"/>
          </a:xfrm>
          <a:prstGeom prst="rect">
            <a:avLst/>
          </a:prstGeom>
        </p:spPr>
        <p:txBody>
          <a:bodyPr/>
          <a:lstStyle/>
          <a:p>
            <a:endParaRPr lang="en-US"/>
          </a:p>
        </p:txBody>
      </p:sp>
      <p:sp>
        <p:nvSpPr>
          <p:cNvPr id="7" name="Text Placeholder 17"/>
          <p:cNvSpPr>
            <a:spLocks noGrp="1"/>
          </p:cNvSpPr>
          <p:nvPr>
            <p:ph type="body" sz="quarter" idx="13" hasCustomPrompt="1"/>
          </p:nvPr>
        </p:nvSpPr>
        <p:spPr>
          <a:xfrm>
            <a:off x="502023" y="287452"/>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6129868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5164667" y="0"/>
            <a:ext cx="3048001" cy="6858000"/>
          </a:xfrm>
          <a:prstGeom prst="rect">
            <a:avLst/>
          </a:prstGeom>
        </p:spPr>
        <p:txBody>
          <a:bodyPr/>
          <a:lstStyle/>
          <a:p>
            <a:endParaRPr lang="en-US"/>
          </a:p>
        </p:txBody>
      </p:sp>
      <p:sp>
        <p:nvSpPr>
          <p:cNvPr id="10" name="Text Placeholder 17"/>
          <p:cNvSpPr>
            <a:spLocks noGrp="1"/>
          </p:cNvSpPr>
          <p:nvPr>
            <p:ph type="body" sz="quarter" idx="13" hasCustomPrompt="1"/>
          </p:nvPr>
        </p:nvSpPr>
        <p:spPr>
          <a:xfrm>
            <a:off x="502023" y="305544"/>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
        <p:nvSpPr>
          <p:cNvPr id="5" name="Text Placeholder 4"/>
          <p:cNvSpPr>
            <a:spLocks noGrp="1"/>
          </p:cNvSpPr>
          <p:nvPr>
            <p:ph type="body" sz="quarter" idx="14"/>
          </p:nvPr>
        </p:nvSpPr>
        <p:spPr>
          <a:xfrm>
            <a:off x="266699" y="1530350"/>
            <a:ext cx="4897967" cy="4572000"/>
          </a:xfrm>
          <a:prstGeom prst="rect">
            <a:avLst/>
          </a:prstGeom>
        </p:spPr>
        <p:txBody>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5"/>
          </p:nvPr>
        </p:nvSpPr>
        <p:spPr>
          <a:xfrm>
            <a:off x="8212669" y="1530350"/>
            <a:ext cx="3712632" cy="2262717"/>
          </a:xfrm>
          <a:prstGeom prst="rect">
            <a:avLst/>
          </a:prstGeom>
        </p:spPr>
        <p:txBody>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4"/>
          <p:cNvSpPr>
            <a:spLocks noGrp="1"/>
          </p:cNvSpPr>
          <p:nvPr>
            <p:ph type="body" sz="quarter" idx="16"/>
          </p:nvPr>
        </p:nvSpPr>
        <p:spPr>
          <a:xfrm>
            <a:off x="8212669" y="5295900"/>
            <a:ext cx="3712632" cy="1104901"/>
          </a:xfrm>
          <a:prstGeom prst="rect">
            <a:avLst/>
          </a:prstGeom>
        </p:spPr>
        <p:txBody>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5251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5" name="Picture Placeholder 8"/>
          <p:cNvSpPr>
            <a:spLocks noGrp="1"/>
          </p:cNvSpPr>
          <p:nvPr>
            <p:ph type="pic" sz="quarter" idx="19"/>
          </p:nvPr>
        </p:nvSpPr>
        <p:spPr>
          <a:xfrm>
            <a:off x="2234646" y="1155916"/>
            <a:ext cx="3823254" cy="4844648"/>
          </a:xfrm>
          <a:prstGeom prst="rect">
            <a:avLst/>
          </a:prstGeom>
        </p:spPr>
        <p:txBody>
          <a:bodyPr/>
          <a:lstStyle>
            <a:lvl1pPr>
              <a:defRPr sz="1000"/>
            </a:lvl1pPr>
          </a:lstStyle>
          <a:p>
            <a:endParaRPr lang="en-US" dirty="0"/>
          </a:p>
        </p:txBody>
      </p:sp>
      <p:sp>
        <p:nvSpPr>
          <p:cNvPr id="13" name="Picture Placeholder 8"/>
          <p:cNvSpPr>
            <a:spLocks noGrp="1"/>
          </p:cNvSpPr>
          <p:nvPr>
            <p:ph type="pic" sz="quarter" idx="18"/>
          </p:nvPr>
        </p:nvSpPr>
        <p:spPr>
          <a:xfrm>
            <a:off x="1250673" y="4105167"/>
            <a:ext cx="914400" cy="914400"/>
          </a:xfrm>
          <a:prstGeom prst="rect">
            <a:avLst/>
          </a:prstGeom>
        </p:spPr>
        <p:txBody>
          <a:bodyPr/>
          <a:lstStyle>
            <a:lvl1pPr>
              <a:defRPr sz="1000"/>
            </a:lvl1pPr>
          </a:lstStyle>
          <a:p>
            <a:endParaRPr lang="en-US" dirty="0"/>
          </a:p>
        </p:txBody>
      </p:sp>
      <p:sp>
        <p:nvSpPr>
          <p:cNvPr id="9" name="Picture Placeholder 8"/>
          <p:cNvSpPr>
            <a:spLocks noGrp="1"/>
          </p:cNvSpPr>
          <p:nvPr>
            <p:ph type="pic" sz="quarter" idx="14"/>
          </p:nvPr>
        </p:nvSpPr>
        <p:spPr>
          <a:xfrm>
            <a:off x="266700" y="1155916"/>
            <a:ext cx="914400" cy="914400"/>
          </a:xfrm>
          <a:prstGeom prst="rect">
            <a:avLst/>
          </a:prstGeom>
        </p:spPr>
        <p:txBody>
          <a:bodyPr/>
          <a:lstStyle>
            <a:lvl1pPr>
              <a:defRPr sz="1000"/>
            </a:lvl1pPr>
          </a:lstStyle>
          <a:p>
            <a:endParaRPr lang="en-US" dirty="0"/>
          </a:p>
        </p:txBody>
      </p:sp>
      <p:sp>
        <p:nvSpPr>
          <p:cNvPr id="10" name="Picture Placeholder 8"/>
          <p:cNvSpPr>
            <a:spLocks noGrp="1"/>
          </p:cNvSpPr>
          <p:nvPr>
            <p:ph type="pic" sz="quarter" idx="15"/>
          </p:nvPr>
        </p:nvSpPr>
        <p:spPr>
          <a:xfrm>
            <a:off x="266700" y="3121040"/>
            <a:ext cx="914400" cy="914400"/>
          </a:xfrm>
          <a:prstGeom prst="rect">
            <a:avLst/>
          </a:prstGeom>
        </p:spPr>
        <p:txBody>
          <a:bodyPr/>
          <a:lstStyle>
            <a:lvl1pPr>
              <a:defRPr sz="1000"/>
            </a:lvl1pPr>
          </a:lstStyle>
          <a:p>
            <a:endParaRPr lang="en-US" dirty="0"/>
          </a:p>
        </p:txBody>
      </p:sp>
      <p:sp>
        <p:nvSpPr>
          <p:cNvPr id="11" name="Picture Placeholder 8"/>
          <p:cNvSpPr>
            <a:spLocks noGrp="1"/>
          </p:cNvSpPr>
          <p:nvPr>
            <p:ph type="pic" sz="quarter" idx="16"/>
          </p:nvPr>
        </p:nvSpPr>
        <p:spPr>
          <a:xfrm>
            <a:off x="266700" y="5086164"/>
            <a:ext cx="914400" cy="914400"/>
          </a:xfrm>
          <a:prstGeom prst="rect">
            <a:avLst/>
          </a:prstGeom>
        </p:spPr>
        <p:txBody>
          <a:bodyPr/>
          <a:lstStyle>
            <a:lvl1pPr>
              <a:defRPr sz="1000"/>
            </a:lvl1pPr>
          </a:lstStyle>
          <a:p>
            <a:endParaRPr lang="en-US"/>
          </a:p>
        </p:txBody>
      </p:sp>
      <p:sp>
        <p:nvSpPr>
          <p:cNvPr id="12" name="Picture Placeholder 8"/>
          <p:cNvSpPr>
            <a:spLocks noGrp="1"/>
          </p:cNvSpPr>
          <p:nvPr>
            <p:ph type="pic" sz="quarter" idx="17"/>
          </p:nvPr>
        </p:nvSpPr>
        <p:spPr>
          <a:xfrm>
            <a:off x="1250673" y="2128692"/>
            <a:ext cx="914400" cy="914400"/>
          </a:xfrm>
          <a:prstGeom prst="rect">
            <a:avLst/>
          </a:prstGeom>
        </p:spPr>
        <p:txBody>
          <a:bodyPr/>
          <a:lstStyle>
            <a:lvl1pPr>
              <a:defRPr sz="1000"/>
            </a:lvl1pPr>
          </a:lstStyle>
          <a:p>
            <a:endParaRPr lang="en-US" dirty="0"/>
          </a:p>
        </p:txBody>
      </p:sp>
      <p:sp>
        <p:nvSpPr>
          <p:cNvPr id="7" name="Text Placeholder 17"/>
          <p:cNvSpPr>
            <a:spLocks noGrp="1"/>
          </p:cNvSpPr>
          <p:nvPr>
            <p:ph type="body" sz="quarter" idx="13" hasCustomPrompt="1"/>
          </p:nvPr>
        </p:nvSpPr>
        <p:spPr>
          <a:xfrm>
            <a:off x="502023" y="285147"/>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tx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3205407907"/>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guide id="5" orient="horz" pos="432">
          <p15:clr>
            <a:srgbClr val="FBAE40"/>
          </p15:clr>
        </p15:guide>
        <p15:guide id="6" orient="horz" pos="24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a:xfrm>
            <a:off x="6096000" y="1136650"/>
            <a:ext cx="5829300" cy="3249613"/>
          </a:xfrm>
          <a:prstGeom prst="rect">
            <a:avLst/>
          </a:prstGeom>
        </p:spPr>
        <p:txBody>
          <a:bodyPr/>
          <a:lstStyle/>
          <a:p>
            <a:endParaRPr lang="en-US"/>
          </a:p>
        </p:txBody>
      </p:sp>
    </p:spTree>
    <p:extLst>
      <p:ext uri="{BB962C8B-B14F-4D97-AF65-F5344CB8AC3E}">
        <p14:creationId xmlns:p14="http://schemas.microsoft.com/office/powerpoint/2010/main" val="218229956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guide id="5" orient="horz" pos="432">
          <p15:clr>
            <a:srgbClr val="FBAE40"/>
          </p15:clr>
        </p15:guide>
        <p15:guide id="6" orient="horz" pos="24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ext Placeholder 8"/>
          <p:cNvSpPr>
            <a:spLocks noGrp="1"/>
          </p:cNvSpPr>
          <p:nvPr>
            <p:ph type="body" sz="quarter" idx="16"/>
          </p:nvPr>
        </p:nvSpPr>
        <p:spPr>
          <a:xfrm>
            <a:off x="266700" y="1562100"/>
            <a:ext cx="5829300" cy="4581525"/>
          </a:xfrm>
          <a:prstGeom prst="rect">
            <a:avLst/>
          </a:prstGeom>
        </p:spPr>
        <p:txBody>
          <a:bodyPr/>
          <a:lstStyle>
            <a:lvl1pPr marL="228600" indent="-228600">
              <a:buClr>
                <a:schemeClr val="accent2"/>
              </a:buClr>
              <a:buSzPct val="120000"/>
              <a:buFont typeface="Wingdings" panose="05000000000000000000" pitchFamily="2" charset="2"/>
              <a:buChar char="§"/>
              <a:defRPr sz="2000">
                <a:solidFill>
                  <a:schemeClr val="accent1"/>
                </a:solidFill>
              </a:defRPr>
            </a:lvl1pPr>
            <a:lvl2pPr marL="685800" indent="-228600">
              <a:buClr>
                <a:schemeClr val="accent2"/>
              </a:buClr>
              <a:buSzPct val="95000"/>
              <a:buFont typeface="Lato" panose="020F0502020204030203" pitchFamily="34" charset="0"/>
              <a:buChar char="⁻"/>
              <a:defRPr sz="1600">
                <a:solidFill>
                  <a:schemeClr val="accent1"/>
                </a:solidFill>
              </a:defRPr>
            </a:lvl2pPr>
            <a:lvl3pPr marL="1143000" indent="-228600">
              <a:buClr>
                <a:schemeClr val="accent2"/>
              </a:buClr>
              <a:buSzPct val="70000"/>
              <a:buFont typeface="Wingdings" panose="05000000000000000000" pitchFamily="2" charset="2"/>
              <a:buChar char="q"/>
              <a:defRPr sz="1200">
                <a:solidFill>
                  <a:schemeClr val="accent1"/>
                </a:solidFill>
              </a:defRPr>
            </a:lvl3pPr>
            <a:lvl4pPr marL="1600200" indent="-228600">
              <a:buClr>
                <a:schemeClr val="accent2"/>
              </a:buClr>
              <a:buSzPct val="60000"/>
              <a:buFont typeface="Arial" panose="020B0604020202020204" pitchFamily="34" charset="0"/>
              <a:buChar char="•"/>
              <a:defRPr sz="1100">
                <a:solidFill>
                  <a:schemeClr val="accent1"/>
                </a:solidFill>
              </a:defRPr>
            </a:lvl4pPr>
            <a:lvl5pPr marL="2057400" indent="-228600">
              <a:buClr>
                <a:schemeClr val="accent2"/>
              </a:buClr>
              <a:buSzPct val="60000"/>
              <a:buFont typeface="Arial" panose="020B0604020202020204" pitchFamily="34" charset="0"/>
              <a:buChar char="•"/>
              <a:defRPr sz="1050">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p:cNvSpPr>
            <a:spLocks noGrp="1"/>
          </p:cNvSpPr>
          <p:nvPr>
            <p:ph type="pic" sz="quarter" idx="15"/>
          </p:nvPr>
        </p:nvSpPr>
        <p:spPr>
          <a:xfrm>
            <a:off x="6219825" y="1893354"/>
            <a:ext cx="5705475" cy="3819525"/>
          </a:xfrm>
          <a:prstGeom prst="rect">
            <a:avLst/>
          </a:prstGeom>
        </p:spPr>
        <p:txBody>
          <a:bodyPr/>
          <a:lstStyle/>
          <a:p>
            <a:endParaRPr lang="en-US"/>
          </a:p>
        </p:txBody>
      </p:sp>
      <p:sp>
        <p:nvSpPr>
          <p:cNvPr id="11" name="Text Placeholder 17"/>
          <p:cNvSpPr>
            <a:spLocks noGrp="1"/>
          </p:cNvSpPr>
          <p:nvPr>
            <p:ph type="body" sz="quarter" idx="13" hasCustomPrompt="1"/>
          </p:nvPr>
        </p:nvSpPr>
        <p:spPr>
          <a:xfrm>
            <a:off x="502023" y="287492"/>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3338672752"/>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0" name="Picture Placeholder 9"/>
          <p:cNvSpPr>
            <a:spLocks noGrp="1"/>
          </p:cNvSpPr>
          <p:nvPr>
            <p:ph type="pic" sz="quarter" idx="15"/>
          </p:nvPr>
        </p:nvSpPr>
        <p:spPr>
          <a:xfrm>
            <a:off x="6219825" y="0"/>
            <a:ext cx="5972175" cy="6858000"/>
          </a:xfrm>
          <a:prstGeom prst="rect">
            <a:avLst/>
          </a:prstGeom>
        </p:spPr>
        <p:txBody>
          <a:bodyPr/>
          <a:lstStyle/>
          <a:p>
            <a:endParaRPr lang="en-US"/>
          </a:p>
        </p:txBody>
      </p:sp>
      <p:sp>
        <p:nvSpPr>
          <p:cNvPr id="11" name="Text Placeholder 17"/>
          <p:cNvSpPr>
            <a:spLocks noGrp="1"/>
          </p:cNvSpPr>
          <p:nvPr>
            <p:ph type="body" sz="quarter" idx="13" hasCustomPrompt="1"/>
          </p:nvPr>
        </p:nvSpPr>
        <p:spPr>
          <a:xfrm>
            <a:off x="482145" y="299484"/>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
        <p:nvSpPr>
          <p:cNvPr id="6" name="Text Placeholder 8"/>
          <p:cNvSpPr>
            <a:spLocks noGrp="1"/>
          </p:cNvSpPr>
          <p:nvPr>
            <p:ph type="body" sz="quarter" idx="16"/>
          </p:nvPr>
        </p:nvSpPr>
        <p:spPr>
          <a:xfrm>
            <a:off x="266700" y="1562100"/>
            <a:ext cx="5829300" cy="4581525"/>
          </a:xfrm>
          <a:prstGeom prst="rect">
            <a:avLst/>
          </a:prstGeom>
        </p:spPr>
        <p:txBody>
          <a:bodyPr/>
          <a:lstStyle>
            <a:lvl1pPr marL="228600" indent="-228600">
              <a:buClr>
                <a:schemeClr val="accent2"/>
              </a:buClr>
              <a:buSzPct val="120000"/>
              <a:buFont typeface="Wingdings" panose="05000000000000000000" pitchFamily="2" charset="2"/>
              <a:buChar char="§"/>
              <a:defRPr sz="2000">
                <a:solidFill>
                  <a:schemeClr val="accent1"/>
                </a:solidFill>
              </a:defRPr>
            </a:lvl1pPr>
            <a:lvl2pPr marL="685800" indent="-228600">
              <a:buClr>
                <a:schemeClr val="accent2"/>
              </a:buClr>
              <a:buSzPct val="95000"/>
              <a:buFont typeface="Lato" panose="020F0502020204030203" pitchFamily="34" charset="0"/>
              <a:buChar char="⁻"/>
              <a:defRPr sz="1600">
                <a:solidFill>
                  <a:schemeClr val="accent1"/>
                </a:solidFill>
              </a:defRPr>
            </a:lvl2pPr>
            <a:lvl3pPr marL="1143000" indent="-228600">
              <a:buClr>
                <a:schemeClr val="accent2"/>
              </a:buClr>
              <a:buSzPct val="70000"/>
              <a:buFont typeface="Wingdings" panose="05000000000000000000" pitchFamily="2" charset="2"/>
              <a:buChar char="q"/>
              <a:defRPr sz="1200">
                <a:solidFill>
                  <a:schemeClr val="accent1"/>
                </a:solidFill>
              </a:defRPr>
            </a:lvl3pPr>
            <a:lvl4pPr marL="1600200" indent="-228600">
              <a:buClr>
                <a:schemeClr val="accent2"/>
              </a:buClr>
              <a:buSzPct val="60000"/>
              <a:buFont typeface="Arial" panose="020B0604020202020204" pitchFamily="34" charset="0"/>
              <a:buChar char="•"/>
              <a:defRPr sz="1100">
                <a:solidFill>
                  <a:schemeClr val="accent1"/>
                </a:solidFill>
              </a:defRPr>
            </a:lvl4pPr>
            <a:lvl5pPr marL="2057400" indent="-228600">
              <a:buClr>
                <a:schemeClr val="accent2"/>
              </a:buClr>
              <a:buSzPct val="60000"/>
              <a:buFont typeface="Arial" panose="020B0604020202020204" pitchFamily="34" charset="0"/>
              <a:buChar char="•"/>
              <a:defRPr sz="1050">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162507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Rectangle 1"/>
          <p:cNvSpPr/>
          <p:nvPr userDrawn="1"/>
        </p:nvSpPr>
        <p:spPr>
          <a:xfrm>
            <a:off x="5181600" y="0"/>
            <a:ext cx="382693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9"/>
          <p:cNvSpPr>
            <a:spLocks noGrp="1"/>
          </p:cNvSpPr>
          <p:nvPr>
            <p:ph type="pic" sz="quarter" idx="15"/>
          </p:nvPr>
        </p:nvSpPr>
        <p:spPr>
          <a:xfrm>
            <a:off x="4574643" y="809802"/>
            <a:ext cx="3942821" cy="5238397"/>
          </a:xfrm>
          <a:prstGeom prst="rect">
            <a:avLst/>
          </a:prstGeom>
        </p:spPr>
        <p:txBody>
          <a:bodyPr/>
          <a:lstStyle/>
          <a:p>
            <a:endParaRPr lang="en-US"/>
          </a:p>
        </p:txBody>
      </p:sp>
      <p:sp>
        <p:nvSpPr>
          <p:cNvPr id="11" name="Text Placeholder 17"/>
          <p:cNvSpPr>
            <a:spLocks noGrp="1"/>
          </p:cNvSpPr>
          <p:nvPr>
            <p:ph type="body" sz="quarter" idx="13" hasCustomPrompt="1"/>
          </p:nvPr>
        </p:nvSpPr>
        <p:spPr>
          <a:xfrm>
            <a:off x="482145" y="304331"/>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
        <p:nvSpPr>
          <p:cNvPr id="6" name="Text Placeholder 8"/>
          <p:cNvSpPr>
            <a:spLocks noGrp="1"/>
          </p:cNvSpPr>
          <p:nvPr>
            <p:ph type="body" sz="quarter" idx="16"/>
          </p:nvPr>
        </p:nvSpPr>
        <p:spPr>
          <a:xfrm>
            <a:off x="266700" y="1562100"/>
            <a:ext cx="5829300" cy="4581525"/>
          </a:xfrm>
          <a:prstGeom prst="rect">
            <a:avLst/>
          </a:prstGeom>
        </p:spPr>
        <p:txBody>
          <a:bodyPr/>
          <a:lstStyle>
            <a:lvl1pPr marL="228600" indent="-228600">
              <a:buClr>
                <a:schemeClr val="accent2"/>
              </a:buClr>
              <a:buSzPct val="120000"/>
              <a:buFont typeface="Wingdings" panose="05000000000000000000" pitchFamily="2" charset="2"/>
              <a:buChar char="§"/>
              <a:defRPr sz="2000">
                <a:solidFill>
                  <a:schemeClr val="accent1"/>
                </a:solidFill>
              </a:defRPr>
            </a:lvl1pPr>
            <a:lvl2pPr marL="685800" indent="-228600">
              <a:buClr>
                <a:schemeClr val="accent2"/>
              </a:buClr>
              <a:buSzPct val="95000"/>
              <a:buFont typeface="Lato" panose="020F0502020204030203" pitchFamily="34" charset="0"/>
              <a:buChar char="⁻"/>
              <a:defRPr sz="1600">
                <a:solidFill>
                  <a:schemeClr val="accent1"/>
                </a:solidFill>
              </a:defRPr>
            </a:lvl2pPr>
            <a:lvl3pPr marL="1143000" indent="-228600">
              <a:buClr>
                <a:schemeClr val="accent2"/>
              </a:buClr>
              <a:buSzPct val="70000"/>
              <a:buFont typeface="Wingdings" panose="05000000000000000000" pitchFamily="2" charset="2"/>
              <a:buChar char="q"/>
              <a:defRPr sz="1200">
                <a:solidFill>
                  <a:schemeClr val="accent1"/>
                </a:solidFill>
              </a:defRPr>
            </a:lvl3pPr>
            <a:lvl4pPr marL="1600200" indent="-228600">
              <a:buClr>
                <a:schemeClr val="accent2"/>
              </a:buClr>
              <a:buSzPct val="60000"/>
              <a:buFont typeface="Arial" panose="020B0604020202020204" pitchFamily="34" charset="0"/>
              <a:buChar char="•"/>
              <a:defRPr sz="1100">
                <a:solidFill>
                  <a:schemeClr val="accent1"/>
                </a:solidFill>
              </a:defRPr>
            </a:lvl4pPr>
            <a:lvl5pPr marL="2057400" indent="-228600">
              <a:buClr>
                <a:schemeClr val="accent2"/>
              </a:buClr>
              <a:buSzPct val="60000"/>
              <a:buFont typeface="Arial" panose="020B0604020202020204" pitchFamily="34" charset="0"/>
              <a:buChar char="•"/>
              <a:defRPr sz="1050">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8840828"/>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3499236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560981"/>
            <a:ext cx="12192000" cy="2574524"/>
          </a:xfrm>
          <a:prstGeom prst="rect">
            <a:avLst/>
          </a:prstGeom>
        </p:spPr>
        <p:txBody>
          <a:bodyPr/>
          <a:lstStyle/>
          <a:p>
            <a:endParaRPr lang="en-US"/>
          </a:p>
        </p:txBody>
      </p:sp>
      <p:sp>
        <p:nvSpPr>
          <p:cNvPr id="10" name="Text Placeholder 17"/>
          <p:cNvSpPr>
            <a:spLocks noGrp="1"/>
          </p:cNvSpPr>
          <p:nvPr>
            <p:ph type="body" sz="quarter" idx="14" hasCustomPrompt="1"/>
          </p:nvPr>
        </p:nvSpPr>
        <p:spPr>
          <a:xfrm>
            <a:off x="502023" y="304025"/>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1492305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4944533"/>
            <a:ext cx="12192000" cy="12869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p:cNvSpPr>
            <a:spLocks noGrp="1"/>
          </p:cNvSpPr>
          <p:nvPr>
            <p:ph type="pic" sz="quarter" idx="13"/>
          </p:nvPr>
        </p:nvSpPr>
        <p:spPr>
          <a:xfrm>
            <a:off x="7106653" y="1749032"/>
            <a:ext cx="4475747" cy="3721326"/>
          </a:xfrm>
          <a:prstGeom prst="rect">
            <a:avLst/>
          </a:prstGeom>
        </p:spPr>
        <p:txBody>
          <a:bodyPr/>
          <a:lstStyle/>
          <a:p>
            <a:endParaRPr lang="en-US"/>
          </a:p>
        </p:txBody>
      </p:sp>
      <p:sp>
        <p:nvSpPr>
          <p:cNvPr id="10" name="Text Placeholder 17"/>
          <p:cNvSpPr>
            <a:spLocks noGrp="1"/>
          </p:cNvSpPr>
          <p:nvPr>
            <p:ph type="body" sz="quarter" idx="14" hasCustomPrompt="1"/>
          </p:nvPr>
        </p:nvSpPr>
        <p:spPr>
          <a:xfrm>
            <a:off x="502023" y="293472"/>
            <a:ext cx="11689977" cy="498474"/>
          </a:xfrm>
          <a:prstGeom prst="rect">
            <a:avLst/>
          </a:prstGeom>
        </p:spPr>
        <p:txBody>
          <a:bodyPr>
            <a:noAutofit/>
          </a:bodyPr>
          <a:lstStyle>
            <a:lvl1pPr marL="0" indent="0">
              <a:buNone/>
              <a:defRPr kumimoji="0" lang="en-US" sz="3200" b="1" i="0" u="none" strike="noStrike" kern="0" cap="none" spc="0" normalizeH="0" baseline="0" dirty="0" smtClean="0">
                <a:ln>
                  <a:noFill/>
                </a:ln>
                <a:solidFill>
                  <a:schemeClr val="accent1"/>
                </a:solidFill>
                <a:effectLst/>
                <a:uLnTx/>
                <a:uFillTx/>
                <a:latin typeface="+mn-lt"/>
                <a:ea typeface="Gill Sans"/>
                <a:cs typeface="Gill Sans"/>
              </a:defRPr>
            </a:lvl1pPr>
          </a:lstStyle>
          <a:p>
            <a:pPr lvl="0"/>
            <a:r>
              <a:rPr lang="en-US" dirty="0"/>
              <a:t>EDIT MASTER TEXT STYLES</a:t>
            </a:r>
          </a:p>
        </p:txBody>
      </p:sp>
    </p:spTree>
    <p:extLst>
      <p:ext uri="{BB962C8B-B14F-4D97-AF65-F5344CB8AC3E}">
        <p14:creationId xmlns:p14="http://schemas.microsoft.com/office/powerpoint/2010/main" val="37240242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Freeform 14"/>
          <p:cNvSpPr/>
          <p:nvPr userDrawn="1"/>
        </p:nvSpPr>
        <p:spPr>
          <a:xfrm>
            <a:off x="11408554" y="6367186"/>
            <a:ext cx="783446" cy="372703"/>
          </a:xfrm>
          <a:custGeom>
            <a:avLst/>
            <a:gdLst>
              <a:gd name="connsiteX0" fmla="*/ 142018 w 783446"/>
              <a:gd name="connsiteY0" fmla="*/ 0 h 372703"/>
              <a:gd name="connsiteX1" fmla="*/ 783446 w 783446"/>
              <a:gd name="connsiteY1" fmla="*/ 0 h 372703"/>
              <a:gd name="connsiteX2" fmla="*/ 783446 w 783446"/>
              <a:gd name="connsiteY2" fmla="*/ 372703 h 372703"/>
              <a:gd name="connsiteX3" fmla="*/ 0 w 783446"/>
              <a:gd name="connsiteY3" fmla="*/ 372703 h 372703"/>
              <a:gd name="connsiteX4" fmla="*/ 0 w 783446"/>
              <a:gd name="connsiteY4" fmla="*/ 142018 h 372703"/>
              <a:gd name="connsiteX5" fmla="*/ 142018 w 783446"/>
              <a:gd name="connsiteY5" fmla="*/ 0 h 372703"/>
              <a:gd name="connsiteX0" fmla="*/ 142018 w 783446"/>
              <a:gd name="connsiteY0" fmla="*/ 0 h 372703"/>
              <a:gd name="connsiteX1" fmla="*/ 783446 w 783446"/>
              <a:gd name="connsiteY1" fmla="*/ 0 h 372703"/>
              <a:gd name="connsiteX2" fmla="*/ 783446 w 783446"/>
              <a:gd name="connsiteY2" fmla="*/ 372703 h 372703"/>
              <a:gd name="connsiteX3" fmla="*/ 0 w 783446"/>
              <a:gd name="connsiteY3" fmla="*/ 372703 h 372703"/>
              <a:gd name="connsiteX4" fmla="*/ 142018 w 783446"/>
              <a:gd name="connsiteY4" fmla="*/ 0 h 37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446" h="372703">
                <a:moveTo>
                  <a:pt x="142018" y="0"/>
                </a:moveTo>
                <a:lnTo>
                  <a:pt x="783446" y="0"/>
                </a:lnTo>
                <a:lnTo>
                  <a:pt x="783446" y="372703"/>
                </a:lnTo>
                <a:lnTo>
                  <a:pt x="0" y="372703"/>
                </a:lnTo>
                <a:lnTo>
                  <a:pt x="14201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userDrawn="1"/>
        </p:nvSpPr>
        <p:spPr>
          <a:xfrm>
            <a:off x="262614" y="6426579"/>
            <a:ext cx="3933430" cy="253916"/>
          </a:xfrm>
          <a:prstGeom prst="rect">
            <a:avLst/>
          </a:prstGeom>
          <a:noFill/>
        </p:spPr>
        <p:txBody>
          <a:bodyPr wrap="square" rtlCol="0">
            <a:spAutoFit/>
          </a:bodyPr>
          <a:lstStyle/>
          <a:p>
            <a:pPr algn="l"/>
            <a:r>
              <a:rPr lang="en-US" sz="1050" b="0" dirty="0">
                <a:solidFill>
                  <a:schemeClr val="tx1"/>
                </a:solidFill>
                <a:latin typeface="+mj-lt"/>
              </a:rPr>
              <a:t>© 2018 DASAN </a:t>
            </a:r>
            <a:r>
              <a:rPr lang="en-US" sz="1050" b="0" dirty="0" err="1">
                <a:solidFill>
                  <a:schemeClr val="tx1"/>
                </a:solidFill>
                <a:latin typeface="+mj-lt"/>
              </a:rPr>
              <a:t>Zhone</a:t>
            </a:r>
            <a:r>
              <a:rPr lang="en-US" sz="1050" b="0" dirty="0">
                <a:solidFill>
                  <a:schemeClr val="tx1"/>
                </a:solidFill>
                <a:latin typeface="+mj-lt"/>
              </a:rPr>
              <a:t> Solutions – Proprietary and Confidential</a:t>
            </a:r>
            <a:endParaRPr lang="en-US" sz="900" dirty="0">
              <a:solidFill>
                <a:schemeClr val="tx1"/>
              </a:solidFill>
              <a:latin typeface="+mj-lt"/>
            </a:endParaRPr>
          </a:p>
        </p:txBody>
      </p:sp>
      <p:cxnSp>
        <p:nvCxnSpPr>
          <p:cNvPr id="6" name="Straight Connector 5"/>
          <p:cNvCxnSpPr/>
          <p:nvPr userDrawn="1"/>
        </p:nvCxnSpPr>
        <p:spPr>
          <a:xfrm>
            <a:off x="4263887" y="6553537"/>
            <a:ext cx="6962913"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1465059" y="6426579"/>
            <a:ext cx="688601" cy="261610"/>
          </a:xfrm>
          <a:prstGeom prst="rect">
            <a:avLst/>
          </a:prstGeom>
          <a:noFill/>
        </p:spPr>
        <p:txBody>
          <a:bodyPr wrap="square" rtlCol="0">
            <a:spAutoFit/>
          </a:bodyPr>
          <a:lstStyle/>
          <a:p>
            <a:pPr algn="ctr"/>
            <a:fld id="{F9FBF094-4433-4169-9536-0895C02B0204}" type="slidenum">
              <a:rPr lang="en-US" sz="1100" smtClean="0">
                <a:solidFill>
                  <a:schemeClr val="bg1"/>
                </a:solidFill>
                <a:latin typeface="+mj-lt"/>
                <a:cs typeface="Calibri" panose="020F0502020204030204" pitchFamily="34" charset="0"/>
              </a:rPr>
              <a:pPr algn="ctr"/>
              <a:t>‹#›</a:t>
            </a:fld>
            <a:endParaRPr lang="en-US" sz="1100" dirty="0">
              <a:solidFill>
                <a:schemeClr val="bg1"/>
              </a:solidFill>
              <a:latin typeface="+mj-lt"/>
              <a:cs typeface="Calibri" panose="020F0502020204030204" pitchFamily="34" charset="0"/>
            </a:endParaRPr>
          </a:p>
        </p:txBody>
      </p:sp>
      <p:pic>
        <p:nvPicPr>
          <p:cNvPr id="16" name="Picture 15"/>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10702341" y="36172"/>
            <a:ext cx="1300269" cy="899077"/>
          </a:xfrm>
          <a:prstGeom prst="rect">
            <a:avLst/>
          </a:prstGeom>
        </p:spPr>
      </p:pic>
      <p:grpSp>
        <p:nvGrpSpPr>
          <p:cNvPr id="17" name="Group 16"/>
          <p:cNvGrpSpPr/>
          <p:nvPr userDrawn="1"/>
        </p:nvGrpSpPr>
        <p:grpSpPr>
          <a:xfrm>
            <a:off x="265201" y="400561"/>
            <a:ext cx="98783" cy="295910"/>
            <a:chOff x="3962400" y="-626533"/>
            <a:chExt cx="186266" cy="557971"/>
          </a:xfrm>
        </p:grpSpPr>
        <p:sp>
          <p:nvSpPr>
            <p:cNvPr id="18" name="Rectangle 17"/>
            <p:cNvSpPr/>
            <p:nvPr userDrawn="1"/>
          </p:nvSpPr>
          <p:spPr>
            <a:xfrm>
              <a:off x="3962400" y="-626533"/>
              <a:ext cx="186266" cy="1862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3962400" y="-440681"/>
              <a:ext cx="186266" cy="1862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userDrawn="1"/>
          </p:nvSpPr>
          <p:spPr>
            <a:xfrm>
              <a:off x="3962400" y="-254828"/>
              <a:ext cx="186266" cy="1862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p:cNvGrpSpPr/>
          <p:nvPr userDrawn="1"/>
        </p:nvGrpSpPr>
        <p:grpSpPr>
          <a:xfrm>
            <a:off x="4234384" y="6494101"/>
            <a:ext cx="7098873" cy="118872"/>
            <a:chOff x="4234384" y="6494101"/>
            <a:chExt cx="7098873" cy="118872"/>
          </a:xfrm>
        </p:grpSpPr>
        <p:sp>
          <p:nvSpPr>
            <p:cNvPr id="30" name="Oval 29"/>
            <p:cNvSpPr>
              <a:spLocks noChangeAspect="1"/>
            </p:cNvSpPr>
            <p:nvPr userDrawn="1"/>
          </p:nvSpPr>
          <p:spPr>
            <a:xfrm>
              <a:off x="4234384" y="6494101"/>
              <a:ext cx="118872" cy="1188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a:spLocks noChangeAspect="1"/>
            </p:cNvSpPr>
            <p:nvPr userDrawn="1"/>
          </p:nvSpPr>
          <p:spPr>
            <a:xfrm>
              <a:off x="4587956"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a:spLocks noChangeAspect="1"/>
            </p:cNvSpPr>
            <p:nvPr userDrawn="1"/>
          </p:nvSpPr>
          <p:spPr>
            <a:xfrm>
              <a:off x="4877520" y="6494101"/>
              <a:ext cx="118872" cy="1188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a:spLocks noChangeAspect="1"/>
            </p:cNvSpPr>
            <p:nvPr userDrawn="1"/>
          </p:nvSpPr>
          <p:spPr>
            <a:xfrm>
              <a:off x="5231092"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a:spLocks noChangeAspect="1"/>
            </p:cNvSpPr>
            <p:nvPr userDrawn="1"/>
          </p:nvSpPr>
          <p:spPr>
            <a:xfrm>
              <a:off x="5520656"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a:spLocks noChangeAspect="1"/>
            </p:cNvSpPr>
            <p:nvPr userDrawn="1"/>
          </p:nvSpPr>
          <p:spPr>
            <a:xfrm>
              <a:off x="5810220" y="6494101"/>
              <a:ext cx="118872" cy="1188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a:spLocks noChangeAspect="1"/>
            </p:cNvSpPr>
            <p:nvPr userDrawn="1"/>
          </p:nvSpPr>
          <p:spPr>
            <a:xfrm>
              <a:off x="6163792"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a:spLocks noChangeAspect="1"/>
            </p:cNvSpPr>
            <p:nvPr userDrawn="1"/>
          </p:nvSpPr>
          <p:spPr>
            <a:xfrm>
              <a:off x="6453356"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a:spLocks noChangeAspect="1"/>
            </p:cNvSpPr>
            <p:nvPr userDrawn="1"/>
          </p:nvSpPr>
          <p:spPr>
            <a:xfrm>
              <a:off x="6742920"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userDrawn="1"/>
          </p:nvSpPr>
          <p:spPr>
            <a:xfrm>
              <a:off x="7032484" y="6494101"/>
              <a:ext cx="118872" cy="1188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a:spLocks noChangeAspect="1"/>
            </p:cNvSpPr>
            <p:nvPr userDrawn="1"/>
          </p:nvSpPr>
          <p:spPr>
            <a:xfrm>
              <a:off x="7386056"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a:spLocks noChangeAspect="1"/>
            </p:cNvSpPr>
            <p:nvPr userDrawn="1"/>
          </p:nvSpPr>
          <p:spPr>
            <a:xfrm>
              <a:off x="7675620"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a:spLocks noChangeAspect="1"/>
            </p:cNvSpPr>
            <p:nvPr userDrawn="1"/>
          </p:nvSpPr>
          <p:spPr>
            <a:xfrm>
              <a:off x="7965184"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a:spLocks noChangeAspect="1"/>
            </p:cNvSpPr>
            <p:nvPr userDrawn="1"/>
          </p:nvSpPr>
          <p:spPr>
            <a:xfrm>
              <a:off x="8254748"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a:spLocks noChangeAspect="1"/>
            </p:cNvSpPr>
            <p:nvPr userDrawn="1"/>
          </p:nvSpPr>
          <p:spPr>
            <a:xfrm>
              <a:off x="8544312"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a:spLocks noChangeAspect="1"/>
            </p:cNvSpPr>
            <p:nvPr userDrawn="1"/>
          </p:nvSpPr>
          <p:spPr>
            <a:xfrm>
              <a:off x="8833876" y="6494101"/>
              <a:ext cx="118872" cy="1188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a:spLocks noChangeAspect="1"/>
            </p:cNvSpPr>
            <p:nvPr userDrawn="1"/>
          </p:nvSpPr>
          <p:spPr>
            <a:xfrm>
              <a:off x="9187448"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a:spLocks noChangeAspect="1"/>
            </p:cNvSpPr>
            <p:nvPr userDrawn="1"/>
          </p:nvSpPr>
          <p:spPr>
            <a:xfrm>
              <a:off x="9477012"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a:spLocks noChangeAspect="1"/>
            </p:cNvSpPr>
            <p:nvPr userDrawn="1"/>
          </p:nvSpPr>
          <p:spPr>
            <a:xfrm>
              <a:off x="9766576"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p:cNvSpPr>
              <a:spLocks noChangeAspect="1"/>
            </p:cNvSpPr>
            <p:nvPr userDrawn="1"/>
          </p:nvSpPr>
          <p:spPr>
            <a:xfrm>
              <a:off x="10056140"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a:spLocks noChangeAspect="1"/>
            </p:cNvSpPr>
            <p:nvPr userDrawn="1"/>
          </p:nvSpPr>
          <p:spPr>
            <a:xfrm>
              <a:off x="10345704"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p:cNvSpPr>
              <a:spLocks noChangeAspect="1"/>
            </p:cNvSpPr>
            <p:nvPr userDrawn="1"/>
          </p:nvSpPr>
          <p:spPr>
            <a:xfrm>
              <a:off x="10635268"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a:spLocks noChangeAspect="1"/>
            </p:cNvSpPr>
            <p:nvPr userDrawn="1"/>
          </p:nvSpPr>
          <p:spPr>
            <a:xfrm>
              <a:off x="10924832" y="6526105"/>
              <a:ext cx="54864" cy="548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p:cNvSpPr>
              <a:spLocks noChangeAspect="1"/>
            </p:cNvSpPr>
            <p:nvPr userDrawn="1"/>
          </p:nvSpPr>
          <p:spPr>
            <a:xfrm>
              <a:off x="11214385" y="6494101"/>
              <a:ext cx="118872" cy="1188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70498264"/>
      </p:ext>
    </p:extLst>
  </p:cSld>
  <p:clrMap bg1="lt1" tx1="dk1" bg2="lt2" tx2="dk2" accent1="accent1" accent2="accent2" accent3="accent3" accent4="accent4" accent5="accent5" accent6="accent6" hlink="hlink" folHlink="folHlink"/>
  <p:sldLayoutIdLst>
    <p:sldLayoutId id="2147483650" r:id="rId1"/>
    <p:sldLayoutId id="2147483799" r:id="rId2"/>
    <p:sldLayoutId id="2147483798" r:id="rId3"/>
    <p:sldLayoutId id="2147483781" r:id="rId4"/>
    <p:sldLayoutId id="2147483795" r:id="rId5"/>
    <p:sldLayoutId id="2147483796" r:id="rId6"/>
    <p:sldLayoutId id="2147483649" r:id="rId7"/>
    <p:sldLayoutId id="2147483783" r:id="rId8"/>
    <p:sldLayoutId id="2147483784" r:id="rId9"/>
    <p:sldLayoutId id="2147483797" r:id="rId10"/>
    <p:sldLayoutId id="2147483782" r:id="rId11"/>
    <p:sldLayoutId id="2147483676" r:id="rId12"/>
    <p:sldLayoutId id="2147483788" r:id="rId13"/>
    <p:sldLayoutId id="2147483703" r:id="rId14"/>
    <p:sldLayoutId id="2147483759" r:id="rId15"/>
    <p:sldLayoutId id="2147483793" r:id="rId16"/>
    <p:sldLayoutId id="2147483800" r:id="rId17"/>
    <p:sldLayoutId id="2147483801"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16" userDrawn="1">
          <p15:clr>
            <a:srgbClr val="F26B43"/>
          </p15:clr>
        </p15:guide>
        <p15:guide id="2" orient="horz" pos="2160" userDrawn="1">
          <p15:clr>
            <a:srgbClr val="F26B43"/>
          </p15:clr>
        </p15:guide>
        <p15:guide id="3" pos="168" userDrawn="1">
          <p15:clr>
            <a:srgbClr val="F26B43"/>
          </p15:clr>
        </p15:guide>
        <p15:guide id="4" pos="7512" userDrawn="1">
          <p15:clr>
            <a:srgbClr val="F26B43"/>
          </p15:clr>
        </p15:guide>
        <p15:guide id="5" orient="horz" pos="432" userDrawn="1">
          <p15:clr>
            <a:srgbClr val="F26B43"/>
          </p15:clr>
        </p15:guide>
        <p15:guide id="6" orient="horz" pos="396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eg"/><Relationship Id="rId7" Type="http://schemas.openxmlformats.org/officeDocument/2006/relationships/image" Target="../media/image36.jpeg"/><Relationship Id="rId12" Type="http://schemas.openxmlformats.org/officeDocument/2006/relationships/image" Target="../media/image41.png"/><Relationship Id="rId2" Type="http://schemas.openxmlformats.org/officeDocument/2006/relationships/image" Target="../media/image31.jpeg"/><Relationship Id="rId1" Type="http://schemas.openxmlformats.org/officeDocument/2006/relationships/slideLayout" Target="../slideLayouts/slideLayout2.xml"/><Relationship Id="rId6" Type="http://schemas.openxmlformats.org/officeDocument/2006/relationships/image" Target="../media/image35.jpeg"/><Relationship Id="rId11" Type="http://schemas.openxmlformats.org/officeDocument/2006/relationships/image" Target="../media/image40.png"/><Relationship Id="rId5" Type="http://schemas.openxmlformats.org/officeDocument/2006/relationships/image" Target="../media/image34.jpeg"/><Relationship Id="rId10" Type="http://schemas.openxmlformats.org/officeDocument/2006/relationships/image" Target="../media/image39.png"/><Relationship Id="rId4" Type="http://schemas.openxmlformats.org/officeDocument/2006/relationships/image" Target="../media/image33.jpeg"/><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Layout" Target="../slideLayouts/slideLayout7.xml"/><Relationship Id="rId1" Type="http://schemas.openxmlformats.org/officeDocument/2006/relationships/tags" Target="../tags/tag7.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3" Type="http://schemas.openxmlformats.org/officeDocument/2006/relationships/image" Target="../media/image54.png"/><Relationship Id="rId18" Type="http://schemas.openxmlformats.org/officeDocument/2006/relationships/image" Target="../media/image59.png"/><Relationship Id="rId26" Type="http://schemas.openxmlformats.org/officeDocument/2006/relationships/image" Target="../media/image67.png"/><Relationship Id="rId39" Type="http://schemas.openxmlformats.org/officeDocument/2006/relationships/image" Target="../media/image80.png"/><Relationship Id="rId21" Type="http://schemas.openxmlformats.org/officeDocument/2006/relationships/image" Target="../media/image62.png"/><Relationship Id="rId34" Type="http://schemas.openxmlformats.org/officeDocument/2006/relationships/image" Target="../media/image75.png"/><Relationship Id="rId42" Type="http://schemas.openxmlformats.org/officeDocument/2006/relationships/image" Target="../media/image83.png"/><Relationship Id="rId47" Type="http://schemas.openxmlformats.org/officeDocument/2006/relationships/image" Target="../media/image88.png"/><Relationship Id="rId50" Type="http://schemas.openxmlformats.org/officeDocument/2006/relationships/image" Target="../media/image91.png"/><Relationship Id="rId55" Type="http://schemas.openxmlformats.org/officeDocument/2006/relationships/image" Target="../media/image96.png"/><Relationship Id="rId7" Type="http://schemas.openxmlformats.org/officeDocument/2006/relationships/image" Target="../media/image48.jpeg"/><Relationship Id="rId2" Type="http://schemas.openxmlformats.org/officeDocument/2006/relationships/image" Target="../media/image43.png"/><Relationship Id="rId16" Type="http://schemas.openxmlformats.org/officeDocument/2006/relationships/image" Target="../media/image57.jpeg"/><Relationship Id="rId29" Type="http://schemas.openxmlformats.org/officeDocument/2006/relationships/image" Target="../media/image70.png"/><Relationship Id="rId11" Type="http://schemas.openxmlformats.org/officeDocument/2006/relationships/image" Target="../media/image52.png"/><Relationship Id="rId24" Type="http://schemas.openxmlformats.org/officeDocument/2006/relationships/image" Target="../media/image65.png"/><Relationship Id="rId32" Type="http://schemas.openxmlformats.org/officeDocument/2006/relationships/image" Target="../media/image73.png"/><Relationship Id="rId37" Type="http://schemas.openxmlformats.org/officeDocument/2006/relationships/image" Target="../media/image78.png"/><Relationship Id="rId40" Type="http://schemas.openxmlformats.org/officeDocument/2006/relationships/image" Target="../media/image81.png"/><Relationship Id="rId45" Type="http://schemas.openxmlformats.org/officeDocument/2006/relationships/image" Target="../media/image86.png"/><Relationship Id="rId53" Type="http://schemas.openxmlformats.org/officeDocument/2006/relationships/image" Target="../media/image94.png"/><Relationship Id="rId5" Type="http://schemas.openxmlformats.org/officeDocument/2006/relationships/image" Target="../media/image46.png"/><Relationship Id="rId10" Type="http://schemas.openxmlformats.org/officeDocument/2006/relationships/image" Target="../media/image51.png"/><Relationship Id="rId19" Type="http://schemas.openxmlformats.org/officeDocument/2006/relationships/image" Target="../media/image60.png"/><Relationship Id="rId31" Type="http://schemas.openxmlformats.org/officeDocument/2006/relationships/image" Target="../media/image72.png"/><Relationship Id="rId44" Type="http://schemas.openxmlformats.org/officeDocument/2006/relationships/image" Target="../media/image85.jpeg"/><Relationship Id="rId52" Type="http://schemas.openxmlformats.org/officeDocument/2006/relationships/image" Target="../media/image93.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png"/><Relationship Id="rId30" Type="http://schemas.openxmlformats.org/officeDocument/2006/relationships/image" Target="../media/image71.png"/><Relationship Id="rId35" Type="http://schemas.openxmlformats.org/officeDocument/2006/relationships/image" Target="../media/image76.png"/><Relationship Id="rId43" Type="http://schemas.openxmlformats.org/officeDocument/2006/relationships/image" Target="../media/image84.png"/><Relationship Id="rId48" Type="http://schemas.openxmlformats.org/officeDocument/2006/relationships/image" Target="../media/image89.png"/><Relationship Id="rId56" Type="http://schemas.openxmlformats.org/officeDocument/2006/relationships/image" Target="../media/image97.png"/><Relationship Id="rId8" Type="http://schemas.openxmlformats.org/officeDocument/2006/relationships/image" Target="../media/image49.png"/><Relationship Id="rId51" Type="http://schemas.openxmlformats.org/officeDocument/2006/relationships/image" Target="../media/image92.png"/><Relationship Id="rId3" Type="http://schemas.openxmlformats.org/officeDocument/2006/relationships/image" Target="../media/image44.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33" Type="http://schemas.openxmlformats.org/officeDocument/2006/relationships/image" Target="../media/image74.png"/><Relationship Id="rId38" Type="http://schemas.openxmlformats.org/officeDocument/2006/relationships/image" Target="../media/image79.png"/><Relationship Id="rId46" Type="http://schemas.openxmlformats.org/officeDocument/2006/relationships/image" Target="../media/image87.png"/><Relationship Id="rId20" Type="http://schemas.openxmlformats.org/officeDocument/2006/relationships/image" Target="../media/image61.png"/><Relationship Id="rId41" Type="http://schemas.openxmlformats.org/officeDocument/2006/relationships/image" Target="../media/image82.png"/><Relationship Id="rId54" Type="http://schemas.openxmlformats.org/officeDocument/2006/relationships/image" Target="../media/image95.png"/><Relationship Id="rId1" Type="http://schemas.openxmlformats.org/officeDocument/2006/relationships/slideLayout" Target="../slideLayouts/slideLayout12.xml"/><Relationship Id="rId6" Type="http://schemas.openxmlformats.org/officeDocument/2006/relationships/image" Target="../media/image47.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png"/><Relationship Id="rId36" Type="http://schemas.openxmlformats.org/officeDocument/2006/relationships/image" Target="../media/image77.png"/><Relationship Id="rId49" Type="http://schemas.openxmlformats.org/officeDocument/2006/relationships/image" Target="../media/image90.png"/></Relationships>
</file>

<file path=ppt/slides/_rels/slide17.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4.jpeg"/><Relationship Id="rId18" Type="http://schemas.openxmlformats.org/officeDocument/2006/relationships/image" Target="../media/image12.png"/><Relationship Id="rId3" Type="http://schemas.openxmlformats.org/officeDocument/2006/relationships/tags" Target="../tags/tag10.xml"/><Relationship Id="rId7" Type="http://schemas.openxmlformats.org/officeDocument/2006/relationships/image" Target="../media/image98.jpeg"/><Relationship Id="rId12" Type="http://schemas.openxmlformats.org/officeDocument/2006/relationships/image" Target="../media/image103.jpeg"/><Relationship Id="rId17" Type="http://schemas.openxmlformats.org/officeDocument/2006/relationships/image" Target="../media/image107.png"/><Relationship Id="rId2" Type="http://schemas.openxmlformats.org/officeDocument/2006/relationships/tags" Target="../tags/tag9.xml"/><Relationship Id="rId16" Type="http://schemas.openxmlformats.org/officeDocument/2006/relationships/image" Target="../media/image18.png"/><Relationship Id="rId1" Type="http://schemas.openxmlformats.org/officeDocument/2006/relationships/tags" Target="../tags/tag8.xml"/><Relationship Id="rId6" Type="http://schemas.openxmlformats.org/officeDocument/2006/relationships/slideLayout" Target="../slideLayouts/slideLayout13.xml"/><Relationship Id="rId11" Type="http://schemas.openxmlformats.org/officeDocument/2006/relationships/image" Target="../media/image102.jpeg"/><Relationship Id="rId5" Type="http://schemas.openxmlformats.org/officeDocument/2006/relationships/tags" Target="../tags/tag12.xml"/><Relationship Id="rId15" Type="http://schemas.openxmlformats.org/officeDocument/2006/relationships/image" Target="../media/image106.png"/><Relationship Id="rId10" Type="http://schemas.openxmlformats.org/officeDocument/2006/relationships/image" Target="../media/image101.jpeg"/><Relationship Id="rId19" Type="http://schemas.openxmlformats.org/officeDocument/2006/relationships/image" Target="../media/image108.png"/><Relationship Id="rId4" Type="http://schemas.openxmlformats.org/officeDocument/2006/relationships/tags" Target="../tags/tag11.xml"/><Relationship Id="rId9" Type="http://schemas.openxmlformats.org/officeDocument/2006/relationships/image" Target="../media/image100.jpeg"/><Relationship Id="rId14" Type="http://schemas.openxmlformats.org/officeDocument/2006/relationships/image" Target="../media/image105.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22.jpeg"/><Relationship Id="rId5" Type="http://schemas.openxmlformats.org/officeDocument/2006/relationships/image" Target="../media/image109.jpeg"/><Relationship Id="rId4" Type="http://schemas.openxmlformats.org/officeDocument/2006/relationships/image" Target="../media/image21.jpeg"/></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image" Target="../media/image110.jpeg"/><Relationship Id="rId1" Type="http://schemas.openxmlformats.org/officeDocument/2006/relationships/slideLayout" Target="../slideLayouts/slideLayout11.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eg"/><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113.png"/></Relationships>
</file>

<file path=ppt/slides/_rels/slide2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eg"/><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113.pn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2.jpe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4.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6.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8.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slideLayout" Target="../slideLayouts/slideLayout16.xml"/><Relationship Id="rId1" Type="http://schemas.openxmlformats.org/officeDocument/2006/relationships/tags" Target="../tags/tag13.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11.jpeg"/><Relationship Id="rId18" Type="http://schemas.openxmlformats.org/officeDocument/2006/relationships/image" Target="../media/image16.png"/><Relationship Id="rId3" Type="http://schemas.openxmlformats.org/officeDocument/2006/relationships/tags" Target="../tags/tag3.xml"/><Relationship Id="rId21" Type="http://schemas.openxmlformats.org/officeDocument/2006/relationships/image" Target="../media/image19.jpeg"/><Relationship Id="rId7" Type="http://schemas.openxmlformats.org/officeDocument/2006/relationships/image" Target="../media/image5.jpeg"/><Relationship Id="rId12" Type="http://schemas.openxmlformats.org/officeDocument/2006/relationships/image" Target="../media/image10.jpeg"/><Relationship Id="rId17" Type="http://schemas.openxmlformats.org/officeDocument/2006/relationships/image" Target="../media/image15.png"/><Relationship Id="rId2" Type="http://schemas.openxmlformats.org/officeDocument/2006/relationships/tags" Target="../tags/tag2.xml"/><Relationship Id="rId16" Type="http://schemas.openxmlformats.org/officeDocument/2006/relationships/image" Target="../media/image14.png"/><Relationship Id="rId20" Type="http://schemas.openxmlformats.org/officeDocument/2006/relationships/image" Target="../media/image18.png"/><Relationship Id="rId1" Type="http://schemas.openxmlformats.org/officeDocument/2006/relationships/tags" Target="../tags/tag1.xml"/><Relationship Id="rId6" Type="http://schemas.openxmlformats.org/officeDocument/2006/relationships/slideLayout" Target="../slideLayouts/slideLayout13.xml"/><Relationship Id="rId11" Type="http://schemas.openxmlformats.org/officeDocument/2006/relationships/image" Target="../media/image9.jpeg"/><Relationship Id="rId5" Type="http://schemas.openxmlformats.org/officeDocument/2006/relationships/tags" Target="../tags/tag5.xml"/><Relationship Id="rId15" Type="http://schemas.openxmlformats.org/officeDocument/2006/relationships/image" Target="../media/image13.jpeg"/><Relationship Id="rId10" Type="http://schemas.openxmlformats.org/officeDocument/2006/relationships/image" Target="../media/image8.jpeg"/><Relationship Id="rId19" Type="http://schemas.openxmlformats.org/officeDocument/2006/relationships/image" Target="../media/image17.png"/><Relationship Id="rId4" Type="http://schemas.openxmlformats.org/officeDocument/2006/relationships/tags" Target="../tags/tag4.xml"/><Relationship Id="rId9" Type="http://schemas.openxmlformats.org/officeDocument/2006/relationships/image" Target="../media/image7.jpeg"/><Relationship Id="rId1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22.jpeg"/><Relationship Id="rId4" Type="http://schemas.openxmlformats.org/officeDocument/2006/relationships/image" Target="../media/image21.jpeg"/></Relationships>
</file>

<file path=ppt/slides/_rels/slide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afe Harbor Statement</a:t>
            </a:r>
          </a:p>
        </p:txBody>
      </p:sp>
      <p:sp>
        <p:nvSpPr>
          <p:cNvPr id="3" name="TextBox 2">
            <a:extLst>
              <a:ext uri="{FF2B5EF4-FFF2-40B4-BE49-F238E27FC236}">
                <a16:creationId xmlns:a16="http://schemas.microsoft.com/office/drawing/2014/main" id="{C26287B2-1804-B74A-BBB1-AB8678F48917}"/>
              </a:ext>
            </a:extLst>
          </p:cNvPr>
          <p:cNvSpPr txBox="1"/>
          <p:nvPr/>
        </p:nvSpPr>
        <p:spPr>
          <a:xfrm>
            <a:off x="502023" y="1132114"/>
            <a:ext cx="11211006" cy="4770537"/>
          </a:xfrm>
          <a:prstGeom prst="rect">
            <a:avLst/>
          </a:prstGeom>
          <a:noFill/>
        </p:spPr>
        <p:txBody>
          <a:bodyPr wrap="square" rtlCol="0">
            <a:spAutoFit/>
          </a:bodyPr>
          <a:lstStyle/>
          <a:p>
            <a:r>
              <a:rPr lang="en-US" altLang="en-US" sz="1900" dirty="0">
                <a:solidFill>
                  <a:srgbClr val="000000"/>
                </a:solidFill>
                <a:cs typeface="Arial" panose="020B0604020202020204" pitchFamily="34" charset="0"/>
                <a:sym typeface="Arial" panose="020B0604020202020204" pitchFamily="34" charset="0"/>
              </a:rPr>
              <a:t>This presentation contains forward-looking statements that are subject to the safe harbors created under the Securities Act of 1933 and the Securities Exchange Act of 1934.  Words such as “anticipate,” “believe,” “continue,” “could,” “estimate,” “expect,” “goal,” “intend,” “may,” “plan,” “project,” “seek,” “should,” “target,” “will,” “would,” variations of such words, and similar expressions are intended to identify forward-looking statements. In addition, forward-looking statements include, among others, statements that refer to financial estimates; projections of revenue, margins, expenses or other financial items. Readers are cautioned that actual results could differ materially from those expressed in or contemplated by the forward-looking statements. Factors that could cause actual results to differ include, but are not limited to, commercial acceptance of the Company's products; intense competition in the communications equipment market; the Company's ability to execute on its strategy and operating plans; and economic conditions specific to the communications, networking, internet and related industries. In addition, please refer to the risk factors contained in the Company's SEC filings available at www.sec.gov, including without limitation, the Company's annual report on Form 10-K and quarterly reports on Forms 10-Q. Readers are cautioned not to place undue reliance on any forward-looking statements, which speak only as of the date on which they are made. The Company undertakes no obligation to update or revise any forward-looking statements for any reason.</a:t>
            </a:r>
          </a:p>
        </p:txBody>
      </p:sp>
    </p:spTree>
    <p:extLst>
      <p:ext uri="{BB962C8B-B14F-4D97-AF65-F5344CB8AC3E}">
        <p14:creationId xmlns:p14="http://schemas.microsoft.com/office/powerpoint/2010/main" val="1216154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a:xfrm>
            <a:off x="0" y="2677473"/>
            <a:ext cx="12192000" cy="1825719"/>
          </a:xfrm>
        </p:spPr>
      </p:pic>
      <p:sp>
        <p:nvSpPr>
          <p:cNvPr id="4" name="Text Placeholder 3"/>
          <p:cNvSpPr>
            <a:spLocks noGrp="1"/>
          </p:cNvSpPr>
          <p:nvPr>
            <p:ph type="body" sz="quarter" idx="14"/>
          </p:nvPr>
        </p:nvSpPr>
        <p:spPr/>
        <p:txBody>
          <a:bodyPr/>
          <a:lstStyle/>
          <a:p>
            <a:r>
              <a:rPr lang="en-US" dirty="0"/>
              <a:t>Image + Icon combination</a:t>
            </a:r>
          </a:p>
        </p:txBody>
      </p:sp>
      <p:grpSp>
        <p:nvGrpSpPr>
          <p:cNvPr id="2" name="Group 1">
            <a:extLst>
              <a:ext uri="{FF2B5EF4-FFF2-40B4-BE49-F238E27FC236}">
                <a16:creationId xmlns:a16="http://schemas.microsoft.com/office/drawing/2014/main" id="{8744319F-8109-FE4B-A652-05B554D6C709}"/>
              </a:ext>
            </a:extLst>
          </p:cNvPr>
          <p:cNvGrpSpPr/>
          <p:nvPr/>
        </p:nvGrpSpPr>
        <p:grpSpPr>
          <a:xfrm>
            <a:off x="7202923" y="3909969"/>
            <a:ext cx="1150906" cy="1151599"/>
            <a:chOff x="6789360" y="3236259"/>
            <a:chExt cx="1737360" cy="1737360"/>
          </a:xfrm>
        </p:grpSpPr>
        <p:sp>
          <p:nvSpPr>
            <p:cNvPr id="79" name="Oval 78"/>
            <p:cNvSpPr>
              <a:spLocks noChangeAspect="1"/>
            </p:cNvSpPr>
            <p:nvPr/>
          </p:nvSpPr>
          <p:spPr>
            <a:xfrm>
              <a:off x="6789360" y="3236259"/>
              <a:ext cx="1737360" cy="1737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309"/>
            <p:cNvGrpSpPr>
              <a:grpSpLocks noChangeAspect="1"/>
            </p:cNvGrpSpPr>
            <p:nvPr/>
          </p:nvGrpSpPr>
          <p:grpSpPr bwMode="auto">
            <a:xfrm>
              <a:off x="7196560" y="3739179"/>
              <a:ext cx="922960" cy="731520"/>
              <a:chOff x="3050" y="326"/>
              <a:chExt cx="3100" cy="2457"/>
            </a:xfrm>
            <a:solidFill>
              <a:schemeClr val="bg1"/>
            </a:solidFill>
          </p:grpSpPr>
          <p:sp>
            <p:nvSpPr>
              <p:cNvPr id="23" name="Freeform 310"/>
              <p:cNvSpPr>
                <a:spLocks noEditPoints="1"/>
              </p:cNvSpPr>
              <p:nvPr/>
            </p:nvSpPr>
            <p:spPr bwMode="auto">
              <a:xfrm>
                <a:off x="3050" y="326"/>
                <a:ext cx="2513" cy="2457"/>
              </a:xfrm>
              <a:custGeom>
                <a:avLst/>
                <a:gdLst>
                  <a:gd name="T0" fmla="*/ 1287 w 1328"/>
                  <a:gd name="T1" fmla="*/ 22 h 1297"/>
                  <a:gd name="T2" fmla="*/ 1199 w 1328"/>
                  <a:gd name="T3" fmla="*/ 10 h 1297"/>
                  <a:gd name="T4" fmla="*/ 781 w 1328"/>
                  <a:gd name="T5" fmla="*/ 160 h 1297"/>
                  <a:gd name="T6" fmla="*/ 762 w 1328"/>
                  <a:gd name="T7" fmla="*/ 201 h 1297"/>
                  <a:gd name="T8" fmla="*/ 803 w 1328"/>
                  <a:gd name="T9" fmla="*/ 220 h 1297"/>
                  <a:gd name="T10" fmla="*/ 1221 w 1328"/>
                  <a:gd name="T11" fmla="*/ 70 h 1297"/>
                  <a:gd name="T12" fmla="*/ 1250 w 1328"/>
                  <a:gd name="T13" fmla="*/ 74 h 1297"/>
                  <a:gd name="T14" fmla="*/ 1264 w 1328"/>
                  <a:gd name="T15" fmla="*/ 100 h 1297"/>
                  <a:gd name="T16" fmla="*/ 1264 w 1328"/>
                  <a:gd name="T17" fmla="*/ 1023 h 1297"/>
                  <a:gd name="T18" fmla="*/ 1250 w 1328"/>
                  <a:gd name="T19" fmla="*/ 1050 h 1297"/>
                  <a:gd name="T20" fmla="*/ 1221 w 1328"/>
                  <a:gd name="T21" fmla="*/ 1053 h 1297"/>
                  <a:gd name="T22" fmla="*/ 1198 w 1328"/>
                  <a:gd name="T23" fmla="*/ 1045 h 1297"/>
                  <a:gd name="T24" fmla="*/ 1198 w 1328"/>
                  <a:gd name="T25" fmla="*/ 717 h 1297"/>
                  <a:gd name="T26" fmla="*/ 1166 w 1328"/>
                  <a:gd name="T27" fmla="*/ 685 h 1297"/>
                  <a:gd name="T28" fmla="*/ 1134 w 1328"/>
                  <a:gd name="T29" fmla="*/ 717 h 1297"/>
                  <a:gd name="T30" fmla="*/ 1134 w 1328"/>
                  <a:gd name="T31" fmla="*/ 1022 h 1297"/>
                  <a:gd name="T32" fmla="*/ 448 w 1328"/>
                  <a:gd name="T33" fmla="*/ 776 h 1297"/>
                  <a:gd name="T34" fmla="*/ 448 w 1328"/>
                  <a:gd name="T35" fmla="*/ 348 h 1297"/>
                  <a:gd name="T36" fmla="*/ 586 w 1328"/>
                  <a:gd name="T37" fmla="*/ 298 h 1297"/>
                  <a:gd name="T38" fmla="*/ 606 w 1328"/>
                  <a:gd name="T39" fmla="*/ 257 h 1297"/>
                  <a:gd name="T40" fmla="*/ 565 w 1328"/>
                  <a:gd name="T41" fmla="*/ 238 h 1297"/>
                  <a:gd name="T42" fmla="*/ 410 w 1328"/>
                  <a:gd name="T43" fmla="*/ 293 h 1297"/>
                  <a:gd name="T44" fmla="*/ 160 w 1328"/>
                  <a:gd name="T45" fmla="*/ 293 h 1297"/>
                  <a:gd name="T46" fmla="*/ 0 w 1328"/>
                  <a:gd name="T47" fmla="*/ 453 h 1297"/>
                  <a:gd name="T48" fmla="*/ 0 w 1328"/>
                  <a:gd name="T49" fmla="*/ 671 h 1297"/>
                  <a:gd name="T50" fmla="*/ 160 w 1328"/>
                  <a:gd name="T51" fmla="*/ 831 h 1297"/>
                  <a:gd name="T52" fmla="*/ 163 w 1328"/>
                  <a:gd name="T53" fmla="*/ 831 h 1297"/>
                  <a:gd name="T54" fmla="*/ 320 w 1328"/>
                  <a:gd name="T55" fmla="*/ 1253 h 1297"/>
                  <a:gd name="T56" fmla="*/ 383 w 1328"/>
                  <a:gd name="T57" fmla="*/ 1297 h 1297"/>
                  <a:gd name="T58" fmla="*/ 543 w 1328"/>
                  <a:gd name="T59" fmla="*/ 1297 h 1297"/>
                  <a:gd name="T60" fmla="*/ 599 w 1328"/>
                  <a:gd name="T61" fmla="*/ 1268 h 1297"/>
                  <a:gd name="T62" fmla="*/ 607 w 1328"/>
                  <a:gd name="T63" fmla="*/ 1206 h 1297"/>
                  <a:gd name="T64" fmla="*/ 476 w 1328"/>
                  <a:gd name="T65" fmla="*/ 854 h 1297"/>
                  <a:gd name="T66" fmla="*/ 1199 w 1328"/>
                  <a:gd name="T67" fmla="*/ 1114 h 1297"/>
                  <a:gd name="T68" fmla="*/ 1232 w 1328"/>
                  <a:gd name="T69" fmla="*/ 1119 h 1297"/>
                  <a:gd name="T70" fmla="*/ 1287 w 1328"/>
                  <a:gd name="T71" fmla="*/ 1102 h 1297"/>
                  <a:gd name="T72" fmla="*/ 1328 w 1328"/>
                  <a:gd name="T73" fmla="*/ 1023 h 1297"/>
                  <a:gd name="T74" fmla="*/ 1328 w 1328"/>
                  <a:gd name="T75" fmla="*/ 100 h 1297"/>
                  <a:gd name="T76" fmla="*/ 1287 w 1328"/>
                  <a:gd name="T77" fmla="*/ 22 h 1297"/>
                  <a:gd name="T78" fmla="*/ 160 w 1328"/>
                  <a:gd name="T79" fmla="*/ 767 h 1297"/>
                  <a:gd name="T80" fmla="*/ 64 w 1328"/>
                  <a:gd name="T81" fmla="*/ 671 h 1297"/>
                  <a:gd name="T82" fmla="*/ 64 w 1328"/>
                  <a:gd name="T83" fmla="*/ 453 h 1297"/>
                  <a:gd name="T84" fmla="*/ 160 w 1328"/>
                  <a:gd name="T85" fmla="*/ 357 h 1297"/>
                  <a:gd name="T86" fmla="*/ 384 w 1328"/>
                  <a:gd name="T87" fmla="*/ 357 h 1297"/>
                  <a:gd name="T88" fmla="*/ 384 w 1328"/>
                  <a:gd name="T89" fmla="*/ 767 h 1297"/>
                  <a:gd name="T90" fmla="*/ 160 w 1328"/>
                  <a:gd name="T91" fmla="*/ 767 h 1297"/>
                  <a:gd name="T92" fmla="*/ 547 w 1328"/>
                  <a:gd name="T93" fmla="*/ 1228 h 1297"/>
                  <a:gd name="T94" fmla="*/ 546 w 1328"/>
                  <a:gd name="T95" fmla="*/ 1232 h 1297"/>
                  <a:gd name="T96" fmla="*/ 543 w 1328"/>
                  <a:gd name="T97" fmla="*/ 1233 h 1297"/>
                  <a:gd name="T98" fmla="*/ 383 w 1328"/>
                  <a:gd name="T99" fmla="*/ 1233 h 1297"/>
                  <a:gd name="T100" fmla="*/ 380 w 1328"/>
                  <a:gd name="T101" fmla="*/ 1231 h 1297"/>
                  <a:gd name="T102" fmla="*/ 231 w 1328"/>
                  <a:gd name="T103" fmla="*/ 831 h 1297"/>
                  <a:gd name="T104" fmla="*/ 399 w 1328"/>
                  <a:gd name="T105" fmla="*/ 831 h 1297"/>
                  <a:gd name="T106" fmla="*/ 547 w 1328"/>
                  <a:gd name="T107" fmla="*/ 1228 h 1297"/>
                  <a:gd name="T108" fmla="*/ 547 w 1328"/>
                  <a:gd name="T109" fmla="*/ 1228 h 1297"/>
                  <a:gd name="T110" fmla="*/ 547 w 1328"/>
                  <a:gd name="T111" fmla="*/ 1228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8" h="1297">
                    <a:moveTo>
                      <a:pt x="1287" y="22"/>
                    </a:moveTo>
                    <a:cubicBezTo>
                      <a:pt x="1261" y="4"/>
                      <a:pt x="1229" y="0"/>
                      <a:pt x="1199" y="10"/>
                    </a:cubicBezTo>
                    <a:cubicBezTo>
                      <a:pt x="781" y="160"/>
                      <a:pt x="781" y="160"/>
                      <a:pt x="781" y="160"/>
                    </a:cubicBezTo>
                    <a:cubicBezTo>
                      <a:pt x="764" y="166"/>
                      <a:pt x="756" y="184"/>
                      <a:pt x="762" y="201"/>
                    </a:cubicBezTo>
                    <a:cubicBezTo>
                      <a:pt x="768" y="218"/>
                      <a:pt x="786" y="226"/>
                      <a:pt x="803" y="220"/>
                    </a:cubicBezTo>
                    <a:cubicBezTo>
                      <a:pt x="1221" y="70"/>
                      <a:pt x="1221" y="70"/>
                      <a:pt x="1221" y="70"/>
                    </a:cubicBezTo>
                    <a:cubicBezTo>
                      <a:pt x="1231" y="67"/>
                      <a:pt x="1242" y="68"/>
                      <a:pt x="1250" y="74"/>
                    </a:cubicBezTo>
                    <a:cubicBezTo>
                      <a:pt x="1259" y="80"/>
                      <a:pt x="1264" y="90"/>
                      <a:pt x="1264" y="100"/>
                    </a:cubicBezTo>
                    <a:cubicBezTo>
                      <a:pt x="1264" y="1023"/>
                      <a:pt x="1264" y="1023"/>
                      <a:pt x="1264" y="1023"/>
                    </a:cubicBezTo>
                    <a:cubicBezTo>
                      <a:pt x="1264" y="1034"/>
                      <a:pt x="1259" y="1043"/>
                      <a:pt x="1250" y="1050"/>
                    </a:cubicBezTo>
                    <a:cubicBezTo>
                      <a:pt x="1242" y="1056"/>
                      <a:pt x="1231" y="1057"/>
                      <a:pt x="1221" y="1053"/>
                    </a:cubicBezTo>
                    <a:cubicBezTo>
                      <a:pt x="1198" y="1045"/>
                      <a:pt x="1198" y="1045"/>
                      <a:pt x="1198" y="1045"/>
                    </a:cubicBezTo>
                    <a:cubicBezTo>
                      <a:pt x="1198" y="717"/>
                      <a:pt x="1198" y="717"/>
                      <a:pt x="1198" y="717"/>
                    </a:cubicBezTo>
                    <a:cubicBezTo>
                      <a:pt x="1198" y="699"/>
                      <a:pt x="1184" y="685"/>
                      <a:pt x="1166" y="685"/>
                    </a:cubicBezTo>
                    <a:cubicBezTo>
                      <a:pt x="1148" y="685"/>
                      <a:pt x="1134" y="699"/>
                      <a:pt x="1134" y="717"/>
                    </a:cubicBezTo>
                    <a:cubicBezTo>
                      <a:pt x="1134" y="1022"/>
                      <a:pt x="1134" y="1022"/>
                      <a:pt x="1134" y="1022"/>
                    </a:cubicBezTo>
                    <a:cubicBezTo>
                      <a:pt x="448" y="776"/>
                      <a:pt x="448" y="776"/>
                      <a:pt x="448" y="776"/>
                    </a:cubicBezTo>
                    <a:cubicBezTo>
                      <a:pt x="448" y="348"/>
                      <a:pt x="448" y="348"/>
                      <a:pt x="448" y="348"/>
                    </a:cubicBezTo>
                    <a:cubicBezTo>
                      <a:pt x="586" y="298"/>
                      <a:pt x="586" y="298"/>
                      <a:pt x="586" y="298"/>
                    </a:cubicBezTo>
                    <a:cubicBezTo>
                      <a:pt x="603" y="292"/>
                      <a:pt x="612" y="274"/>
                      <a:pt x="606" y="257"/>
                    </a:cubicBezTo>
                    <a:cubicBezTo>
                      <a:pt x="600" y="240"/>
                      <a:pt x="581" y="232"/>
                      <a:pt x="565" y="238"/>
                    </a:cubicBezTo>
                    <a:cubicBezTo>
                      <a:pt x="410" y="293"/>
                      <a:pt x="410" y="293"/>
                      <a:pt x="410" y="293"/>
                    </a:cubicBezTo>
                    <a:cubicBezTo>
                      <a:pt x="160" y="293"/>
                      <a:pt x="160" y="293"/>
                      <a:pt x="160" y="293"/>
                    </a:cubicBezTo>
                    <a:cubicBezTo>
                      <a:pt x="72" y="293"/>
                      <a:pt x="0" y="365"/>
                      <a:pt x="0" y="453"/>
                    </a:cubicBezTo>
                    <a:cubicBezTo>
                      <a:pt x="0" y="671"/>
                      <a:pt x="0" y="671"/>
                      <a:pt x="0" y="671"/>
                    </a:cubicBezTo>
                    <a:cubicBezTo>
                      <a:pt x="0" y="759"/>
                      <a:pt x="72" y="831"/>
                      <a:pt x="160" y="831"/>
                    </a:cubicBezTo>
                    <a:cubicBezTo>
                      <a:pt x="163" y="831"/>
                      <a:pt x="163" y="831"/>
                      <a:pt x="163" y="831"/>
                    </a:cubicBezTo>
                    <a:cubicBezTo>
                      <a:pt x="320" y="1253"/>
                      <a:pt x="320" y="1253"/>
                      <a:pt x="320" y="1253"/>
                    </a:cubicBezTo>
                    <a:cubicBezTo>
                      <a:pt x="329" y="1279"/>
                      <a:pt x="355" y="1297"/>
                      <a:pt x="383" y="1297"/>
                    </a:cubicBezTo>
                    <a:cubicBezTo>
                      <a:pt x="543" y="1297"/>
                      <a:pt x="543" y="1297"/>
                      <a:pt x="543" y="1297"/>
                    </a:cubicBezTo>
                    <a:cubicBezTo>
                      <a:pt x="565" y="1297"/>
                      <a:pt x="586" y="1286"/>
                      <a:pt x="599" y="1268"/>
                    </a:cubicBezTo>
                    <a:cubicBezTo>
                      <a:pt x="611" y="1250"/>
                      <a:pt x="614" y="1227"/>
                      <a:pt x="607" y="1206"/>
                    </a:cubicBezTo>
                    <a:cubicBezTo>
                      <a:pt x="476" y="854"/>
                      <a:pt x="476" y="854"/>
                      <a:pt x="476" y="854"/>
                    </a:cubicBezTo>
                    <a:cubicBezTo>
                      <a:pt x="1199" y="1114"/>
                      <a:pt x="1199" y="1114"/>
                      <a:pt x="1199" y="1114"/>
                    </a:cubicBezTo>
                    <a:cubicBezTo>
                      <a:pt x="1210" y="1118"/>
                      <a:pt x="1221" y="1119"/>
                      <a:pt x="1232" y="1119"/>
                    </a:cubicBezTo>
                    <a:cubicBezTo>
                      <a:pt x="1251" y="1119"/>
                      <a:pt x="1271" y="1113"/>
                      <a:pt x="1287" y="1102"/>
                    </a:cubicBezTo>
                    <a:cubicBezTo>
                      <a:pt x="1313" y="1084"/>
                      <a:pt x="1328" y="1055"/>
                      <a:pt x="1328" y="1023"/>
                    </a:cubicBezTo>
                    <a:cubicBezTo>
                      <a:pt x="1328" y="100"/>
                      <a:pt x="1328" y="100"/>
                      <a:pt x="1328" y="100"/>
                    </a:cubicBezTo>
                    <a:cubicBezTo>
                      <a:pt x="1328" y="69"/>
                      <a:pt x="1313" y="40"/>
                      <a:pt x="1287" y="22"/>
                    </a:cubicBezTo>
                    <a:close/>
                    <a:moveTo>
                      <a:pt x="160" y="767"/>
                    </a:moveTo>
                    <a:cubicBezTo>
                      <a:pt x="107" y="767"/>
                      <a:pt x="64" y="724"/>
                      <a:pt x="64" y="671"/>
                    </a:cubicBezTo>
                    <a:cubicBezTo>
                      <a:pt x="64" y="453"/>
                      <a:pt x="64" y="453"/>
                      <a:pt x="64" y="453"/>
                    </a:cubicBezTo>
                    <a:cubicBezTo>
                      <a:pt x="64" y="400"/>
                      <a:pt x="107" y="357"/>
                      <a:pt x="160" y="357"/>
                    </a:cubicBezTo>
                    <a:cubicBezTo>
                      <a:pt x="384" y="357"/>
                      <a:pt x="384" y="357"/>
                      <a:pt x="384" y="357"/>
                    </a:cubicBezTo>
                    <a:cubicBezTo>
                      <a:pt x="384" y="767"/>
                      <a:pt x="384" y="767"/>
                      <a:pt x="384" y="767"/>
                    </a:cubicBezTo>
                    <a:lnTo>
                      <a:pt x="160" y="767"/>
                    </a:lnTo>
                    <a:close/>
                    <a:moveTo>
                      <a:pt x="547" y="1228"/>
                    </a:moveTo>
                    <a:cubicBezTo>
                      <a:pt x="547" y="1229"/>
                      <a:pt x="547" y="1230"/>
                      <a:pt x="546" y="1232"/>
                    </a:cubicBezTo>
                    <a:cubicBezTo>
                      <a:pt x="545" y="1233"/>
                      <a:pt x="544" y="1233"/>
                      <a:pt x="543" y="1233"/>
                    </a:cubicBezTo>
                    <a:cubicBezTo>
                      <a:pt x="383" y="1233"/>
                      <a:pt x="383" y="1233"/>
                      <a:pt x="383" y="1233"/>
                    </a:cubicBezTo>
                    <a:cubicBezTo>
                      <a:pt x="381" y="1233"/>
                      <a:pt x="380" y="1232"/>
                      <a:pt x="380" y="1231"/>
                    </a:cubicBezTo>
                    <a:cubicBezTo>
                      <a:pt x="231" y="831"/>
                      <a:pt x="231" y="831"/>
                      <a:pt x="231" y="831"/>
                    </a:cubicBezTo>
                    <a:cubicBezTo>
                      <a:pt x="399" y="831"/>
                      <a:pt x="399" y="831"/>
                      <a:pt x="399" y="831"/>
                    </a:cubicBezTo>
                    <a:lnTo>
                      <a:pt x="547" y="1228"/>
                    </a:lnTo>
                    <a:close/>
                    <a:moveTo>
                      <a:pt x="547" y="1228"/>
                    </a:moveTo>
                    <a:cubicBezTo>
                      <a:pt x="547" y="1228"/>
                      <a:pt x="547" y="1228"/>
                      <a:pt x="547"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11"/>
              <p:cNvSpPr>
                <a:spLocks noEditPoints="1"/>
              </p:cNvSpPr>
              <p:nvPr/>
            </p:nvSpPr>
            <p:spPr bwMode="auto">
              <a:xfrm>
                <a:off x="4276" y="701"/>
                <a:ext cx="122"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12"/>
              <p:cNvSpPr>
                <a:spLocks noEditPoints="1"/>
              </p:cNvSpPr>
              <p:nvPr/>
            </p:nvSpPr>
            <p:spPr bwMode="auto">
              <a:xfrm>
                <a:off x="5690" y="1103"/>
                <a:ext cx="218" cy="570"/>
              </a:xfrm>
              <a:custGeom>
                <a:avLst/>
                <a:gdLst>
                  <a:gd name="T0" fmla="*/ 58 w 115"/>
                  <a:gd name="T1" fmla="*/ 12 h 301"/>
                  <a:gd name="T2" fmla="*/ 12 w 115"/>
                  <a:gd name="T3" fmla="*/ 12 h 301"/>
                  <a:gd name="T4" fmla="*/ 12 w 115"/>
                  <a:gd name="T5" fmla="*/ 58 h 301"/>
                  <a:gd name="T6" fmla="*/ 51 w 115"/>
                  <a:gd name="T7" fmla="*/ 152 h 301"/>
                  <a:gd name="T8" fmla="*/ 12 w 115"/>
                  <a:gd name="T9" fmla="*/ 246 h 301"/>
                  <a:gd name="T10" fmla="*/ 12 w 115"/>
                  <a:gd name="T11" fmla="*/ 291 h 301"/>
                  <a:gd name="T12" fmla="*/ 35 w 115"/>
                  <a:gd name="T13" fmla="*/ 301 h 301"/>
                  <a:gd name="T14" fmla="*/ 58 w 115"/>
                  <a:gd name="T15" fmla="*/ 291 h 301"/>
                  <a:gd name="T16" fmla="*/ 115 w 115"/>
                  <a:gd name="T17" fmla="*/ 152 h 301"/>
                  <a:gd name="T18" fmla="*/ 58 w 115"/>
                  <a:gd name="T19" fmla="*/ 12 h 301"/>
                  <a:gd name="T20" fmla="*/ 58 w 115"/>
                  <a:gd name="T21" fmla="*/ 12 h 301"/>
                  <a:gd name="T22" fmla="*/ 58 w 115"/>
                  <a:gd name="T23"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301">
                    <a:moveTo>
                      <a:pt x="58" y="12"/>
                    </a:moveTo>
                    <a:cubicBezTo>
                      <a:pt x="45" y="0"/>
                      <a:pt x="25" y="0"/>
                      <a:pt x="12" y="12"/>
                    </a:cubicBezTo>
                    <a:cubicBezTo>
                      <a:pt x="0" y="25"/>
                      <a:pt x="0" y="45"/>
                      <a:pt x="12" y="58"/>
                    </a:cubicBezTo>
                    <a:cubicBezTo>
                      <a:pt x="38" y="83"/>
                      <a:pt x="51" y="116"/>
                      <a:pt x="51" y="152"/>
                    </a:cubicBezTo>
                    <a:cubicBezTo>
                      <a:pt x="51" y="188"/>
                      <a:pt x="38" y="221"/>
                      <a:pt x="12" y="246"/>
                    </a:cubicBezTo>
                    <a:cubicBezTo>
                      <a:pt x="0" y="259"/>
                      <a:pt x="0" y="279"/>
                      <a:pt x="12" y="291"/>
                    </a:cubicBezTo>
                    <a:cubicBezTo>
                      <a:pt x="19" y="298"/>
                      <a:pt x="27" y="301"/>
                      <a:pt x="35" y="301"/>
                    </a:cubicBezTo>
                    <a:cubicBezTo>
                      <a:pt x="43" y="301"/>
                      <a:pt x="51" y="298"/>
                      <a:pt x="58" y="291"/>
                    </a:cubicBezTo>
                    <a:cubicBezTo>
                      <a:pt x="95" y="254"/>
                      <a:pt x="115" y="205"/>
                      <a:pt x="115" y="152"/>
                    </a:cubicBezTo>
                    <a:cubicBezTo>
                      <a:pt x="115" y="99"/>
                      <a:pt x="95" y="50"/>
                      <a:pt x="58" y="12"/>
                    </a:cubicBezTo>
                    <a:close/>
                    <a:moveTo>
                      <a:pt x="58" y="12"/>
                    </a:moveTo>
                    <a:cubicBezTo>
                      <a:pt x="58" y="12"/>
                      <a:pt x="58" y="12"/>
                      <a:pt x="5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13"/>
              <p:cNvSpPr>
                <a:spLocks noEditPoints="1"/>
              </p:cNvSpPr>
              <p:nvPr/>
            </p:nvSpPr>
            <p:spPr bwMode="auto">
              <a:xfrm>
                <a:off x="5861" y="930"/>
                <a:ext cx="289" cy="913"/>
              </a:xfrm>
              <a:custGeom>
                <a:avLst/>
                <a:gdLst>
                  <a:gd name="T0" fmla="*/ 58 w 153"/>
                  <a:gd name="T1" fmla="*/ 13 h 482"/>
                  <a:gd name="T2" fmla="*/ 13 w 153"/>
                  <a:gd name="T3" fmla="*/ 13 h 482"/>
                  <a:gd name="T4" fmla="*/ 13 w 153"/>
                  <a:gd name="T5" fmla="*/ 58 h 482"/>
                  <a:gd name="T6" fmla="*/ 89 w 153"/>
                  <a:gd name="T7" fmla="*/ 243 h 482"/>
                  <a:gd name="T8" fmla="*/ 13 w 153"/>
                  <a:gd name="T9" fmla="*/ 428 h 482"/>
                  <a:gd name="T10" fmla="*/ 13 w 153"/>
                  <a:gd name="T11" fmla="*/ 473 h 482"/>
                  <a:gd name="T12" fmla="*/ 35 w 153"/>
                  <a:gd name="T13" fmla="*/ 482 h 482"/>
                  <a:gd name="T14" fmla="*/ 58 w 153"/>
                  <a:gd name="T15" fmla="*/ 473 h 482"/>
                  <a:gd name="T16" fmla="*/ 153 w 153"/>
                  <a:gd name="T17" fmla="*/ 243 h 482"/>
                  <a:gd name="T18" fmla="*/ 58 w 153"/>
                  <a:gd name="T19" fmla="*/ 13 h 482"/>
                  <a:gd name="T20" fmla="*/ 58 w 153"/>
                  <a:gd name="T21" fmla="*/ 13 h 482"/>
                  <a:gd name="T22" fmla="*/ 58 w 153"/>
                  <a:gd name="T2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482">
                    <a:moveTo>
                      <a:pt x="58" y="13"/>
                    </a:moveTo>
                    <a:cubicBezTo>
                      <a:pt x="46" y="0"/>
                      <a:pt x="25" y="0"/>
                      <a:pt x="13" y="13"/>
                    </a:cubicBezTo>
                    <a:cubicBezTo>
                      <a:pt x="0" y="25"/>
                      <a:pt x="0" y="46"/>
                      <a:pt x="13" y="58"/>
                    </a:cubicBezTo>
                    <a:cubicBezTo>
                      <a:pt x="62" y="107"/>
                      <a:pt x="89" y="173"/>
                      <a:pt x="89" y="243"/>
                    </a:cubicBezTo>
                    <a:cubicBezTo>
                      <a:pt x="89" y="313"/>
                      <a:pt x="62" y="378"/>
                      <a:pt x="13" y="428"/>
                    </a:cubicBezTo>
                    <a:cubicBezTo>
                      <a:pt x="0" y="440"/>
                      <a:pt x="0" y="460"/>
                      <a:pt x="13" y="473"/>
                    </a:cubicBezTo>
                    <a:cubicBezTo>
                      <a:pt x="19" y="479"/>
                      <a:pt x="27" y="482"/>
                      <a:pt x="35" y="482"/>
                    </a:cubicBezTo>
                    <a:cubicBezTo>
                      <a:pt x="44" y="482"/>
                      <a:pt x="52" y="479"/>
                      <a:pt x="58" y="473"/>
                    </a:cubicBezTo>
                    <a:cubicBezTo>
                      <a:pt x="120" y="412"/>
                      <a:pt x="153" y="330"/>
                      <a:pt x="153" y="243"/>
                    </a:cubicBezTo>
                    <a:cubicBezTo>
                      <a:pt x="153" y="156"/>
                      <a:pt x="120" y="74"/>
                      <a:pt x="58" y="13"/>
                    </a:cubicBezTo>
                    <a:close/>
                    <a:moveTo>
                      <a:pt x="58" y="13"/>
                    </a:moveTo>
                    <a:cubicBezTo>
                      <a:pt x="58" y="13"/>
                      <a:pt x="58" y="13"/>
                      <a:pt x="58"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4"/>
              <p:cNvSpPr>
                <a:spLocks noEditPoints="1"/>
              </p:cNvSpPr>
              <p:nvPr/>
            </p:nvSpPr>
            <p:spPr bwMode="auto">
              <a:xfrm>
                <a:off x="4015" y="834"/>
                <a:ext cx="1306" cy="799"/>
              </a:xfrm>
              <a:custGeom>
                <a:avLst/>
                <a:gdLst>
                  <a:gd name="T0" fmla="*/ 658 w 690"/>
                  <a:gd name="T1" fmla="*/ 0 h 422"/>
                  <a:gd name="T2" fmla="*/ 586 w 690"/>
                  <a:gd name="T3" fmla="*/ 0 h 422"/>
                  <a:gd name="T4" fmla="*/ 554 w 690"/>
                  <a:gd name="T5" fmla="*/ 32 h 422"/>
                  <a:gd name="T6" fmla="*/ 581 w 690"/>
                  <a:gd name="T7" fmla="*/ 63 h 422"/>
                  <a:gd name="T8" fmla="*/ 354 w 690"/>
                  <a:gd name="T9" fmla="*/ 291 h 422"/>
                  <a:gd name="T10" fmla="*/ 244 w 690"/>
                  <a:gd name="T11" fmla="*/ 181 h 422"/>
                  <a:gd name="T12" fmla="*/ 199 w 690"/>
                  <a:gd name="T13" fmla="*/ 181 h 422"/>
                  <a:gd name="T14" fmla="*/ 12 w 690"/>
                  <a:gd name="T15" fmla="*/ 367 h 422"/>
                  <a:gd name="T16" fmla="*/ 12 w 690"/>
                  <a:gd name="T17" fmla="*/ 412 h 422"/>
                  <a:gd name="T18" fmla="*/ 35 w 690"/>
                  <a:gd name="T19" fmla="*/ 422 h 422"/>
                  <a:gd name="T20" fmla="*/ 58 w 690"/>
                  <a:gd name="T21" fmla="*/ 412 h 422"/>
                  <a:gd name="T22" fmla="*/ 221 w 690"/>
                  <a:gd name="T23" fmla="*/ 249 h 422"/>
                  <a:gd name="T24" fmla="*/ 331 w 690"/>
                  <a:gd name="T25" fmla="*/ 359 h 422"/>
                  <a:gd name="T26" fmla="*/ 376 w 690"/>
                  <a:gd name="T27" fmla="*/ 359 h 422"/>
                  <a:gd name="T28" fmla="*/ 626 w 690"/>
                  <a:gd name="T29" fmla="*/ 108 h 422"/>
                  <a:gd name="T30" fmla="*/ 658 w 690"/>
                  <a:gd name="T31" fmla="*/ 135 h 422"/>
                  <a:gd name="T32" fmla="*/ 690 w 690"/>
                  <a:gd name="T33" fmla="*/ 103 h 422"/>
                  <a:gd name="T34" fmla="*/ 690 w 690"/>
                  <a:gd name="T35" fmla="*/ 32 h 422"/>
                  <a:gd name="T36" fmla="*/ 658 w 690"/>
                  <a:gd name="T37" fmla="*/ 0 h 422"/>
                  <a:gd name="T38" fmla="*/ 658 w 690"/>
                  <a:gd name="T39" fmla="*/ 0 h 422"/>
                  <a:gd name="T40" fmla="*/ 658 w 690"/>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0" h="422">
                    <a:moveTo>
                      <a:pt x="658" y="0"/>
                    </a:moveTo>
                    <a:cubicBezTo>
                      <a:pt x="586" y="0"/>
                      <a:pt x="586" y="0"/>
                      <a:pt x="586" y="0"/>
                    </a:cubicBezTo>
                    <a:cubicBezTo>
                      <a:pt x="568" y="0"/>
                      <a:pt x="554" y="14"/>
                      <a:pt x="554" y="32"/>
                    </a:cubicBezTo>
                    <a:cubicBezTo>
                      <a:pt x="554" y="48"/>
                      <a:pt x="566" y="61"/>
                      <a:pt x="581" y="63"/>
                    </a:cubicBezTo>
                    <a:cubicBezTo>
                      <a:pt x="354" y="291"/>
                      <a:pt x="354" y="291"/>
                      <a:pt x="354" y="291"/>
                    </a:cubicBezTo>
                    <a:cubicBezTo>
                      <a:pt x="244" y="181"/>
                      <a:pt x="244" y="181"/>
                      <a:pt x="244" y="181"/>
                    </a:cubicBezTo>
                    <a:cubicBezTo>
                      <a:pt x="231" y="168"/>
                      <a:pt x="211" y="168"/>
                      <a:pt x="199" y="181"/>
                    </a:cubicBezTo>
                    <a:cubicBezTo>
                      <a:pt x="12" y="367"/>
                      <a:pt x="12" y="367"/>
                      <a:pt x="12" y="367"/>
                    </a:cubicBezTo>
                    <a:cubicBezTo>
                      <a:pt x="0" y="380"/>
                      <a:pt x="0" y="400"/>
                      <a:pt x="12" y="412"/>
                    </a:cubicBezTo>
                    <a:cubicBezTo>
                      <a:pt x="19" y="419"/>
                      <a:pt x="27" y="422"/>
                      <a:pt x="35" y="422"/>
                    </a:cubicBezTo>
                    <a:cubicBezTo>
                      <a:pt x="43" y="422"/>
                      <a:pt x="51" y="419"/>
                      <a:pt x="58" y="412"/>
                    </a:cubicBezTo>
                    <a:cubicBezTo>
                      <a:pt x="221" y="249"/>
                      <a:pt x="221" y="249"/>
                      <a:pt x="221" y="249"/>
                    </a:cubicBezTo>
                    <a:cubicBezTo>
                      <a:pt x="331" y="359"/>
                      <a:pt x="331" y="359"/>
                      <a:pt x="331" y="359"/>
                    </a:cubicBezTo>
                    <a:cubicBezTo>
                      <a:pt x="343" y="371"/>
                      <a:pt x="364" y="371"/>
                      <a:pt x="376" y="359"/>
                    </a:cubicBezTo>
                    <a:cubicBezTo>
                      <a:pt x="626" y="108"/>
                      <a:pt x="626" y="108"/>
                      <a:pt x="626" y="108"/>
                    </a:cubicBezTo>
                    <a:cubicBezTo>
                      <a:pt x="629" y="124"/>
                      <a:pt x="642" y="135"/>
                      <a:pt x="658" y="135"/>
                    </a:cubicBezTo>
                    <a:cubicBezTo>
                      <a:pt x="676" y="135"/>
                      <a:pt x="690" y="121"/>
                      <a:pt x="690" y="103"/>
                    </a:cubicBezTo>
                    <a:cubicBezTo>
                      <a:pt x="690" y="32"/>
                      <a:pt x="690" y="32"/>
                      <a:pt x="690" y="32"/>
                    </a:cubicBezTo>
                    <a:cubicBezTo>
                      <a:pt x="690" y="14"/>
                      <a:pt x="676" y="0"/>
                      <a:pt x="658" y="0"/>
                    </a:cubicBezTo>
                    <a:close/>
                    <a:moveTo>
                      <a:pt x="658" y="0"/>
                    </a:moveTo>
                    <a:cubicBezTo>
                      <a:pt x="658" y="0"/>
                      <a:pt x="658" y="0"/>
                      <a:pt x="6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15"/>
              <p:cNvSpPr>
                <a:spLocks noEditPoints="1"/>
              </p:cNvSpPr>
              <p:nvPr/>
            </p:nvSpPr>
            <p:spPr bwMode="auto">
              <a:xfrm>
                <a:off x="5196" y="1372"/>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9"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9"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 name="Group 7"/>
          <p:cNvGrpSpPr/>
          <p:nvPr/>
        </p:nvGrpSpPr>
        <p:grpSpPr>
          <a:xfrm>
            <a:off x="10092520" y="2134521"/>
            <a:ext cx="1153890" cy="1149113"/>
            <a:chOff x="10033747" y="3236259"/>
            <a:chExt cx="1737360" cy="1737360"/>
          </a:xfrm>
        </p:grpSpPr>
        <p:sp>
          <p:nvSpPr>
            <p:cNvPr id="80" name="Oval 79"/>
            <p:cNvSpPr>
              <a:spLocks noChangeAspect="1"/>
            </p:cNvSpPr>
            <p:nvPr/>
          </p:nvSpPr>
          <p:spPr>
            <a:xfrm>
              <a:off x="10033747" y="3236259"/>
              <a:ext cx="1737360" cy="1737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324"/>
            <p:cNvGrpSpPr>
              <a:grpSpLocks noChangeAspect="1"/>
            </p:cNvGrpSpPr>
            <p:nvPr/>
          </p:nvGrpSpPr>
          <p:grpSpPr bwMode="auto">
            <a:xfrm>
              <a:off x="10439290" y="3739179"/>
              <a:ext cx="926274" cy="731520"/>
              <a:chOff x="-799" y="819"/>
              <a:chExt cx="3101" cy="2449"/>
            </a:xfrm>
            <a:solidFill>
              <a:schemeClr val="bg1"/>
            </a:solidFill>
          </p:grpSpPr>
          <p:sp>
            <p:nvSpPr>
              <p:cNvPr id="30" name="Freeform 325"/>
              <p:cNvSpPr>
                <a:spLocks noEditPoints="1"/>
              </p:cNvSpPr>
              <p:nvPr/>
            </p:nvSpPr>
            <p:spPr bwMode="auto">
              <a:xfrm>
                <a:off x="-799" y="819"/>
                <a:ext cx="3101" cy="2449"/>
              </a:xfrm>
              <a:custGeom>
                <a:avLst/>
                <a:gdLst>
                  <a:gd name="T0" fmla="*/ 1453 w 1638"/>
                  <a:gd name="T1" fmla="*/ 0 h 1293"/>
                  <a:gd name="T2" fmla="*/ 186 w 1638"/>
                  <a:gd name="T3" fmla="*/ 0 h 1293"/>
                  <a:gd name="T4" fmla="*/ 0 w 1638"/>
                  <a:gd name="T5" fmla="*/ 186 h 1293"/>
                  <a:gd name="T6" fmla="*/ 0 w 1638"/>
                  <a:gd name="T7" fmla="*/ 1107 h 1293"/>
                  <a:gd name="T8" fmla="*/ 186 w 1638"/>
                  <a:gd name="T9" fmla="*/ 1293 h 1293"/>
                  <a:gd name="T10" fmla="*/ 842 w 1638"/>
                  <a:gd name="T11" fmla="*/ 1293 h 1293"/>
                  <a:gd name="T12" fmla="*/ 874 w 1638"/>
                  <a:gd name="T13" fmla="*/ 1261 h 1293"/>
                  <a:gd name="T14" fmla="*/ 842 w 1638"/>
                  <a:gd name="T15" fmla="*/ 1229 h 1293"/>
                  <a:gd name="T16" fmla="*/ 186 w 1638"/>
                  <a:gd name="T17" fmla="*/ 1229 h 1293"/>
                  <a:gd name="T18" fmla="*/ 64 w 1638"/>
                  <a:gd name="T19" fmla="*/ 1107 h 1293"/>
                  <a:gd name="T20" fmla="*/ 64 w 1638"/>
                  <a:gd name="T21" fmla="*/ 186 h 1293"/>
                  <a:gd name="T22" fmla="*/ 186 w 1638"/>
                  <a:gd name="T23" fmla="*/ 64 h 1293"/>
                  <a:gd name="T24" fmla="*/ 1453 w 1638"/>
                  <a:gd name="T25" fmla="*/ 64 h 1293"/>
                  <a:gd name="T26" fmla="*/ 1574 w 1638"/>
                  <a:gd name="T27" fmla="*/ 186 h 1293"/>
                  <a:gd name="T28" fmla="*/ 1574 w 1638"/>
                  <a:gd name="T29" fmla="*/ 1107 h 1293"/>
                  <a:gd name="T30" fmla="*/ 1453 w 1638"/>
                  <a:gd name="T31" fmla="*/ 1229 h 1293"/>
                  <a:gd name="T32" fmla="*/ 1074 w 1638"/>
                  <a:gd name="T33" fmla="*/ 1229 h 1293"/>
                  <a:gd name="T34" fmla="*/ 1042 w 1638"/>
                  <a:gd name="T35" fmla="*/ 1261 h 1293"/>
                  <a:gd name="T36" fmla="*/ 1074 w 1638"/>
                  <a:gd name="T37" fmla="*/ 1293 h 1293"/>
                  <a:gd name="T38" fmla="*/ 1453 w 1638"/>
                  <a:gd name="T39" fmla="*/ 1293 h 1293"/>
                  <a:gd name="T40" fmla="*/ 1638 w 1638"/>
                  <a:gd name="T41" fmla="*/ 1107 h 1293"/>
                  <a:gd name="T42" fmla="*/ 1638 w 1638"/>
                  <a:gd name="T43" fmla="*/ 186 h 1293"/>
                  <a:gd name="T44" fmla="*/ 1453 w 1638"/>
                  <a:gd name="T45" fmla="*/ 0 h 1293"/>
                  <a:gd name="T46" fmla="*/ 1453 w 1638"/>
                  <a:gd name="T47" fmla="*/ 0 h 1293"/>
                  <a:gd name="T48" fmla="*/ 1453 w 1638"/>
                  <a:gd name="T49" fmla="*/ 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8" h="1293">
                    <a:moveTo>
                      <a:pt x="1453" y="0"/>
                    </a:moveTo>
                    <a:cubicBezTo>
                      <a:pt x="186" y="0"/>
                      <a:pt x="186" y="0"/>
                      <a:pt x="186" y="0"/>
                    </a:cubicBezTo>
                    <a:cubicBezTo>
                      <a:pt x="83" y="0"/>
                      <a:pt x="0" y="83"/>
                      <a:pt x="0" y="186"/>
                    </a:cubicBezTo>
                    <a:cubicBezTo>
                      <a:pt x="0" y="1107"/>
                      <a:pt x="0" y="1107"/>
                      <a:pt x="0" y="1107"/>
                    </a:cubicBezTo>
                    <a:cubicBezTo>
                      <a:pt x="0" y="1210"/>
                      <a:pt x="83" y="1293"/>
                      <a:pt x="186" y="1293"/>
                    </a:cubicBezTo>
                    <a:cubicBezTo>
                      <a:pt x="842" y="1293"/>
                      <a:pt x="842" y="1293"/>
                      <a:pt x="842" y="1293"/>
                    </a:cubicBezTo>
                    <a:cubicBezTo>
                      <a:pt x="859" y="1293"/>
                      <a:pt x="874" y="1278"/>
                      <a:pt x="874" y="1261"/>
                    </a:cubicBezTo>
                    <a:cubicBezTo>
                      <a:pt x="874" y="1243"/>
                      <a:pt x="859" y="1229"/>
                      <a:pt x="842" y="1229"/>
                    </a:cubicBezTo>
                    <a:cubicBezTo>
                      <a:pt x="186" y="1229"/>
                      <a:pt x="186" y="1229"/>
                      <a:pt x="186" y="1229"/>
                    </a:cubicBezTo>
                    <a:cubicBezTo>
                      <a:pt x="119" y="1229"/>
                      <a:pt x="64" y="1174"/>
                      <a:pt x="64" y="1107"/>
                    </a:cubicBezTo>
                    <a:cubicBezTo>
                      <a:pt x="64" y="186"/>
                      <a:pt x="64" y="186"/>
                      <a:pt x="64" y="186"/>
                    </a:cubicBezTo>
                    <a:cubicBezTo>
                      <a:pt x="64" y="119"/>
                      <a:pt x="119" y="64"/>
                      <a:pt x="186" y="64"/>
                    </a:cubicBezTo>
                    <a:cubicBezTo>
                      <a:pt x="1453" y="64"/>
                      <a:pt x="1453" y="64"/>
                      <a:pt x="1453" y="64"/>
                    </a:cubicBezTo>
                    <a:cubicBezTo>
                      <a:pt x="1520" y="64"/>
                      <a:pt x="1574" y="119"/>
                      <a:pt x="1574" y="186"/>
                    </a:cubicBezTo>
                    <a:cubicBezTo>
                      <a:pt x="1574" y="1107"/>
                      <a:pt x="1574" y="1107"/>
                      <a:pt x="1574" y="1107"/>
                    </a:cubicBezTo>
                    <a:cubicBezTo>
                      <a:pt x="1574" y="1174"/>
                      <a:pt x="1520" y="1229"/>
                      <a:pt x="1453" y="1229"/>
                    </a:cubicBezTo>
                    <a:cubicBezTo>
                      <a:pt x="1074" y="1229"/>
                      <a:pt x="1074" y="1229"/>
                      <a:pt x="1074" y="1229"/>
                    </a:cubicBezTo>
                    <a:cubicBezTo>
                      <a:pt x="1056" y="1229"/>
                      <a:pt x="1042" y="1243"/>
                      <a:pt x="1042" y="1261"/>
                    </a:cubicBezTo>
                    <a:cubicBezTo>
                      <a:pt x="1042" y="1278"/>
                      <a:pt x="1056" y="1293"/>
                      <a:pt x="1074" y="1293"/>
                    </a:cubicBezTo>
                    <a:cubicBezTo>
                      <a:pt x="1453" y="1293"/>
                      <a:pt x="1453" y="1293"/>
                      <a:pt x="1453" y="1293"/>
                    </a:cubicBezTo>
                    <a:cubicBezTo>
                      <a:pt x="1555" y="1293"/>
                      <a:pt x="1638" y="1210"/>
                      <a:pt x="1638" y="1107"/>
                    </a:cubicBezTo>
                    <a:cubicBezTo>
                      <a:pt x="1638" y="186"/>
                      <a:pt x="1638" y="186"/>
                      <a:pt x="1638" y="186"/>
                    </a:cubicBezTo>
                    <a:cubicBezTo>
                      <a:pt x="1638" y="83"/>
                      <a:pt x="1555" y="0"/>
                      <a:pt x="1453" y="0"/>
                    </a:cubicBezTo>
                    <a:close/>
                    <a:moveTo>
                      <a:pt x="1453" y="0"/>
                    </a:moveTo>
                    <a:cubicBezTo>
                      <a:pt x="1453" y="0"/>
                      <a:pt x="1453" y="0"/>
                      <a:pt x="14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26"/>
              <p:cNvSpPr>
                <a:spLocks noEditPoints="1"/>
              </p:cNvSpPr>
              <p:nvPr/>
            </p:nvSpPr>
            <p:spPr bwMode="auto">
              <a:xfrm>
                <a:off x="952" y="3147"/>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27"/>
              <p:cNvSpPr>
                <a:spLocks noEditPoints="1"/>
              </p:cNvSpPr>
              <p:nvPr/>
            </p:nvSpPr>
            <p:spPr bwMode="auto">
              <a:xfrm>
                <a:off x="195" y="1111"/>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8"/>
              <p:cNvSpPr>
                <a:spLocks noEditPoints="1"/>
              </p:cNvSpPr>
              <p:nvPr/>
            </p:nvSpPr>
            <p:spPr bwMode="auto">
              <a:xfrm>
                <a:off x="-508" y="1111"/>
                <a:ext cx="2520" cy="1866"/>
              </a:xfrm>
              <a:custGeom>
                <a:avLst/>
                <a:gdLst>
                  <a:gd name="T0" fmla="*/ 1299 w 1331"/>
                  <a:gd name="T1" fmla="*/ 0 h 985"/>
                  <a:gd name="T2" fmla="*/ 544 w 1331"/>
                  <a:gd name="T3" fmla="*/ 0 h 985"/>
                  <a:gd name="T4" fmla="*/ 512 w 1331"/>
                  <a:gd name="T5" fmla="*/ 32 h 985"/>
                  <a:gd name="T6" fmla="*/ 544 w 1331"/>
                  <a:gd name="T7" fmla="*/ 64 h 985"/>
                  <a:gd name="T8" fmla="*/ 1267 w 1331"/>
                  <a:gd name="T9" fmla="*/ 64 h 985"/>
                  <a:gd name="T10" fmla="*/ 1267 w 1331"/>
                  <a:gd name="T11" fmla="*/ 921 h 985"/>
                  <a:gd name="T12" fmla="*/ 64 w 1331"/>
                  <a:gd name="T13" fmla="*/ 921 h 985"/>
                  <a:gd name="T14" fmla="*/ 64 w 1331"/>
                  <a:gd name="T15" fmla="*/ 64 h 985"/>
                  <a:gd name="T16" fmla="*/ 252 w 1331"/>
                  <a:gd name="T17" fmla="*/ 64 h 985"/>
                  <a:gd name="T18" fmla="*/ 284 w 1331"/>
                  <a:gd name="T19" fmla="*/ 32 h 985"/>
                  <a:gd name="T20" fmla="*/ 252 w 1331"/>
                  <a:gd name="T21" fmla="*/ 0 h 985"/>
                  <a:gd name="T22" fmla="*/ 32 w 1331"/>
                  <a:gd name="T23" fmla="*/ 0 h 985"/>
                  <a:gd name="T24" fmla="*/ 0 w 1331"/>
                  <a:gd name="T25" fmla="*/ 32 h 985"/>
                  <a:gd name="T26" fmla="*/ 0 w 1331"/>
                  <a:gd name="T27" fmla="*/ 953 h 985"/>
                  <a:gd name="T28" fmla="*/ 32 w 1331"/>
                  <a:gd name="T29" fmla="*/ 985 h 985"/>
                  <a:gd name="T30" fmla="*/ 1299 w 1331"/>
                  <a:gd name="T31" fmla="*/ 985 h 985"/>
                  <a:gd name="T32" fmla="*/ 1331 w 1331"/>
                  <a:gd name="T33" fmla="*/ 953 h 985"/>
                  <a:gd name="T34" fmla="*/ 1331 w 1331"/>
                  <a:gd name="T35" fmla="*/ 32 h 985"/>
                  <a:gd name="T36" fmla="*/ 1299 w 1331"/>
                  <a:gd name="T37" fmla="*/ 0 h 985"/>
                  <a:gd name="T38" fmla="*/ 1299 w 1331"/>
                  <a:gd name="T39" fmla="*/ 0 h 985"/>
                  <a:gd name="T40" fmla="*/ 1299 w 1331"/>
                  <a:gd name="T41"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1" h="985">
                    <a:moveTo>
                      <a:pt x="1299" y="0"/>
                    </a:moveTo>
                    <a:cubicBezTo>
                      <a:pt x="544" y="0"/>
                      <a:pt x="544" y="0"/>
                      <a:pt x="544" y="0"/>
                    </a:cubicBezTo>
                    <a:cubicBezTo>
                      <a:pt x="526" y="0"/>
                      <a:pt x="512" y="14"/>
                      <a:pt x="512" y="32"/>
                    </a:cubicBezTo>
                    <a:cubicBezTo>
                      <a:pt x="512" y="49"/>
                      <a:pt x="526" y="64"/>
                      <a:pt x="544" y="64"/>
                    </a:cubicBezTo>
                    <a:cubicBezTo>
                      <a:pt x="1267" y="64"/>
                      <a:pt x="1267" y="64"/>
                      <a:pt x="1267" y="64"/>
                    </a:cubicBezTo>
                    <a:cubicBezTo>
                      <a:pt x="1267" y="921"/>
                      <a:pt x="1267" y="921"/>
                      <a:pt x="1267" y="921"/>
                    </a:cubicBezTo>
                    <a:cubicBezTo>
                      <a:pt x="64" y="921"/>
                      <a:pt x="64" y="921"/>
                      <a:pt x="64" y="921"/>
                    </a:cubicBezTo>
                    <a:cubicBezTo>
                      <a:pt x="64" y="64"/>
                      <a:pt x="64" y="64"/>
                      <a:pt x="64" y="64"/>
                    </a:cubicBezTo>
                    <a:cubicBezTo>
                      <a:pt x="252" y="64"/>
                      <a:pt x="252" y="64"/>
                      <a:pt x="252" y="64"/>
                    </a:cubicBezTo>
                    <a:cubicBezTo>
                      <a:pt x="270" y="64"/>
                      <a:pt x="284" y="49"/>
                      <a:pt x="284" y="32"/>
                    </a:cubicBezTo>
                    <a:cubicBezTo>
                      <a:pt x="284" y="14"/>
                      <a:pt x="270" y="0"/>
                      <a:pt x="252" y="0"/>
                    </a:cubicBezTo>
                    <a:cubicBezTo>
                      <a:pt x="32" y="0"/>
                      <a:pt x="32" y="0"/>
                      <a:pt x="32" y="0"/>
                    </a:cubicBezTo>
                    <a:cubicBezTo>
                      <a:pt x="14" y="0"/>
                      <a:pt x="0" y="14"/>
                      <a:pt x="0" y="32"/>
                    </a:cubicBezTo>
                    <a:cubicBezTo>
                      <a:pt x="0" y="953"/>
                      <a:pt x="0" y="953"/>
                      <a:pt x="0" y="953"/>
                    </a:cubicBezTo>
                    <a:cubicBezTo>
                      <a:pt x="0" y="971"/>
                      <a:pt x="14" y="985"/>
                      <a:pt x="32" y="985"/>
                    </a:cubicBezTo>
                    <a:cubicBezTo>
                      <a:pt x="1299" y="985"/>
                      <a:pt x="1299" y="985"/>
                      <a:pt x="1299" y="985"/>
                    </a:cubicBezTo>
                    <a:cubicBezTo>
                      <a:pt x="1316" y="985"/>
                      <a:pt x="1331" y="971"/>
                      <a:pt x="1331" y="953"/>
                    </a:cubicBezTo>
                    <a:cubicBezTo>
                      <a:pt x="1331" y="32"/>
                      <a:pt x="1331" y="32"/>
                      <a:pt x="1331" y="32"/>
                    </a:cubicBezTo>
                    <a:cubicBezTo>
                      <a:pt x="1331" y="14"/>
                      <a:pt x="1316" y="0"/>
                      <a:pt x="1299" y="0"/>
                    </a:cubicBezTo>
                    <a:close/>
                    <a:moveTo>
                      <a:pt x="1299" y="0"/>
                    </a:moveTo>
                    <a:cubicBezTo>
                      <a:pt x="1299" y="0"/>
                      <a:pt x="1299" y="0"/>
                      <a:pt x="12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9"/>
              <p:cNvSpPr>
                <a:spLocks noEditPoints="1"/>
              </p:cNvSpPr>
              <p:nvPr/>
            </p:nvSpPr>
            <p:spPr bwMode="auto">
              <a:xfrm>
                <a:off x="1119" y="1376"/>
                <a:ext cx="469" cy="727"/>
              </a:xfrm>
              <a:custGeom>
                <a:avLst/>
                <a:gdLst>
                  <a:gd name="T0" fmla="*/ 216 w 248"/>
                  <a:gd name="T1" fmla="*/ 0 h 384"/>
                  <a:gd name="T2" fmla="*/ 33 w 248"/>
                  <a:gd name="T3" fmla="*/ 0 h 384"/>
                  <a:gd name="T4" fmla="*/ 6 w 248"/>
                  <a:gd name="T5" fmla="*/ 16 h 384"/>
                  <a:gd name="T6" fmla="*/ 5 w 248"/>
                  <a:gd name="T7" fmla="*/ 48 h 384"/>
                  <a:gd name="T8" fmla="*/ 42 w 248"/>
                  <a:gd name="T9" fmla="*/ 116 h 384"/>
                  <a:gd name="T10" fmla="*/ 5 w 248"/>
                  <a:gd name="T11" fmla="*/ 184 h 384"/>
                  <a:gd name="T12" fmla="*/ 6 w 248"/>
                  <a:gd name="T13" fmla="*/ 215 h 384"/>
                  <a:gd name="T14" fmla="*/ 33 w 248"/>
                  <a:gd name="T15" fmla="*/ 231 h 384"/>
                  <a:gd name="T16" fmla="*/ 184 w 248"/>
                  <a:gd name="T17" fmla="*/ 231 h 384"/>
                  <a:gd name="T18" fmla="*/ 184 w 248"/>
                  <a:gd name="T19" fmla="*/ 352 h 384"/>
                  <a:gd name="T20" fmla="*/ 216 w 248"/>
                  <a:gd name="T21" fmla="*/ 384 h 384"/>
                  <a:gd name="T22" fmla="*/ 248 w 248"/>
                  <a:gd name="T23" fmla="*/ 352 h 384"/>
                  <a:gd name="T24" fmla="*/ 248 w 248"/>
                  <a:gd name="T25" fmla="*/ 32 h 384"/>
                  <a:gd name="T26" fmla="*/ 216 w 248"/>
                  <a:gd name="T27" fmla="*/ 0 h 384"/>
                  <a:gd name="T28" fmla="*/ 184 w 248"/>
                  <a:gd name="T29" fmla="*/ 96 h 384"/>
                  <a:gd name="T30" fmla="*/ 184 w 248"/>
                  <a:gd name="T31" fmla="*/ 167 h 384"/>
                  <a:gd name="T32" fmla="*/ 87 w 248"/>
                  <a:gd name="T33" fmla="*/ 167 h 384"/>
                  <a:gd name="T34" fmla="*/ 106 w 248"/>
                  <a:gd name="T35" fmla="*/ 131 h 384"/>
                  <a:gd name="T36" fmla="*/ 106 w 248"/>
                  <a:gd name="T37" fmla="*/ 100 h 384"/>
                  <a:gd name="T38" fmla="*/ 87 w 248"/>
                  <a:gd name="T39" fmla="*/ 64 h 384"/>
                  <a:gd name="T40" fmla="*/ 184 w 248"/>
                  <a:gd name="T41" fmla="*/ 64 h 384"/>
                  <a:gd name="T42" fmla="*/ 184 w 248"/>
                  <a:gd name="T43" fmla="*/ 96 h 384"/>
                  <a:gd name="T44" fmla="*/ 184 w 248"/>
                  <a:gd name="T45" fmla="*/ 96 h 384"/>
                  <a:gd name="T46" fmla="*/ 184 w 248"/>
                  <a:gd name="T47" fmla="*/ 9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8" h="384">
                    <a:moveTo>
                      <a:pt x="216" y="0"/>
                    </a:moveTo>
                    <a:cubicBezTo>
                      <a:pt x="33" y="0"/>
                      <a:pt x="33" y="0"/>
                      <a:pt x="33" y="0"/>
                    </a:cubicBezTo>
                    <a:cubicBezTo>
                      <a:pt x="22" y="0"/>
                      <a:pt x="12" y="6"/>
                      <a:pt x="6" y="16"/>
                    </a:cubicBezTo>
                    <a:cubicBezTo>
                      <a:pt x="0" y="26"/>
                      <a:pt x="0" y="38"/>
                      <a:pt x="5" y="48"/>
                    </a:cubicBezTo>
                    <a:cubicBezTo>
                      <a:pt x="42" y="116"/>
                      <a:pt x="42" y="116"/>
                      <a:pt x="42" y="116"/>
                    </a:cubicBezTo>
                    <a:cubicBezTo>
                      <a:pt x="5" y="184"/>
                      <a:pt x="5" y="184"/>
                      <a:pt x="5" y="184"/>
                    </a:cubicBezTo>
                    <a:cubicBezTo>
                      <a:pt x="0" y="194"/>
                      <a:pt x="0" y="206"/>
                      <a:pt x="6" y="215"/>
                    </a:cubicBezTo>
                    <a:cubicBezTo>
                      <a:pt x="12" y="225"/>
                      <a:pt x="22" y="231"/>
                      <a:pt x="33" y="231"/>
                    </a:cubicBezTo>
                    <a:cubicBezTo>
                      <a:pt x="184" y="231"/>
                      <a:pt x="184" y="231"/>
                      <a:pt x="184" y="231"/>
                    </a:cubicBezTo>
                    <a:cubicBezTo>
                      <a:pt x="184" y="352"/>
                      <a:pt x="184" y="352"/>
                      <a:pt x="184" y="352"/>
                    </a:cubicBezTo>
                    <a:cubicBezTo>
                      <a:pt x="184" y="370"/>
                      <a:pt x="198" y="384"/>
                      <a:pt x="216" y="384"/>
                    </a:cubicBezTo>
                    <a:cubicBezTo>
                      <a:pt x="233" y="384"/>
                      <a:pt x="248" y="370"/>
                      <a:pt x="248" y="352"/>
                    </a:cubicBezTo>
                    <a:cubicBezTo>
                      <a:pt x="248" y="32"/>
                      <a:pt x="248" y="32"/>
                      <a:pt x="248" y="32"/>
                    </a:cubicBezTo>
                    <a:cubicBezTo>
                      <a:pt x="248" y="15"/>
                      <a:pt x="233" y="0"/>
                      <a:pt x="216" y="0"/>
                    </a:cubicBezTo>
                    <a:close/>
                    <a:moveTo>
                      <a:pt x="184" y="96"/>
                    </a:moveTo>
                    <a:cubicBezTo>
                      <a:pt x="184" y="167"/>
                      <a:pt x="184" y="167"/>
                      <a:pt x="184" y="167"/>
                    </a:cubicBezTo>
                    <a:cubicBezTo>
                      <a:pt x="87" y="167"/>
                      <a:pt x="87" y="167"/>
                      <a:pt x="87" y="167"/>
                    </a:cubicBezTo>
                    <a:cubicBezTo>
                      <a:pt x="106" y="131"/>
                      <a:pt x="106" y="131"/>
                      <a:pt x="106" y="131"/>
                    </a:cubicBezTo>
                    <a:cubicBezTo>
                      <a:pt x="111" y="121"/>
                      <a:pt x="111" y="110"/>
                      <a:pt x="106" y="100"/>
                    </a:cubicBezTo>
                    <a:cubicBezTo>
                      <a:pt x="87" y="64"/>
                      <a:pt x="87" y="64"/>
                      <a:pt x="87" y="64"/>
                    </a:cubicBezTo>
                    <a:cubicBezTo>
                      <a:pt x="184" y="64"/>
                      <a:pt x="184" y="64"/>
                      <a:pt x="184" y="64"/>
                    </a:cubicBezTo>
                    <a:lnTo>
                      <a:pt x="184" y="96"/>
                    </a:lnTo>
                    <a:close/>
                    <a:moveTo>
                      <a:pt x="184" y="96"/>
                    </a:moveTo>
                    <a:cubicBezTo>
                      <a:pt x="184" y="96"/>
                      <a:pt x="184" y="96"/>
                      <a:pt x="184" y="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0"/>
              <p:cNvSpPr>
                <a:spLocks noEditPoints="1"/>
              </p:cNvSpPr>
              <p:nvPr/>
            </p:nvSpPr>
            <p:spPr bwMode="auto">
              <a:xfrm>
                <a:off x="1200"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1"/>
              <p:cNvSpPr>
                <a:spLocks noEditPoints="1"/>
              </p:cNvSpPr>
              <p:nvPr/>
            </p:nvSpPr>
            <p:spPr bwMode="auto">
              <a:xfrm>
                <a:off x="182" y="1982"/>
                <a:ext cx="181"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32"/>
              <p:cNvSpPr>
                <a:spLocks noEditPoints="1"/>
              </p:cNvSpPr>
              <p:nvPr/>
            </p:nvSpPr>
            <p:spPr bwMode="auto">
              <a:xfrm>
                <a:off x="946"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33"/>
              <p:cNvSpPr>
                <a:spLocks noEditPoints="1"/>
              </p:cNvSpPr>
              <p:nvPr/>
            </p:nvSpPr>
            <p:spPr bwMode="auto">
              <a:xfrm>
                <a:off x="-169" y="2382"/>
                <a:ext cx="178" cy="172"/>
              </a:xfrm>
              <a:custGeom>
                <a:avLst/>
                <a:gdLst>
                  <a:gd name="T0" fmla="*/ 79 w 94"/>
                  <a:gd name="T1" fmla="*/ 35 h 91"/>
                  <a:gd name="T2" fmla="*/ 62 w 94"/>
                  <a:gd name="T3" fmla="*/ 17 h 91"/>
                  <a:gd name="T4" fmla="*/ 17 w 94"/>
                  <a:gd name="T5" fmla="*/ 11 h 91"/>
                  <a:gd name="T6" fmla="*/ 11 w 94"/>
                  <a:gd name="T7" fmla="*/ 56 h 91"/>
                  <a:gd name="T8" fmla="*/ 38 w 94"/>
                  <a:gd name="T9" fmla="*/ 84 h 91"/>
                  <a:gd name="T10" fmla="*/ 58 w 94"/>
                  <a:gd name="T11" fmla="*/ 91 h 91"/>
                  <a:gd name="T12" fmla="*/ 83 w 94"/>
                  <a:gd name="T13" fmla="*/ 80 h 91"/>
                  <a:gd name="T14" fmla="*/ 79 w 94"/>
                  <a:gd name="T15" fmla="*/ 35 h 91"/>
                  <a:gd name="T16" fmla="*/ 79 w 94"/>
                  <a:gd name="T17" fmla="*/ 35 h 91"/>
                  <a:gd name="T18" fmla="*/ 79 w 94"/>
                  <a:gd name="T19" fmla="*/ 3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1">
                    <a:moveTo>
                      <a:pt x="79" y="35"/>
                    </a:moveTo>
                    <a:cubicBezTo>
                      <a:pt x="72" y="30"/>
                      <a:pt x="67" y="24"/>
                      <a:pt x="62" y="17"/>
                    </a:cubicBezTo>
                    <a:cubicBezTo>
                      <a:pt x="51" y="3"/>
                      <a:pt x="31" y="0"/>
                      <a:pt x="17" y="11"/>
                    </a:cubicBezTo>
                    <a:cubicBezTo>
                      <a:pt x="3" y="21"/>
                      <a:pt x="0" y="41"/>
                      <a:pt x="11" y="56"/>
                    </a:cubicBezTo>
                    <a:cubicBezTo>
                      <a:pt x="19" y="66"/>
                      <a:pt x="28" y="76"/>
                      <a:pt x="38" y="84"/>
                    </a:cubicBezTo>
                    <a:cubicBezTo>
                      <a:pt x="44" y="89"/>
                      <a:pt x="51" y="91"/>
                      <a:pt x="58" y="91"/>
                    </a:cubicBezTo>
                    <a:cubicBezTo>
                      <a:pt x="67" y="91"/>
                      <a:pt x="77" y="87"/>
                      <a:pt x="83" y="80"/>
                    </a:cubicBezTo>
                    <a:cubicBezTo>
                      <a:pt x="94" y="66"/>
                      <a:pt x="92" y="46"/>
                      <a:pt x="79" y="35"/>
                    </a:cubicBezTo>
                    <a:close/>
                    <a:moveTo>
                      <a:pt x="79" y="35"/>
                    </a:moveTo>
                    <a:cubicBezTo>
                      <a:pt x="79" y="35"/>
                      <a:pt x="79" y="35"/>
                      <a:pt x="79"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34"/>
              <p:cNvSpPr>
                <a:spLocks noEditPoints="1"/>
              </p:cNvSpPr>
              <p:nvPr/>
            </p:nvSpPr>
            <p:spPr bwMode="auto">
              <a:xfrm>
                <a:off x="-76" y="1982"/>
                <a:ext cx="191" cy="148"/>
              </a:xfrm>
              <a:custGeom>
                <a:avLst/>
                <a:gdLst>
                  <a:gd name="T0" fmla="*/ 98 w 101"/>
                  <a:gd name="T1" fmla="*/ 29 h 78"/>
                  <a:gd name="T2" fmla="*/ 59 w 101"/>
                  <a:gd name="T3" fmla="*/ 4 h 78"/>
                  <a:gd name="T4" fmla="*/ 22 w 101"/>
                  <a:gd name="T5" fmla="*/ 17 h 78"/>
                  <a:gd name="T6" fmla="*/ 7 w 101"/>
                  <a:gd name="T7" fmla="*/ 60 h 78"/>
                  <a:gd name="T8" fmla="*/ 36 w 101"/>
                  <a:gd name="T9" fmla="*/ 78 h 78"/>
                  <a:gd name="T10" fmla="*/ 50 w 101"/>
                  <a:gd name="T11" fmla="*/ 75 h 78"/>
                  <a:gd name="T12" fmla="*/ 73 w 101"/>
                  <a:gd name="T13" fmla="*/ 67 h 78"/>
                  <a:gd name="T14" fmla="*/ 98 w 101"/>
                  <a:gd name="T15" fmla="*/ 29 h 78"/>
                  <a:gd name="T16" fmla="*/ 98 w 101"/>
                  <a:gd name="T17" fmla="*/ 29 h 78"/>
                  <a:gd name="T18" fmla="*/ 98 w 101"/>
                  <a:gd name="T19" fmla="*/ 2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78">
                    <a:moveTo>
                      <a:pt x="98" y="29"/>
                    </a:moveTo>
                    <a:cubicBezTo>
                      <a:pt x="94" y="11"/>
                      <a:pt x="77" y="0"/>
                      <a:pt x="59" y="4"/>
                    </a:cubicBezTo>
                    <a:cubicBezTo>
                      <a:pt x="47" y="7"/>
                      <a:pt x="34" y="11"/>
                      <a:pt x="22" y="17"/>
                    </a:cubicBezTo>
                    <a:cubicBezTo>
                      <a:pt x="6" y="25"/>
                      <a:pt x="0" y="44"/>
                      <a:pt x="7" y="60"/>
                    </a:cubicBezTo>
                    <a:cubicBezTo>
                      <a:pt x="13" y="71"/>
                      <a:pt x="24" y="78"/>
                      <a:pt x="36" y="78"/>
                    </a:cubicBezTo>
                    <a:cubicBezTo>
                      <a:pt x="41" y="78"/>
                      <a:pt x="46" y="77"/>
                      <a:pt x="50" y="75"/>
                    </a:cubicBezTo>
                    <a:cubicBezTo>
                      <a:pt x="57" y="71"/>
                      <a:pt x="65" y="68"/>
                      <a:pt x="73" y="67"/>
                    </a:cubicBezTo>
                    <a:cubicBezTo>
                      <a:pt x="90" y="63"/>
                      <a:pt x="101" y="46"/>
                      <a:pt x="98" y="29"/>
                    </a:cubicBezTo>
                    <a:close/>
                    <a:moveTo>
                      <a:pt x="98" y="29"/>
                    </a:moveTo>
                    <a:cubicBezTo>
                      <a:pt x="98" y="29"/>
                      <a:pt x="98" y="29"/>
                      <a:pt x="98"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5"/>
              <p:cNvSpPr>
                <a:spLocks noEditPoints="1"/>
              </p:cNvSpPr>
              <p:nvPr/>
            </p:nvSpPr>
            <p:spPr bwMode="auto">
              <a:xfrm>
                <a:off x="60" y="249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36"/>
              <p:cNvSpPr>
                <a:spLocks noEditPoints="1"/>
              </p:cNvSpPr>
              <p:nvPr/>
            </p:nvSpPr>
            <p:spPr bwMode="auto">
              <a:xfrm>
                <a:off x="-214" y="2141"/>
                <a:ext cx="148" cy="188"/>
              </a:xfrm>
              <a:custGeom>
                <a:avLst/>
                <a:gdLst>
                  <a:gd name="T0" fmla="*/ 53 w 78"/>
                  <a:gd name="T1" fmla="*/ 6 h 99"/>
                  <a:gd name="T2" fmla="*/ 12 w 78"/>
                  <a:gd name="T3" fmla="*/ 25 h 99"/>
                  <a:gd name="T4" fmla="*/ 3 w 78"/>
                  <a:gd name="T5" fmla="*/ 63 h 99"/>
                  <a:gd name="T6" fmla="*/ 31 w 78"/>
                  <a:gd name="T7" fmla="*/ 99 h 99"/>
                  <a:gd name="T8" fmla="*/ 34 w 78"/>
                  <a:gd name="T9" fmla="*/ 99 h 99"/>
                  <a:gd name="T10" fmla="*/ 66 w 78"/>
                  <a:gd name="T11" fmla="*/ 71 h 99"/>
                  <a:gd name="T12" fmla="*/ 72 w 78"/>
                  <a:gd name="T13" fmla="*/ 47 h 99"/>
                  <a:gd name="T14" fmla="*/ 53 w 78"/>
                  <a:gd name="T15" fmla="*/ 6 h 99"/>
                  <a:gd name="T16" fmla="*/ 53 w 78"/>
                  <a:gd name="T17" fmla="*/ 6 h 99"/>
                  <a:gd name="T18" fmla="*/ 53 w 78"/>
                  <a:gd name="T19"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99">
                    <a:moveTo>
                      <a:pt x="53" y="6"/>
                    </a:moveTo>
                    <a:cubicBezTo>
                      <a:pt x="36" y="0"/>
                      <a:pt x="18" y="8"/>
                      <a:pt x="12" y="25"/>
                    </a:cubicBezTo>
                    <a:cubicBezTo>
                      <a:pt x="7" y="37"/>
                      <a:pt x="4" y="50"/>
                      <a:pt x="3" y="63"/>
                    </a:cubicBezTo>
                    <a:cubicBezTo>
                      <a:pt x="0" y="81"/>
                      <a:pt x="13" y="97"/>
                      <a:pt x="31" y="99"/>
                    </a:cubicBezTo>
                    <a:cubicBezTo>
                      <a:pt x="32" y="99"/>
                      <a:pt x="33" y="99"/>
                      <a:pt x="34" y="99"/>
                    </a:cubicBezTo>
                    <a:cubicBezTo>
                      <a:pt x="50" y="99"/>
                      <a:pt x="64" y="87"/>
                      <a:pt x="66" y="71"/>
                    </a:cubicBezTo>
                    <a:cubicBezTo>
                      <a:pt x="67" y="63"/>
                      <a:pt x="69" y="55"/>
                      <a:pt x="72" y="47"/>
                    </a:cubicBezTo>
                    <a:cubicBezTo>
                      <a:pt x="78" y="30"/>
                      <a:pt x="70" y="12"/>
                      <a:pt x="53" y="6"/>
                    </a:cubicBezTo>
                    <a:close/>
                    <a:moveTo>
                      <a:pt x="53" y="6"/>
                    </a:moveTo>
                    <a:cubicBezTo>
                      <a:pt x="53" y="6"/>
                      <a:pt x="53" y="6"/>
                      <a:pt x="5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7"/>
              <p:cNvSpPr>
                <a:spLocks noEditPoints="1"/>
              </p:cNvSpPr>
              <p:nvPr/>
            </p:nvSpPr>
            <p:spPr bwMode="auto">
              <a:xfrm>
                <a:off x="316" y="249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38"/>
              <p:cNvSpPr>
                <a:spLocks noEditPoints="1"/>
              </p:cNvSpPr>
              <p:nvPr/>
            </p:nvSpPr>
            <p:spPr bwMode="auto">
              <a:xfrm>
                <a:off x="691"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39"/>
              <p:cNvSpPr>
                <a:spLocks noEditPoints="1"/>
              </p:cNvSpPr>
              <p:nvPr/>
            </p:nvSpPr>
            <p:spPr bwMode="auto">
              <a:xfrm>
                <a:off x="825" y="2492"/>
                <a:ext cx="154" cy="121"/>
              </a:xfrm>
              <a:custGeom>
                <a:avLst/>
                <a:gdLst>
                  <a:gd name="T0" fmla="*/ 49 w 81"/>
                  <a:gd name="T1" fmla="*/ 0 h 64"/>
                  <a:gd name="T2" fmla="*/ 32 w 81"/>
                  <a:gd name="T3" fmla="*/ 0 h 64"/>
                  <a:gd name="T4" fmla="*/ 0 w 81"/>
                  <a:gd name="T5" fmla="*/ 32 h 64"/>
                  <a:gd name="T6" fmla="*/ 32 w 81"/>
                  <a:gd name="T7" fmla="*/ 64 h 64"/>
                  <a:gd name="T8" fmla="*/ 49 w 81"/>
                  <a:gd name="T9" fmla="*/ 64 h 64"/>
                  <a:gd name="T10" fmla="*/ 81 w 81"/>
                  <a:gd name="T11" fmla="*/ 32 h 64"/>
                  <a:gd name="T12" fmla="*/ 49 w 81"/>
                  <a:gd name="T13" fmla="*/ 0 h 64"/>
                  <a:gd name="T14" fmla="*/ 49 w 81"/>
                  <a:gd name="T15" fmla="*/ 0 h 64"/>
                  <a:gd name="T16" fmla="*/ 49 w 8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64">
                    <a:moveTo>
                      <a:pt x="49" y="0"/>
                    </a:moveTo>
                    <a:cubicBezTo>
                      <a:pt x="32" y="0"/>
                      <a:pt x="32" y="0"/>
                      <a:pt x="32" y="0"/>
                    </a:cubicBezTo>
                    <a:cubicBezTo>
                      <a:pt x="14" y="0"/>
                      <a:pt x="0" y="15"/>
                      <a:pt x="0" y="32"/>
                    </a:cubicBezTo>
                    <a:cubicBezTo>
                      <a:pt x="0" y="50"/>
                      <a:pt x="14" y="64"/>
                      <a:pt x="32" y="64"/>
                    </a:cubicBezTo>
                    <a:cubicBezTo>
                      <a:pt x="49" y="64"/>
                      <a:pt x="49" y="64"/>
                      <a:pt x="49" y="64"/>
                    </a:cubicBezTo>
                    <a:cubicBezTo>
                      <a:pt x="67" y="64"/>
                      <a:pt x="81" y="50"/>
                      <a:pt x="81" y="32"/>
                    </a:cubicBezTo>
                    <a:cubicBezTo>
                      <a:pt x="81" y="15"/>
                      <a:pt x="67" y="0"/>
                      <a:pt x="49" y="0"/>
                    </a:cubicBezTo>
                    <a:close/>
                    <a:moveTo>
                      <a:pt x="49" y="0"/>
                    </a:moveTo>
                    <a:cubicBezTo>
                      <a:pt x="49" y="0"/>
                      <a:pt x="49"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40"/>
              <p:cNvSpPr>
                <a:spLocks noEditPoints="1"/>
              </p:cNvSpPr>
              <p:nvPr/>
            </p:nvSpPr>
            <p:spPr bwMode="auto">
              <a:xfrm>
                <a:off x="437"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41"/>
              <p:cNvSpPr>
                <a:spLocks noEditPoints="1"/>
              </p:cNvSpPr>
              <p:nvPr/>
            </p:nvSpPr>
            <p:spPr bwMode="auto">
              <a:xfrm>
                <a:off x="570" y="2492"/>
                <a:ext cx="181"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42"/>
              <p:cNvSpPr>
                <a:spLocks noEditPoints="1"/>
              </p:cNvSpPr>
              <p:nvPr/>
            </p:nvSpPr>
            <p:spPr bwMode="auto">
              <a:xfrm>
                <a:off x="1052" y="2370"/>
                <a:ext cx="364" cy="364"/>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28 h 192"/>
                  <a:gd name="T12" fmla="*/ 64 w 192"/>
                  <a:gd name="T13" fmla="*/ 96 h 192"/>
                  <a:gd name="T14" fmla="*/ 96 w 192"/>
                  <a:gd name="T15" fmla="*/ 64 h 192"/>
                  <a:gd name="T16" fmla="*/ 128 w 192"/>
                  <a:gd name="T17" fmla="*/ 96 h 192"/>
                  <a:gd name="T18" fmla="*/ 96 w 192"/>
                  <a:gd name="T19" fmla="*/ 128 h 192"/>
                  <a:gd name="T20" fmla="*/ 96 w 192"/>
                  <a:gd name="T21" fmla="*/ 128 h 192"/>
                  <a:gd name="T22" fmla="*/ 96 w 192"/>
                  <a:gd name="T23" fmla="*/ 12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28"/>
                    </a:moveTo>
                    <a:cubicBezTo>
                      <a:pt x="78" y="128"/>
                      <a:pt x="64" y="114"/>
                      <a:pt x="64" y="96"/>
                    </a:cubicBezTo>
                    <a:cubicBezTo>
                      <a:pt x="64" y="79"/>
                      <a:pt x="78" y="64"/>
                      <a:pt x="96" y="64"/>
                    </a:cubicBezTo>
                    <a:cubicBezTo>
                      <a:pt x="113" y="64"/>
                      <a:pt x="128" y="79"/>
                      <a:pt x="128" y="96"/>
                    </a:cubicBezTo>
                    <a:cubicBezTo>
                      <a:pt x="128" y="114"/>
                      <a:pt x="113" y="128"/>
                      <a:pt x="96" y="128"/>
                    </a:cubicBezTo>
                    <a:close/>
                    <a:moveTo>
                      <a:pt x="96" y="128"/>
                    </a:moveTo>
                    <a:cubicBezTo>
                      <a:pt x="96" y="128"/>
                      <a:pt x="96" y="128"/>
                      <a:pt x="96"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 name="Group 6"/>
          <p:cNvGrpSpPr/>
          <p:nvPr/>
        </p:nvGrpSpPr>
        <p:grpSpPr>
          <a:xfrm>
            <a:off x="4029003" y="2134521"/>
            <a:ext cx="1151733" cy="1152760"/>
            <a:chOff x="3631453" y="3236259"/>
            <a:chExt cx="1737360" cy="1737360"/>
          </a:xfrm>
        </p:grpSpPr>
        <p:sp>
          <p:nvSpPr>
            <p:cNvPr id="78" name="Oval 77"/>
            <p:cNvSpPr>
              <a:spLocks noChangeAspect="1"/>
            </p:cNvSpPr>
            <p:nvPr/>
          </p:nvSpPr>
          <p:spPr>
            <a:xfrm>
              <a:off x="3631453" y="3236259"/>
              <a:ext cx="1737360" cy="1737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86"/>
            <p:cNvGrpSpPr>
              <a:grpSpLocks noChangeAspect="1"/>
            </p:cNvGrpSpPr>
            <p:nvPr/>
          </p:nvGrpSpPr>
          <p:grpSpPr bwMode="auto">
            <a:xfrm>
              <a:off x="4134373" y="3739179"/>
              <a:ext cx="731520" cy="731520"/>
              <a:chOff x="1968" y="1145"/>
              <a:chExt cx="3101" cy="3101"/>
            </a:xfrm>
            <a:solidFill>
              <a:schemeClr val="bg1"/>
            </a:solidFill>
          </p:grpSpPr>
          <p:sp>
            <p:nvSpPr>
              <p:cNvPr id="59" name="Freeform 87"/>
              <p:cNvSpPr>
                <a:spLocks noEditPoints="1"/>
              </p:cNvSpPr>
              <p:nvPr/>
            </p:nvSpPr>
            <p:spPr bwMode="auto">
              <a:xfrm>
                <a:off x="1968" y="1145"/>
                <a:ext cx="2448" cy="1617"/>
              </a:xfrm>
              <a:custGeom>
                <a:avLst/>
                <a:gdLst>
                  <a:gd name="T0" fmla="*/ 1133 w 1293"/>
                  <a:gd name="T1" fmla="*/ 128 h 854"/>
                  <a:gd name="T2" fmla="*/ 953 w 1293"/>
                  <a:gd name="T3" fmla="*/ 128 h 854"/>
                  <a:gd name="T4" fmla="*/ 953 w 1293"/>
                  <a:gd name="T5" fmla="*/ 96 h 854"/>
                  <a:gd name="T6" fmla="*/ 857 w 1293"/>
                  <a:gd name="T7" fmla="*/ 0 h 854"/>
                  <a:gd name="T8" fmla="*/ 761 w 1293"/>
                  <a:gd name="T9" fmla="*/ 96 h 854"/>
                  <a:gd name="T10" fmla="*/ 761 w 1293"/>
                  <a:gd name="T11" fmla="*/ 128 h 854"/>
                  <a:gd name="T12" fmla="*/ 492 w 1293"/>
                  <a:gd name="T13" fmla="*/ 128 h 854"/>
                  <a:gd name="T14" fmla="*/ 492 w 1293"/>
                  <a:gd name="T15" fmla="*/ 96 h 854"/>
                  <a:gd name="T16" fmla="*/ 396 w 1293"/>
                  <a:gd name="T17" fmla="*/ 0 h 854"/>
                  <a:gd name="T18" fmla="*/ 300 w 1293"/>
                  <a:gd name="T19" fmla="*/ 96 h 854"/>
                  <a:gd name="T20" fmla="*/ 300 w 1293"/>
                  <a:gd name="T21" fmla="*/ 128 h 854"/>
                  <a:gd name="T22" fmla="*/ 160 w 1293"/>
                  <a:gd name="T23" fmla="*/ 128 h 854"/>
                  <a:gd name="T24" fmla="*/ 0 w 1293"/>
                  <a:gd name="T25" fmla="*/ 288 h 854"/>
                  <a:gd name="T26" fmla="*/ 0 w 1293"/>
                  <a:gd name="T27" fmla="*/ 822 h 854"/>
                  <a:gd name="T28" fmla="*/ 32 w 1293"/>
                  <a:gd name="T29" fmla="*/ 854 h 854"/>
                  <a:gd name="T30" fmla="*/ 64 w 1293"/>
                  <a:gd name="T31" fmla="*/ 822 h 854"/>
                  <a:gd name="T32" fmla="*/ 64 w 1293"/>
                  <a:gd name="T33" fmla="*/ 288 h 854"/>
                  <a:gd name="T34" fmla="*/ 160 w 1293"/>
                  <a:gd name="T35" fmla="*/ 192 h 854"/>
                  <a:gd name="T36" fmla="*/ 427 w 1293"/>
                  <a:gd name="T37" fmla="*/ 192 h 854"/>
                  <a:gd name="T38" fmla="*/ 396 w 1293"/>
                  <a:gd name="T39" fmla="*/ 216 h 854"/>
                  <a:gd name="T40" fmla="*/ 364 w 1293"/>
                  <a:gd name="T41" fmla="*/ 248 h 854"/>
                  <a:gd name="T42" fmla="*/ 396 w 1293"/>
                  <a:gd name="T43" fmla="*/ 280 h 854"/>
                  <a:gd name="T44" fmla="*/ 491 w 1293"/>
                  <a:gd name="T45" fmla="*/ 192 h 854"/>
                  <a:gd name="T46" fmla="*/ 888 w 1293"/>
                  <a:gd name="T47" fmla="*/ 192 h 854"/>
                  <a:gd name="T48" fmla="*/ 857 w 1293"/>
                  <a:gd name="T49" fmla="*/ 216 h 854"/>
                  <a:gd name="T50" fmla="*/ 825 w 1293"/>
                  <a:gd name="T51" fmla="*/ 248 h 854"/>
                  <a:gd name="T52" fmla="*/ 857 w 1293"/>
                  <a:gd name="T53" fmla="*/ 280 h 854"/>
                  <a:gd name="T54" fmla="*/ 952 w 1293"/>
                  <a:gd name="T55" fmla="*/ 192 h 854"/>
                  <a:gd name="T56" fmla="*/ 1133 w 1293"/>
                  <a:gd name="T57" fmla="*/ 192 h 854"/>
                  <a:gd name="T58" fmla="*/ 1229 w 1293"/>
                  <a:gd name="T59" fmla="*/ 288 h 854"/>
                  <a:gd name="T60" fmla="*/ 1229 w 1293"/>
                  <a:gd name="T61" fmla="*/ 361 h 854"/>
                  <a:gd name="T62" fmla="*/ 1261 w 1293"/>
                  <a:gd name="T63" fmla="*/ 393 h 854"/>
                  <a:gd name="T64" fmla="*/ 1293 w 1293"/>
                  <a:gd name="T65" fmla="*/ 361 h 854"/>
                  <a:gd name="T66" fmla="*/ 1293 w 1293"/>
                  <a:gd name="T67" fmla="*/ 288 h 854"/>
                  <a:gd name="T68" fmla="*/ 1133 w 1293"/>
                  <a:gd name="T69" fmla="*/ 128 h 854"/>
                  <a:gd name="T70" fmla="*/ 428 w 1293"/>
                  <a:gd name="T71" fmla="*/ 128 h 854"/>
                  <a:gd name="T72" fmla="*/ 364 w 1293"/>
                  <a:gd name="T73" fmla="*/ 128 h 854"/>
                  <a:gd name="T74" fmla="*/ 364 w 1293"/>
                  <a:gd name="T75" fmla="*/ 96 h 854"/>
                  <a:gd name="T76" fmla="*/ 396 w 1293"/>
                  <a:gd name="T77" fmla="*/ 64 h 854"/>
                  <a:gd name="T78" fmla="*/ 428 w 1293"/>
                  <a:gd name="T79" fmla="*/ 96 h 854"/>
                  <a:gd name="T80" fmla="*/ 428 w 1293"/>
                  <a:gd name="T81" fmla="*/ 128 h 854"/>
                  <a:gd name="T82" fmla="*/ 889 w 1293"/>
                  <a:gd name="T83" fmla="*/ 128 h 854"/>
                  <a:gd name="T84" fmla="*/ 825 w 1293"/>
                  <a:gd name="T85" fmla="*/ 128 h 854"/>
                  <a:gd name="T86" fmla="*/ 825 w 1293"/>
                  <a:gd name="T87" fmla="*/ 96 h 854"/>
                  <a:gd name="T88" fmla="*/ 857 w 1293"/>
                  <a:gd name="T89" fmla="*/ 64 h 854"/>
                  <a:gd name="T90" fmla="*/ 889 w 1293"/>
                  <a:gd name="T91" fmla="*/ 96 h 854"/>
                  <a:gd name="T92" fmla="*/ 889 w 1293"/>
                  <a:gd name="T93" fmla="*/ 128 h 854"/>
                  <a:gd name="T94" fmla="*/ 889 w 1293"/>
                  <a:gd name="T95" fmla="*/ 128 h 854"/>
                  <a:gd name="T96" fmla="*/ 889 w 1293"/>
                  <a:gd name="T97" fmla="*/ 12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3" h="854">
                    <a:moveTo>
                      <a:pt x="1133" y="128"/>
                    </a:moveTo>
                    <a:cubicBezTo>
                      <a:pt x="953" y="128"/>
                      <a:pt x="953" y="128"/>
                      <a:pt x="953" y="128"/>
                    </a:cubicBezTo>
                    <a:cubicBezTo>
                      <a:pt x="953" y="96"/>
                      <a:pt x="953" y="96"/>
                      <a:pt x="953" y="96"/>
                    </a:cubicBezTo>
                    <a:cubicBezTo>
                      <a:pt x="953" y="43"/>
                      <a:pt x="909" y="0"/>
                      <a:pt x="857" y="0"/>
                    </a:cubicBezTo>
                    <a:cubicBezTo>
                      <a:pt x="804" y="0"/>
                      <a:pt x="761" y="43"/>
                      <a:pt x="761" y="96"/>
                    </a:cubicBezTo>
                    <a:cubicBezTo>
                      <a:pt x="761" y="128"/>
                      <a:pt x="761" y="128"/>
                      <a:pt x="761" y="128"/>
                    </a:cubicBezTo>
                    <a:cubicBezTo>
                      <a:pt x="492" y="128"/>
                      <a:pt x="492" y="128"/>
                      <a:pt x="492" y="128"/>
                    </a:cubicBezTo>
                    <a:cubicBezTo>
                      <a:pt x="492" y="96"/>
                      <a:pt x="492" y="96"/>
                      <a:pt x="492" y="96"/>
                    </a:cubicBezTo>
                    <a:cubicBezTo>
                      <a:pt x="492" y="43"/>
                      <a:pt x="449" y="0"/>
                      <a:pt x="396" y="0"/>
                    </a:cubicBezTo>
                    <a:cubicBezTo>
                      <a:pt x="343" y="0"/>
                      <a:pt x="300" y="43"/>
                      <a:pt x="300" y="96"/>
                    </a:cubicBezTo>
                    <a:cubicBezTo>
                      <a:pt x="300" y="128"/>
                      <a:pt x="300" y="128"/>
                      <a:pt x="300" y="128"/>
                    </a:cubicBezTo>
                    <a:cubicBezTo>
                      <a:pt x="160" y="128"/>
                      <a:pt x="160" y="128"/>
                      <a:pt x="160" y="128"/>
                    </a:cubicBezTo>
                    <a:cubicBezTo>
                      <a:pt x="72" y="128"/>
                      <a:pt x="0" y="200"/>
                      <a:pt x="0" y="288"/>
                    </a:cubicBezTo>
                    <a:cubicBezTo>
                      <a:pt x="0" y="822"/>
                      <a:pt x="0" y="822"/>
                      <a:pt x="0" y="822"/>
                    </a:cubicBezTo>
                    <a:cubicBezTo>
                      <a:pt x="0" y="840"/>
                      <a:pt x="14" y="854"/>
                      <a:pt x="32" y="854"/>
                    </a:cubicBezTo>
                    <a:cubicBezTo>
                      <a:pt x="50" y="854"/>
                      <a:pt x="64" y="840"/>
                      <a:pt x="64" y="822"/>
                    </a:cubicBezTo>
                    <a:cubicBezTo>
                      <a:pt x="64" y="288"/>
                      <a:pt x="64" y="288"/>
                      <a:pt x="64" y="288"/>
                    </a:cubicBezTo>
                    <a:cubicBezTo>
                      <a:pt x="64" y="235"/>
                      <a:pt x="107" y="192"/>
                      <a:pt x="160" y="192"/>
                    </a:cubicBezTo>
                    <a:cubicBezTo>
                      <a:pt x="427" y="192"/>
                      <a:pt x="427" y="192"/>
                      <a:pt x="427" y="192"/>
                    </a:cubicBezTo>
                    <a:cubicBezTo>
                      <a:pt x="423" y="206"/>
                      <a:pt x="411" y="216"/>
                      <a:pt x="396" y="216"/>
                    </a:cubicBezTo>
                    <a:cubicBezTo>
                      <a:pt x="378" y="216"/>
                      <a:pt x="364" y="231"/>
                      <a:pt x="364" y="248"/>
                    </a:cubicBezTo>
                    <a:cubicBezTo>
                      <a:pt x="364" y="266"/>
                      <a:pt x="378" y="280"/>
                      <a:pt x="396" y="280"/>
                    </a:cubicBezTo>
                    <a:cubicBezTo>
                      <a:pt x="446" y="280"/>
                      <a:pt x="488" y="241"/>
                      <a:pt x="491" y="192"/>
                    </a:cubicBezTo>
                    <a:cubicBezTo>
                      <a:pt x="888" y="192"/>
                      <a:pt x="888" y="192"/>
                      <a:pt x="888" y="192"/>
                    </a:cubicBezTo>
                    <a:cubicBezTo>
                      <a:pt x="884" y="206"/>
                      <a:pt x="872" y="216"/>
                      <a:pt x="857" y="216"/>
                    </a:cubicBezTo>
                    <a:cubicBezTo>
                      <a:pt x="839" y="216"/>
                      <a:pt x="825" y="231"/>
                      <a:pt x="825" y="248"/>
                    </a:cubicBezTo>
                    <a:cubicBezTo>
                      <a:pt x="825" y="266"/>
                      <a:pt x="839" y="280"/>
                      <a:pt x="857" y="280"/>
                    </a:cubicBezTo>
                    <a:cubicBezTo>
                      <a:pt x="907" y="280"/>
                      <a:pt x="948" y="241"/>
                      <a:pt x="952" y="192"/>
                    </a:cubicBezTo>
                    <a:cubicBezTo>
                      <a:pt x="1133" y="192"/>
                      <a:pt x="1133" y="192"/>
                      <a:pt x="1133" y="192"/>
                    </a:cubicBezTo>
                    <a:cubicBezTo>
                      <a:pt x="1186" y="192"/>
                      <a:pt x="1229" y="235"/>
                      <a:pt x="1229" y="288"/>
                    </a:cubicBezTo>
                    <a:cubicBezTo>
                      <a:pt x="1229" y="361"/>
                      <a:pt x="1229" y="361"/>
                      <a:pt x="1229" y="361"/>
                    </a:cubicBezTo>
                    <a:cubicBezTo>
                      <a:pt x="1229" y="379"/>
                      <a:pt x="1243" y="393"/>
                      <a:pt x="1261" y="393"/>
                    </a:cubicBezTo>
                    <a:cubicBezTo>
                      <a:pt x="1278" y="393"/>
                      <a:pt x="1293" y="379"/>
                      <a:pt x="1293" y="361"/>
                    </a:cubicBezTo>
                    <a:cubicBezTo>
                      <a:pt x="1293" y="288"/>
                      <a:pt x="1293" y="288"/>
                      <a:pt x="1293" y="288"/>
                    </a:cubicBezTo>
                    <a:cubicBezTo>
                      <a:pt x="1293" y="200"/>
                      <a:pt x="1221" y="128"/>
                      <a:pt x="1133" y="128"/>
                    </a:cubicBezTo>
                    <a:close/>
                    <a:moveTo>
                      <a:pt x="428" y="128"/>
                    </a:moveTo>
                    <a:cubicBezTo>
                      <a:pt x="364" y="128"/>
                      <a:pt x="364" y="128"/>
                      <a:pt x="364" y="128"/>
                    </a:cubicBezTo>
                    <a:cubicBezTo>
                      <a:pt x="364" y="96"/>
                      <a:pt x="364" y="96"/>
                      <a:pt x="364" y="96"/>
                    </a:cubicBezTo>
                    <a:cubicBezTo>
                      <a:pt x="364" y="78"/>
                      <a:pt x="378" y="64"/>
                      <a:pt x="396" y="64"/>
                    </a:cubicBezTo>
                    <a:cubicBezTo>
                      <a:pt x="413" y="64"/>
                      <a:pt x="428" y="78"/>
                      <a:pt x="428" y="96"/>
                    </a:cubicBezTo>
                    <a:lnTo>
                      <a:pt x="428" y="128"/>
                    </a:lnTo>
                    <a:close/>
                    <a:moveTo>
                      <a:pt x="889" y="128"/>
                    </a:moveTo>
                    <a:cubicBezTo>
                      <a:pt x="825" y="128"/>
                      <a:pt x="825" y="128"/>
                      <a:pt x="825" y="128"/>
                    </a:cubicBezTo>
                    <a:cubicBezTo>
                      <a:pt x="825" y="96"/>
                      <a:pt x="825" y="96"/>
                      <a:pt x="825" y="96"/>
                    </a:cubicBezTo>
                    <a:cubicBezTo>
                      <a:pt x="825" y="78"/>
                      <a:pt x="839" y="64"/>
                      <a:pt x="857" y="64"/>
                    </a:cubicBezTo>
                    <a:cubicBezTo>
                      <a:pt x="874" y="64"/>
                      <a:pt x="889" y="78"/>
                      <a:pt x="889" y="96"/>
                    </a:cubicBezTo>
                    <a:lnTo>
                      <a:pt x="889" y="128"/>
                    </a:lnTo>
                    <a:close/>
                    <a:moveTo>
                      <a:pt x="889" y="128"/>
                    </a:moveTo>
                    <a:cubicBezTo>
                      <a:pt x="889" y="128"/>
                      <a:pt x="889" y="128"/>
                      <a:pt x="889"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8"/>
              <p:cNvSpPr>
                <a:spLocks noEditPoints="1"/>
              </p:cNvSpPr>
              <p:nvPr/>
            </p:nvSpPr>
            <p:spPr bwMode="auto">
              <a:xfrm>
                <a:off x="1968" y="2879"/>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9"/>
              <p:cNvSpPr>
                <a:spLocks noEditPoints="1"/>
              </p:cNvSpPr>
              <p:nvPr/>
            </p:nvSpPr>
            <p:spPr bwMode="auto">
              <a:xfrm>
                <a:off x="1968" y="3112"/>
                <a:ext cx="2065" cy="1134"/>
              </a:xfrm>
              <a:custGeom>
                <a:avLst/>
                <a:gdLst>
                  <a:gd name="T0" fmla="*/ 1059 w 1091"/>
                  <a:gd name="T1" fmla="*/ 535 h 599"/>
                  <a:gd name="T2" fmla="*/ 160 w 1091"/>
                  <a:gd name="T3" fmla="*/ 535 h 599"/>
                  <a:gd name="T4" fmla="*/ 64 w 1091"/>
                  <a:gd name="T5" fmla="*/ 439 h 599"/>
                  <a:gd name="T6" fmla="*/ 64 w 1091"/>
                  <a:gd name="T7" fmla="*/ 32 h 599"/>
                  <a:gd name="T8" fmla="*/ 32 w 1091"/>
                  <a:gd name="T9" fmla="*/ 0 h 599"/>
                  <a:gd name="T10" fmla="*/ 0 w 1091"/>
                  <a:gd name="T11" fmla="*/ 32 h 599"/>
                  <a:gd name="T12" fmla="*/ 0 w 1091"/>
                  <a:gd name="T13" fmla="*/ 439 h 599"/>
                  <a:gd name="T14" fmla="*/ 160 w 1091"/>
                  <a:gd name="T15" fmla="*/ 599 h 599"/>
                  <a:gd name="T16" fmla="*/ 1059 w 1091"/>
                  <a:gd name="T17" fmla="*/ 599 h 599"/>
                  <a:gd name="T18" fmla="*/ 1091 w 1091"/>
                  <a:gd name="T19" fmla="*/ 567 h 599"/>
                  <a:gd name="T20" fmla="*/ 1059 w 1091"/>
                  <a:gd name="T21" fmla="*/ 535 h 599"/>
                  <a:gd name="T22" fmla="*/ 1059 w 1091"/>
                  <a:gd name="T23" fmla="*/ 535 h 599"/>
                  <a:gd name="T24" fmla="*/ 1059 w 1091"/>
                  <a:gd name="T25" fmla="*/ 53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1" h="599">
                    <a:moveTo>
                      <a:pt x="1059" y="535"/>
                    </a:moveTo>
                    <a:cubicBezTo>
                      <a:pt x="160" y="535"/>
                      <a:pt x="160" y="535"/>
                      <a:pt x="160" y="535"/>
                    </a:cubicBezTo>
                    <a:cubicBezTo>
                      <a:pt x="107" y="535"/>
                      <a:pt x="64" y="492"/>
                      <a:pt x="64" y="439"/>
                    </a:cubicBezTo>
                    <a:cubicBezTo>
                      <a:pt x="64" y="32"/>
                      <a:pt x="64" y="32"/>
                      <a:pt x="64" y="32"/>
                    </a:cubicBezTo>
                    <a:cubicBezTo>
                      <a:pt x="64" y="14"/>
                      <a:pt x="50" y="0"/>
                      <a:pt x="32" y="0"/>
                    </a:cubicBezTo>
                    <a:cubicBezTo>
                      <a:pt x="14" y="0"/>
                      <a:pt x="0" y="14"/>
                      <a:pt x="0" y="32"/>
                    </a:cubicBezTo>
                    <a:cubicBezTo>
                      <a:pt x="0" y="439"/>
                      <a:pt x="0" y="439"/>
                      <a:pt x="0" y="439"/>
                    </a:cubicBezTo>
                    <a:cubicBezTo>
                      <a:pt x="0" y="528"/>
                      <a:pt x="72" y="599"/>
                      <a:pt x="160" y="599"/>
                    </a:cubicBezTo>
                    <a:cubicBezTo>
                      <a:pt x="1059" y="599"/>
                      <a:pt x="1059" y="599"/>
                      <a:pt x="1059" y="599"/>
                    </a:cubicBezTo>
                    <a:cubicBezTo>
                      <a:pt x="1077" y="599"/>
                      <a:pt x="1091" y="585"/>
                      <a:pt x="1091" y="567"/>
                    </a:cubicBezTo>
                    <a:cubicBezTo>
                      <a:pt x="1091" y="550"/>
                      <a:pt x="1077" y="535"/>
                      <a:pt x="1059" y="535"/>
                    </a:cubicBezTo>
                    <a:close/>
                    <a:moveTo>
                      <a:pt x="1059" y="535"/>
                    </a:moveTo>
                    <a:cubicBezTo>
                      <a:pt x="1059" y="535"/>
                      <a:pt x="1059" y="535"/>
                      <a:pt x="1059" y="5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90"/>
              <p:cNvSpPr>
                <a:spLocks noEditPoints="1"/>
              </p:cNvSpPr>
              <p:nvPr/>
            </p:nvSpPr>
            <p:spPr bwMode="auto">
              <a:xfrm>
                <a:off x="2235" y="1811"/>
                <a:ext cx="901" cy="945"/>
              </a:xfrm>
              <a:custGeom>
                <a:avLst/>
                <a:gdLst>
                  <a:gd name="T0" fmla="*/ 346 w 476"/>
                  <a:gd name="T1" fmla="*/ 207 h 499"/>
                  <a:gd name="T2" fmla="*/ 362 w 476"/>
                  <a:gd name="T3" fmla="*/ 147 h 499"/>
                  <a:gd name="T4" fmla="*/ 362 w 476"/>
                  <a:gd name="T5" fmla="*/ 124 h 499"/>
                  <a:gd name="T6" fmla="*/ 238 w 476"/>
                  <a:gd name="T7" fmla="*/ 0 h 499"/>
                  <a:gd name="T8" fmla="*/ 114 w 476"/>
                  <a:gd name="T9" fmla="*/ 124 h 499"/>
                  <a:gd name="T10" fmla="*/ 114 w 476"/>
                  <a:gd name="T11" fmla="*/ 147 h 499"/>
                  <a:gd name="T12" fmla="*/ 130 w 476"/>
                  <a:gd name="T13" fmla="*/ 207 h 499"/>
                  <a:gd name="T14" fmla="*/ 0 w 476"/>
                  <a:gd name="T15" fmla="*/ 353 h 499"/>
                  <a:gd name="T16" fmla="*/ 0 w 476"/>
                  <a:gd name="T17" fmla="*/ 467 h 499"/>
                  <a:gd name="T18" fmla="*/ 32 w 476"/>
                  <a:gd name="T19" fmla="*/ 499 h 499"/>
                  <a:gd name="T20" fmla="*/ 444 w 476"/>
                  <a:gd name="T21" fmla="*/ 499 h 499"/>
                  <a:gd name="T22" fmla="*/ 476 w 476"/>
                  <a:gd name="T23" fmla="*/ 467 h 499"/>
                  <a:gd name="T24" fmla="*/ 476 w 476"/>
                  <a:gd name="T25" fmla="*/ 353 h 499"/>
                  <a:gd name="T26" fmla="*/ 346 w 476"/>
                  <a:gd name="T27" fmla="*/ 207 h 499"/>
                  <a:gd name="T28" fmla="*/ 238 w 476"/>
                  <a:gd name="T29" fmla="*/ 64 h 499"/>
                  <a:gd name="T30" fmla="*/ 298 w 476"/>
                  <a:gd name="T31" fmla="*/ 124 h 499"/>
                  <a:gd name="T32" fmla="*/ 298 w 476"/>
                  <a:gd name="T33" fmla="*/ 147 h 499"/>
                  <a:gd name="T34" fmla="*/ 238 w 476"/>
                  <a:gd name="T35" fmla="*/ 206 h 499"/>
                  <a:gd name="T36" fmla="*/ 178 w 476"/>
                  <a:gd name="T37" fmla="*/ 147 h 499"/>
                  <a:gd name="T38" fmla="*/ 178 w 476"/>
                  <a:gd name="T39" fmla="*/ 124 h 499"/>
                  <a:gd name="T40" fmla="*/ 238 w 476"/>
                  <a:gd name="T41" fmla="*/ 64 h 499"/>
                  <a:gd name="T42" fmla="*/ 412 w 476"/>
                  <a:gd name="T43" fmla="*/ 435 h 499"/>
                  <a:gd name="T44" fmla="*/ 64 w 476"/>
                  <a:gd name="T45" fmla="*/ 435 h 499"/>
                  <a:gd name="T46" fmla="*/ 64 w 476"/>
                  <a:gd name="T47" fmla="*/ 353 h 499"/>
                  <a:gd name="T48" fmla="*/ 146 w 476"/>
                  <a:gd name="T49" fmla="*/ 270 h 499"/>
                  <a:gd name="T50" fmla="*/ 330 w 476"/>
                  <a:gd name="T51" fmla="*/ 270 h 499"/>
                  <a:gd name="T52" fmla="*/ 412 w 476"/>
                  <a:gd name="T53" fmla="*/ 353 h 499"/>
                  <a:gd name="T54" fmla="*/ 412 w 476"/>
                  <a:gd name="T55" fmla="*/ 435 h 499"/>
                  <a:gd name="T56" fmla="*/ 412 w 476"/>
                  <a:gd name="T57" fmla="*/ 435 h 499"/>
                  <a:gd name="T58" fmla="*/ 412 w 476"/>
                  <a:gd name="T59" fmla="*/ 43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499">
                    <a:moveTo>
                      <a:pt x="346" y="207"/>
                    </a:moveTo>
                    <a:cubicBezTo>
                      <a:pt x="356" y="189"/>
                      <a:pt x="362" y="168"/>
                      <a:pt x="362" y="147"/>
                    </a:cubicBezTo>
                    <a:cubicBezTo>
                      <a:pt x="362" y="124"/>
                      <a:pt x="362" y="124"/>
                      <a:pt x="362" y="124"/>
                    </a:cubicBezTo>
                    <a:cubicBezTo>
                      <a:pt x="362" y="55"/>
                      <a:pt x="306" y="0"/>
                      <a:pt x="238" y="0"/>
                    </a:cubicBezTo>
                    <a:cubicBezTo>
                      <a:pt x="170" y="0"/>
                      <a:pt x="114" y="55"/>
                      <a:pt x="114" y="124"/>
                    </a:cubicBezTo>
                    <a:cubicBezTo>
                      <a:pt x="114" y="147"/>
                      <a:pt x="114" y="147"/>
                      <a:pt x="114" y="147"/>
                    </a:cubicBezTo>
                    <a:cubicBezTo>
                      <a:pt x="114" y="168"/>
                      <a:pt x="120" y="189"/>
                      <a:pt x="130" y="207"/>
                    </a:cubicBezTo>
                    <a:cubicBezTo>
                      <a:pt x="57" y="215"/>
                      <a:pt x="0" y="277"/>
                      <a:pt x="0" y="353"/>
                    </a:cubicBezTo>
                    <a:cubicBezTo>
                      <a:pt x="0" y="467"/>
                      <a:pt x="0" y="467"/>
                      <a:pt x="0" y="467"/>
                    </a:cubicBezTo>
                    <a:cubicBezTo>
                      <a:pt x="0" y="485"/>
                      <a:pt x="14" y="499"/>
                      <a:pt x="32" y="499"/>
                    </a:cubicBezTo>
                    <a:cubicBezTo>
                      <a:pt x="444" y="499"/>
                      <a:pt x="444" y="499"/>
                      <a:pt x="444" y="499"/>
                    </a:cubicBezTo>
                    <a:cubicBezTo>
                      <a:pt x="462" y="499"/>
                      <a:pt x="476" y="485"/>
                      <a:pt x="476" y="467"/>
                    </a:cubicBezTo>
                    <a:cubicBezTo>
                      <a:pt x="476" y="353"/>
                      <a:pt x="476" y="353"/>
                      <a:pt x="476" y="353"/>
                    </a:cubicBezTo>
                    <a:cubicBezTo>
                      <a:pt x="476" y="277"/>
                      <a:pt x="419" y="215"/>
                      <a:pt x="346" y="207"/>
                    </a:cubicBezTo>
                    <a:close/>
                    <a:moveTo>
                      <a:pt x="238" y="64"/>
                    </a:moveTo>
                    <a:cubicBezTo>
                      <a:pt x="271" y="64"/>
                      <a:pt x="298" y="91"/>
                      <a:pt x="298" y="124"/>
                    </a:cubicBezTo>
                    <a:cubicBezTo>
                      <a:pt x="298" y="147"/>
                      <a:pt x="298" y="147"/>
                      <a:pt x="298" y="147"/>
                    </a:cubicBezTo>
                    <a:cubicBezTo>
                      <a:pt x="298" y="179"/>
                      <a:pt x="271" y="206"/>
                      <a:pt x="238" y="206"/>
                    </a:cubicBezTo>
                    <a:cubicBezTo>
                      <a:pt x="205" y="206"/>
                      <a:pt x="178" y="179"/>
                      <a:pt x="178" y="147"/>
                    </a:cubicBezTo>
                    <a:cubicBezTo>
                      <a:pt x="178" y="124"/>
                      <a:pt x="178" y="124"/>
                      <a:pt x="178" y="124"/>
                    </a:cubicBezTo>
                    <a:cubicBezTo>
                      <a:pt x="178" y="91"/>
                      <a:pt x="205" y="64"/>
                      <a:pt x="238" y="64"/>
                    </a:cubicBezTo>
                    <a:close/>
                    <a:moveTo>
                      <a:pt x="412" y="435"/>
                    </a:moveTo>
                    <a:cubicBezTo>
                      <a:pt x="64" y="435"/>
                      <a:pt x="64" y="435"/>
                      <a:pt x="64" y="435"/>
                    </a:cubicBezTo>
                    <a:cubicBezTo>
                      <a:pt x="64" y="353"/>
                      <a:pt x="64" y="353"/>
                      <a:pt x="64" y="353"/>
                    </a:cubicBezTo>
                    <a:cubicBezTo>
                      <a:pt x="64" y="307"/>
                      <a:pt x="101" y="270"/>
                      <a:pt x="146" y="270"/>
                    </a:cubicBezTo>
                    <a:cubicBezTo>
                      <a:pt x="330" y="270"/>
                      <a:pt x="330" y="270"/>
                      <a:pt x="330" y="270"/>
                    </a:cubicBezTo>
                    <a:cubicBezTo>
                      <a:pt x="375" y="270"/>
                      <a:pt x="412" y="307"/>
                      <a:pt x="412" y="353"/>
                    </a:cubicBezTo>
                    <a:lnTo>
                      <a:pt x="412" y="435"/>
                    </a:lnTo>
                    <a:close/>
                    <a:moveTo>
                      <a:pt x="412" y="435"/>
                    </a:moveTo>
                    <a:cubicBezTo>
                      <a:pt x="412" y="435"/>
                      <a:pt x="412" y="435"/>
                      <a:pt x="412" y="4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91"/>
              <p:cNvSpPr>
                <a:spLocks noEditPoints="1"/>
              </p:cNvSpPr>
              <p:nvPr/>
            </p:nvSpPr>
            <p:spPr bwMode="auto">
              <a:xfrm>
                <a:off x="2235" y="2974"/>
                <a:ext cx="901" cy="946"/>
              </a:xfrm>
              <a:custGeom>
                <a:avLst/>
                <a:gdLst>
                  <a:gd name="T0" fmla="*/ 346 w 476"/>
                  <a:gd name="T1" fmla="*/ 207 h 500"/>
                  <a:gd name="T2" fmla="*/ 362 w 476"/>
                  <a:gd name="T3" fmla="*/ 147 h 500"/>
                  <a:gd name="T4" fmla="*/ 362 w 476"/>
                  <a:gd name="T5" fmla="*/ 124 h 500"/>
                  <a:gd name="T6" fmla="*/ 238 w 476"/>
                  <a:gd name="T7" fmla="*/ 0 h 500"/>
                  <a:gd name="T8" fmla="*/ 114 w 476"/>
                  <a:gd name="T9" fmla="*/ 124 h 500"/>
                  <a:gd name="T10" fmla="*/ 114 w 476"/>
                  <a:gd name="T11" fmla="*/ 147 h 500"/>
                  <a:gd name="T12" fmla="*/ 130 w 476"/>
                  <a:gd name="T13" fmla="*/ 207 h 500"/>
                  <a:gd name="T14" fmla="*/ 0 w 476"/>
                  <a:gd name="T15" fmla="*/ 353 h 500"/>
                  <a:gd name="T16" fmla="*/ 0 w 476"/>
                  <a:gd name="T17" fmla="*/ 468 h 500"/>
                  <a:gd name="T18" fmla="*/ 32 w 476"/>
                  <a:gd name="T19" fmla="*/ 500 h 500"/>
                  <a:gd name="T20" fmla="*/ 444 w 476"/>
                  <a:gd name="T21" fmla="*/ 500 h 500"/>
                  <a:gd name="T22" fmla="*/ 476 w 476"/>
                  <a:gd name="T23" fmla="*/ 468 h 500"/>
                  <a:gd name="T24" fmla="*/ 476 w 476"/>
                  <a:gd name="T25" fmla="*/ 353 h 500"/>
                  <a:gd name="T26" fmla="*/ 346 w 476"/>
                  <a:gd name="T27" fmla="*/ 207 h 500"/>
                  <a:gd name="T28" fmla="*/ 238 w 476"/>
                  <a:gd name="T29" fmla="*/ 64 h 500"/>
                  <a:gd name="T30" fmla="*/ 298 w 476"/>
                  <a:gd name="T31" fmla="*/ 124 h 500"/>
                  <a:gd name="T32" fmla="*/ 298 w 476"/>
                  <a:gd name="T33" fmla="*/ 147 h 500"/>
                  <a:gd name="T34" fmla="*/ 238 w 476"/>
                  <a:gd name="T35" fmla="*/ 207 h 500"/>
                  <a:gd name="T36" fmla="*/ 178 w 476"/>
                  <a:gd name="T37" fmla="*/ 147 h 500"/>
                  <a:gd name="T38" fmla="*/ 178 w 476"/>
                  <a:gd name="T39" fmla="*/ 124 h 500"/>
                  <a:gd name="T40" fmla="*/ 238 w 476"/>
                  <a:gd name="T41" fmla="*/ 64 h 500"/>
                  <a:gd name="T42" fmla="*/ 412 w 476"/>
                  <a:gd name="T43" fmla="*/ 436 h 500"/>
                  <a:gd name="T44" fmla="*/ 64 w 476"/>
                  <a:gd name="T45" fmla="*/ 436 h 500"/>
                  <a:gd name="T46" fmla="*/ 64 w 476"/>
                  <a:gd name="T47" fmla="*/ 353 h 500"/>
                  <a:gd name="T48" fmla="*/ 146 w 476"/>
                  <a:gd name="T49" fmla="*/ 271 h 500"/>
                  <a:gd name="T50" fmla="*/ 330 w 476"/>
                  <a:gd name="T51" fmla="*/ 271 h 500"/>
                  <a:gd name="T52" fmla="*/ 412 w 476"/>
                  <a:gd name="T53" fmla="*/ 353 h 500"/>
                  <a:gd name="T54" fmla="*/ 412 w 476"/>
                  <a:gd name="T55" fmla="*/ 436 h 500"/>
                  <a:gd name="T56" fmla="*/ 412 w 476"/>
                  <a:gd name="T57" fmla="*/ 436 h 500"/>
                  <a:gd name="T58" fmla="*/ 412 w 476"/>
                  <a:gd name="T59" fmla="*/ 43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500">
                    <a:moveTo>
                      <a:pt x="346" y="207"/>
                    </a:moveTo>
                    <a:cubicBezTo>
                      <a:pt x="356" y="190"/>
                      <a:pt x="362" y="169"/>
                      <a:pt x="362" y="147"/>
                    </a:cubicBezTo>
                    <a:cubicBezTo>
                      <a:pt x="362" y="124"/>
                      <a:pt x="362" y="124"/>
                      <a:pt x="362" y="124"/>
                    </a:cubicBezTo>
                    <a:cubicBezTo>
                      <a:pt x="362" y="56"/>
                      <a:pt x="306" y="0"/>
                      <a:pt x="238" y="0"/>
                    </a:cubicBezTo>
                    <a:cubicBezTo>
                      <a:pt x="170" y="0"/>
                      <a:pt x="114" y="56"/>
                      <a:pt x="114" y="124"/>
                    </a:cubicBezTo>
                    <a:cubicBezTo>
                      <a:pt x="114" y="147"/>
                      <a:pt x="114" y="147"/>
                      <a:pt x="114" y="147"/>
                    </a:cubicBezTo>
                    <a:cubicBezTo>
                      <a:pt x="114" y="169"/>
                      <a:pt x="120" y="190"/>
                      <a:pt x="130" y="207"/>
                    </a:cubicBezTo>
                    <a:cubicBezTo>
                      <a:pt x="57" y="216"/>
                      <a:pt x="0" y="278"/>
                      <a:pt x="0" y="353"/>
                    </a:cubicBezTo>
                    <a:cubicBezTo>
                      <a:pt x="0" y="468"/>
                      <a:pt x="0" y="468"/>
                      <a:pt x="0" y="468"/>
                    </a:cubicBezTo>
                    <a:cubicBezTo>
                      <a:pt x="0" y="485"/>
                      <a:pt x="14" y="500"/>
                      <a:pt x="32" y="500"/>
                    </a:cubicBezTo>
                    <a:cubicBezTo>
                      <a:pt x="444" y="500"/>
                      <a:pt x="444" y="500"/>
                      <a:pt x="444" y="500"/>
                    </a:cubicBezTo>
                    <a:cubicBezTo>
                      <a:pt x="462" y="500"/>
                      <a:pt x="476" y="485"/>
                      <a:pt x="476" y="468"/>
                    </a:cubicBezTo>
                    <a:cubicBezTo>
                      <a:pt x="476" y="353"/>
                      <a:pt x="476" y="353"/>
                      <a:pt x="476" y="353"/>
                    </a:cubicBezTo>
                    <a:cubicBezTo>
                      <a:pt x="476" y="278"/>
                      <a:pt x="419" y="216"/>
                      <a:pt x="346" y="207"/>
                    </a:cubicBezTo>
                    <a:close/>
                    <a:moveTo>
                      <a:pt x="238" y="64"/>
                    </a:moveTo>
                    <a:cubicBezTo>
                      <a:pt x="271" y="64"/>
                      <a:pt x="298" y="91"/>
                      <a:pt x="298" y="124"/>
                    </a:cubicBezTo>
                    <a:cubicBezTo>
                      <a:pt x="298" y="147"/>
                      <a:pt x="298" y="147"/>
                      <a:pt x="298" y="147"/>
                    </a:cubicBezTo>
                    <a:cubicBezTo>
                      <a:pt x="298" y="180"/>
                      <a:pt x="271" y="207"/>
                      <a:pt x="238" y="207"/>
                    </a:cubicBezTo>
                    <a:cubicBezTo>
                      <a:pt x="205" y="207"/>
                      <a:pt x="178" y="180"/>
                      <a:pt x="178" y="147"/>
                    </a:cubicBezTo>
                    <a:cubicBezTo>
                      <a:pt x="178" y="124"/>
                      <a:pt x="178" y="124"/>
                      <a:pt x="178" y="124"/>
                    </a:cubicBezTo>
                    <a:cubicBezTo>
                      <a:pt x="178" y="91"/>
                      <a:pt x="205" y="64"/>
                      <a:pt x="238" y="64"/>
                    </a:cubicBezTo>
                    <a:close/>
                    <a:moveTo>
                      <a:pt x="412" y="436"/>
                    </a:moveTo>
                    <a:cubicBezTo>
                      <a:pt x="64" y="436"/>
                      <a:pt x="64" y="436"/>
                      <a:pt x="64" y="436"/>
                    </a:cubicBezTo>
                    <a:cubicBezTo>
                      <a:pt x="64" y="353"/>
                      <a:pt x="64" y="353"/>
                      <a:pt x="64" y="353"/>
                    </a:cubicBezTo>
                    <a:cubicBezTo>
                      <a:pt x="64" y="308"/>
                      <a:pt x="101" y="271"/>
                      <a:pt x="146" y="271"/>
                    </a:cubicBezTo>
                    <a:cubicBezTo>
                      <a:pt x="330" y="271"/>
                      <a:pt x="330" y="271"/>
                      <a:pt x="330" y="271"/>
                    </a:cubicBezTo>
                    <a:cubicBezTo>
                      <a:pt x="375" y="271"/>
                      <a:pt x="412" y="308"/>
                      <a:pt x="412" y="353"/>
                    </a:cubicBezTo>
                    <a:lnTo>
                      <a:pt x="412" y="436"/>
                    </a:lnTo>
                    <a:close/>
                    <a:moveTo>
                      <a:pt x="412" y="436"/>
                    </a:moveTo>
                    <a:cubicBezTo>
                      <a:pt x="412" y="436"/>
                      <a:pt x="412" y="436"/>
                      <a:pt x="412" y="4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92"/>
              <p:cNvSpPr>
                <a:spLocks noEditPoints="1"/>
              </p:cNvSpPr>
              <p:nvPr/>
            </p:nvSpPr>
            <p:spPr bwMode="auto">
              <a:xfrm>
                <a:off x="3314" y="2345"/>
                <a:ext cx="399" cy="121"/>
              </a:xfrm>
              <a:custGeom>
                <a:avLst/>
                <a:gdLst>
                  <a:gd name="T0" fmla="*/ 179 w 211"/>
                  <a:gd name="T1" fmla="*/ 0 h 64"/>
                  <a:gd name="T2" fmla="*/ 32 w 211"/>
                  <a:gd name="T3" fmla="*/ 0 h 64"/>
                  <a:gd name="T4" fmla="*/ 0 w 211"/>
                  <a:gd name="T5" fmla="*/ 32 h 64"/>
                  <a:gd name="T6" fmla="*/ 32 w 211"/>
                  <a:gd name="T7" fmla="*/ 64 h 64"/>
                  <a:gd name="T8" fmla="*/ 179 w 211"/>
                  <a:gd name="T9" fmla="*/ 64 h 64"/>
                  <a:gd name="T10" fmla="*/ 211 w 211"/>
                  <a:gd name="T11" fmla="*/ 32 h 64"/>
                  <a:gd name="T12" fmla="*/ 179 w 211"/>
                  <a:gd name="T13" fmla="*/ 0 h 64"/>
                  <a:gd name="T14" fmla="*/ 179 w 211"/>
                  <a:gd name="T15" fmla="*/ 0 h 64"/>
                  <a:gd name="T16" fmla="*/ 179 w 21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64">
                    <a:moveTo>
                      <a:pt x="179" y="0"/>
                    </a:moveTo>
                    <a:cubicBezTo>
                      <a:pt x="32" y="0"/>
                      <a:pt x="32" y="0"/>
                      <a:pt x="32" y="0"/>
                    </a:cubicBezTo>
                    <a:cubicBezTo>
                      <a:pt x="15" y="0"/>
                      <a:pt x="0" y="14"/>
                      <a:pt x="0" y="32"/>
                    </a:cubicBezTo>
                    <a:cubicBezTo>
                      <a:pt x="0" y="49"/>
                      <a:pt x="15" y="64"/>
                      <a:pt x="32" y="64"/>
                    </a:cubicBezTo>
                    <a:cubicBezTo>
                      <a:pt x="179" y="64"/>
                      <a:pt x="179" y="64"/>
                      <a:pt x="179" y="64"/>
                    </a:cubicBezTo>
                    <a:cubicBezTo>
                      <a:pt x="196" y="64"/>
                      <a:pt x="211" y="49"/>
                      <a:pt x="211" y="32"/>
                    </a:cubicBezTo>
                    <a:cubicBezTo>
                      <a:pt x="211" y="14"/>
                      <a:pt x="196" y="0"/>
                      <a:pt x="179" y="0"/>
                    </a:cubicBezTo>
                    <a:close/>
                    <a:moveTo>
                      <a:pt x="179" y="0"/>
                    </a:moveTo>
                    <a:cubicBezTo>
                      <a:pt x="179" y="0"/>
                      <a:pt x="179" y="0"/>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93"/>
              <p:cNvSpPr>
                <a:spLocks noEditPoints="1"/>
              </p:cNvSpPr>
              <p:nvPr/>
            </p:nvSpPr>
            <p:spPr bwMode="auto">
              <a:xfrm>
                <a:off x="3314" y="2635"/>
                <a:ext cx="399" cy="121"/>
              </a:xfrm>
              <a:custGeom>
                <a:avLst/>
                <a:gdLst>
                  <a:gd name="T0" fmla="*/ 179 w 211"/>
                  <a:gd name="T1" fmla="*/ 0 h 64"/>
                  <a:gd name="T2" fmla="*/ 32 w 211"/>
                  <a:gd name="T3" fmla="*/ 0 h 64"/>
                  <a:gd name="T4" fmla="*/ 0 w 211"/>
                  <a:gd name="T5" fmla="*/ 32 h 64"/>
                  <a:gd name="T6" fmla="*/ 32 w 211"/>
                  <a:gd name="T7" fmla="*/ 64 h 64"/>
                  <a:gd name="T8" fmla="*/ 179 w 211"/>
                  <a:gd name="T9" fmla="*/ 64 h 64"/>
                  <a:gd name="T10" fmla="*/ 211 w 211"/>
                  <a:gd name="T11" fmla="*/ 32 h 64"/>
                  <a:gd name="T12" fmla="*/ 179 w 211"/>
                  <a:gd name="T13" fmla="*/ 0 h 64"/>
                  <a:gd name="T14" fmla="*/ 179 w 211"/>
                  <a:gd name="T15" fmla="*/ 0 h 64"/>
                  <a:gd name="T16" fmla="*/ 179 w 21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64">
                    <a:moveTo>
                      <a:pt x="179" y="0"/>
                    </a:moveTo>
                    <a:cubicBezTo>
                      <a:pt x="32" y="0"/>
                      <a:pt x="32" y="0"/>
                      <a:pt x="32" y="0"/>
                    </a:cubicBezTo>
                    <a:cubicBezTo>
                      <a:pt x="15" y="0"/>
                      <a:pt x="0" y="15"/>
                      <a:pt x="0" y="32"/>
                    </a:cubicBezTo>
                    <a:cubicBezTo>
                      <a:pt x="0" y="50"/>
                      <a:pt x="15" y="64"/>
                      <a:pt x="32" y="64"/>
                    </a:cubicBezTo>
                    <a:cubicBezTo>
                      <a:pt x="179" y="64"/>
                      <a:pt x="179" y="64"/>
                      <a:pt x="179" y="64"/>
                    </a:cubicBezTo>
                    <a:cubicBezTo>
                      <a:pt x="196" y="64"/>
                      <a:pt x="211" y="50"/>
                      <a:pt x="211" y="32"/>
                    </a:cubicBezTo>
                    <a:cubicBezTo>
                      <a:pt x="211" y="15"/>
                      <a:pt x="196" y="0"/>
                      <a:pt x="179" y="0"/>
                    </a:cubicBezTo>
                    <a:close/>
                    <a:moveTo>
                      <a:pt x="179" y="0"/>
                    </a:moveTo>
                    <a:cubicBezTo>
                      <a:pt x="179" y="0"/>
                      <a:pt x="179" y="0"/>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94"/>
              <p:cNvSpPr>
                <a:spLocks noEditPoints="1"/>
              </p:cNvSpPr>
              <p:nvPr/>
            </p:nvSpPr>
            <p:spPr bwMode="auto">
              <a:xfrm>
                <a:off x="3314" y="2054"/>
                <a:ext cx="284" cy="121"/>
              </a:xfrm>
              <a:custGeom>
                <a:avLst/>
                <a:gdLst>
                  <a:gd name="T0" fmla="*/ 118 w 150"/>
                  <a:gd name="T1" fmla="*/ 0 h 64"/>
                  <a:gd name="T2" fmla="*/ 32 w 150"/>
                  <a:gd name="T3" fmla="*/ 0 h 64"/>
                  <a:gd name="T4" fmla="*/ 0 w 150"/>
                  <a:gd name="T5" fmla="*/ 32 h 64"/>
                  <a:gd name="T6" fmla="*/ 32 w 150"/>
                  <a:gd name="T7" fmla="*/ 64 h 64"/>
                  <a:gd name="T8" fmla="*/ 118 w 150"/>
                  <a:gd name="T9" fmla="*/ 64 h 64"/>
                  <a:gd name="T10" fmla="*/ 150 w 150"/>
                  <a:gd name="T11" fmla="*/ 32 h 64"/>
                  <a:gd name="T12" fmla="*/ 118 w 150"/>
                  <a:gd name="T13" fmla="*/ 0 h 64"/>
                  <a:gd name="T14" fmla="*/ 118 w 150"/>
                  <a:gd name="T15" fmla="*/ 0 h 64"/>
                  <a:gd name="T16" fmla="*/ 118 w 15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64">
                    <a:moveTo>
                      <a:pt x="118" y="0"/>
                    </a:moveTo>
                    <a:cubicBezTo>
                      <a:pt x="32" y="0"/>
                      <a:pt x="32" y="0"/>
                      <a:pt x="32" y="0"/>
                    </a:cubicBezTo>
                    <a:cubicBezTo>
                      <a:pt x="15" y="0"/>
                      <a:pt x="0" y="14"/>
                      <a:pt x="0" y="32"/>
                    </a:cubicBezTo>
                    <a:cubicBezTo>
                      <a:pt x="0" y="50"/>
                      <a:pt x="15" y="64"/>
                      <a:pt x="32" y="64"/>
                    </a:cubicBezTo>
                    <a:cubicBezTo>
                      <a:pt x="118" y="64"/>
                      <a:pt x="118" y="64"/>
                      <a:pt x="118" y="64"/>
                    </a:cubicBezTo>
                    <a:cubicBezTo>
                      <a:pt x="135" y="64"/>
                      <a:pt x="150" y="50"/>
                      <a:pt x="150" y="32"/>
                    </a:cubicBezTo>
                    <a:cubicBezTo>
                      <a:pt x="150" y="14"/>
                      <a:pt x="135" y="0"/>
                      <a:pt x="118" y="0"/>
                    </a:cubicBezTo>
                    <a:close/>
                    <a:moveTo>
                      <a:pt x="118" y="0"/>
                    </a:moveTo>
                    <a:cubicBezTo>
                      <a:pt x="118" y="0"/>
                      <a:pt x="118" y="0"/>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95"/>
              <p:cNvSpPr>
                <a:spLocks noEditPoints="1"/>
              </p:cNvSpPr>
              <p:nvPr/>
            </p:nvSpPr>
            <p:spPr bwMode="auto">
              <a:xfrm>
                <a:off x="3314" y="3508"/>
                <a:ext cx="719" cy="121"/>
              </a:xfrm>
              <a:custGeom>
                <a:avLst/>
                <a:gdLst>
                  <a:gd name="T0" fmla="*/ 348 w 380"/>
                  <a:gd name="T1" fmla="*/ 0 h 64"/>
                  <a:gd name="T2" fmla="*/ 32 w 380"/>
                  <a:gd name="T3" fmla="*/ 0 h 64"/>
                  <a:gd name="T4" fmla="*/ 0 w 380"/>
                  <a:gd name="T5" fmla="*/ 32 h 64"/>
                  <a:gd name="T6" fmla="*/ 32 w 380"/>
                  <a:gd name="T7" fmla="*/ 64 h 64"/>
                  <a:gd name="T8" fmla="*/ 348 w 380"/>
                  <a:gd name="T9" fmla="*/ 64 h 64"/>
                  <a:gd name="T10" fmla="*/ 380 w 380"/>
                  <a:gd name="T11" fmla="*/ 32 h 64"/>
                  <a:gd name="T12" fmla="*/ 348 w 380"/>
                  <a:gd name="T13" fmla="*/ 0 h 64"/>
                  <a:gd name="T14" fmla="*/ 348 w 380"/>
                  <a:gd name="T15" fmla="*/ 0 h 64"/>
                  <a:gd name="T16" fmla="*/ 348 w 38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64">
                    <a:moveTo>
                      <a:pt x="348" y="0"/>
                    </a:moveTo>
                    <a:cubicBezTo>
                      <a:pt x="32" y="0"/>
                      <a:pt x="32" y="0"/>
                      <a:pt x="32" y="0"/>
                    </a:cubicBezTo>
                    <a:cubicBezTo>
                      <a:pt x="15" y="0"/>
                      <a:pt x="0" y="14"/>
                      <a:pt x="0" y="32"/>
                    </a:cubicBezTo>
                    <a:cubicBezTo>
                      <a:pt x="0" y="50"/>
                      <a:pt x="15" y="64"/>
                      <a:pt x="32" y="64"/>
                    </a:cubicBezTo>
                    <a:cubicBezTo>
                      <a:pt x="348" y="64"/>
                      <a:pt x="348" y="64"/>
                      <a:pt x="348" y="64"/>
                    </a:cubicBezTo>
                    <a:cubicBezTo>
                      <a:pt x="366" y="64"/>
                      <a:pt x="380" y="50"/>
                      <a:pt x="380" y="32"/>
                    </a:cubicBezTo>
                    <a:cubicBezTo>
                      <a:pt x="380" y="14"/>
                      <a:pt x="366" y="0"/>
                      <a:pt x="348" y="0"/>
                    </a:cubicBezTo>
                    <a:close/>
                    <a:moveTo>
                      <a:pt x="348" y="0"/>
                    </a:moveTo>
                    <a:cubicBezTo>
                      <a:pt x="348" y="0"/>
                      <a:pt x="348" y="0"/>
                      <a:pt x="3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96"/>
              <p:cNvSpPr>
                <a:spLocks noEditPoints="1"/>
              </p:cNvSpPr>
              <p:nvPr/>
            </p:nvSpPr>
            <p:spPr bwMode="auto">
              <a:xfrm>
                <a:off x="3314" y="3799"/>
                <a:ext cx="719" cy="121"/>
              </a:xfrm>
              <a:custGeom>
                <a:avLst/>
                <a:gdLst>
                  <a:gd name="T0" fmla="*/ 348 w 380"/>
                  <a:gd name="T1" fmla="*/ 0 h 64"/>
                  <a:gd name="T2" fmla="*/ 32 w 380"/>
                  <a:gd name="T3" fmla="*/ 0 h 64"/>
                  <a:gd name="T4" fmla="*/ 0 w 380"/>
                  <a:gd name="T5" fmla="*/ 32 h 64"/>
                  <a:gd name="T6" fmla="*/ 32 w 380"/>
                  <a:gd name="T7" fmla="*/ 64 h 64"/>
                  <a:gd name="T8" fmla="*/ 348 w 380"/>
                  <a:gd name="T9" fmla="*/ 64 h 64"/>
                  <a:gd name="T10" fmla="*/ 380 w 380"/>
                  <a:gd name="T11" fmla="*/ 32 h 64"/>
                  <a:gd name="T12" fmla="*/ 348 w 380"/>
                  <a:gd name="T13" fmla="*/ 0 h 64"/>
                  <a:gd name="T14" fmla="*/ 348 w 380"/>
                  <a:gd name="T15" fmla="*/ 0 h 64"/>
                  <a:gd name="T16" fmla="*/ 348 w 38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64">
                    <a:moveTo>
                      <a:pt x="348" y="0"/>
                    </a:moveTo>
                    <a:cubicBezTo>
                      <a:pt x="32" y="0"/>
                      <a:pt x="32" y="0"/>
                      <a:pt x="32" y="0"/>
                    </a:cubicBezTo>
                    <a:cubicBezTo>
                      <a:pt x="15" y="0"/>
                      <a:pt x="0" y="14"/>
                      <a:pt x="0" y="32"/>
                    </a:cubicBezTo>
                    <a:cubicBezTo>
                      <a:pt x="0" y="49"/>
                      <a:pt x="15" y="64"/>
                      <a:pt x="32" y="64"/>
                    </a:cubicBezTo>
                    <a:cubicBezTo>
                      <a:pt x="348" y="64"/>
                      <a:pt x="348" y="64"/>
                      <a:pt x="348" y="64"/>
                    </a:cubicBezTo>
                    <a:cubicBezTo>
                      <a:pt x="366" y="64"/>
                      <a:pt x="380" y="49"/>
                      <a:pt x="380" y="32"/>
                    </a:cubicBezTo>
                    <a:cubicBezTo>
                      <a:pt x="380" y="14"/>
                      <a:pt x="366" y="0"/>
                      <a:pt x="348" y="0"/>
                    </a:cubicBezTo>
                    <a:close/>
                    <a:moveTo>
                      <a:pt x="348" y="0"/>
                    </a:moveTo>
                    <a:cubicBezTo>
                      <a:pt x="348" y="0"/>
                      <a:pt x="348" y="0"/>
                      <a:pt x="3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97"/>
              <p:cNvSpPr>
                <a:spLocks noEditPoints="1"/>
              </p:cNvSpPr>
              <p:nvPr/>
            </p:nvSpPr>
            <p:spPr bwMode="auto">
              <a:xfrm>
                <a:off x="3314" y="3216"/>
                <a:ext cx="475" cy="121"/>
              </a:xfrm>
              <a:custGeom>
                <a:avLst/>
                <a:gdLst>
                  <a:gd name="T0" fmla="*/ 219 w 251"/>
                  <a:gd name="T1" fmla="*/ 0 h 64"/>
                  <a:gd name="T2" fmla="*/ 32 w 251"/>
                  <a:gd name="T3" fmla="*/ 0 h 64"/>
                  <a:gd name="T4" fmla="*/ 0 w 251"/>
                  <a:gd name="T5" fmla="*/ 32 h 64"/>
                  <a:gd name="T6" fmla="*/ 32 w 251"/>
                  <a:gd name="T7" fmla="*/ 64 h 64"/>
                  <a:gd name="T8" fmla="*/ 219 w 251"/>
                  <a:gd name="T9" fmla="*/ 64 h 64"/>
                  <a:gd name="T10" fmla="*/ 251 w 251"/>
                  <a:gd name="T11" fmla="*/ 32 h 64"/>
                  <a:gd name="T12" fmla="*/ 219 w 251"/>
                  <a:gd name="T13" fmla="*/ 0 h 64"/>
                  <a:gd name="T14" fmla="*/ 219 w 251"/>
                  <a:gd name="T15" fmla="*/ 0 h 64"/>
                  <a:gd name="T16" fmla="*/ 219 w 25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64">
                    <a:moveTo>
                      <a:pt x="219" y="0"/>
                    </a:moveTo>
                    <a:cubicBezTo>
                      <a:pt x="32" y="0"/>
                      <a:pt x="32" y="0"/>
                      <a:pt x="32" y="0"/>
                    </a:cubicBezTo>
                    <a:cubicBezTo>
                      <a:pt x="15" y="0"/>
                      <a:pt x="0" y="15"/>
                      <a:pt x="0" y="32"/>
                    </a:cubicBezTo>
                    <a:cubicBezTo>
                      <a:pt x="0" y="50"/>
                      <a:pt x="15" y="64"/>
                      <a:pt x="32" y="64"/>
                    </a:cubicBezTo>
                    <a:cubicBezTo>
                      <a:pt x="219" y="64"/>
                      <a:pt x="219" y="64"/>
                      <a:pt x="219" y="64"/>
                    </a:cubicBezTo>
                    <a:cubicBezTo>
                      <a:pt x="237" y="64"/>
                      <a:pt x="251" y="50"/>
                      <a:pt x="251" y="32"/>
                    </a:cubicBezTo>
                    <a:cubicBezTo>
                      <a:pt x="251" y="15"/>
                      <a:pt x="237" y="0"/>
                      <a:pt x="219" y="0"/>
                    </a:cubicBezTo>
                    <a:close/>
                    <a:moveTo>
                      <a:pt x="219" y="0"/>
                    </a:moveTo>
                    <a:cubicBezTo>
                      <a:pt x="219" y="0"/>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98"/>
              <p:cNvSpPr>
                <a:spLocks noEditPoints="1"/>
              </p:cNvSpPr>
              <p:nvPr/>
            </p:nvSpPr>
            <p:spPr bwMode="auto">
              <a:xfrm>
                <a:off x="3912" y="3216"/>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99"/>
              <p:cNvSpPr>
                <a:spLocks noEditPoints="1"/>
              </p:cNvSpPr>
              <p:nvPr/>
            </p:nvSpPr>
            <p:spPr bwMode="auto">
              <a:xfrm>
                <a:off x="3785" y="2005"/>
                <a:ext cx="1284" cy="2241"/>
              </a:xfrm>
              <a:custGeom>
                <a:avLst/>
                <a:gdLst>
                  <a:gd name="T0" fmla="*/ 339 w 678"/>
                  <a:gd name="T1" fmla="*/ 0 h 1184"/>
                  <a:gd name="T2" fmla="*/ 0 w 678"/>
                  <a:gd name="T3" fmla="*/ 339 h 1184"/>
                  <a:gd name="T4" fmla="*/ 240 w 678"/>
                  <a:gd name="T5" fmla="*/ 664 h 1184"/>
                  <a:gd name="T6" fmla="*/ 240 w 678"/>
                  <a:gd name="T7" fmla="*/ 1085 h 1184"/>
                  <a:gd name="T8" fmla="*/ 339 w 678"/>
                  <a:gd name="T9" fmla="*/ 1184 h 1184"/>
                  <a:gd name="T10" fmla="*/ 438 w 678"/>
                  <a:gd name="T11" fmla="*/ 1085 h 1184"/>
                  <a:gd name="T12" fmla="*/ 438 w 678"/>
                  <a:gd name="T13" fmla="*/ 664 h 1184"/>
                  <a:gd name="T14" fmla="*/ 678 w 678"/>
                  <a:gd name="T15" fmla="*/ 339 h 1184"/>
                  <a:gd name="T16" fmla="*/ 339 w 678"/>
                  <a:gd name="T17" fmla="*/ 0 h 1184"/>
                  <a:gd name="T18" fmla="*/ 371 w 678"/>
                  <a:gd name="T19" fmla="*/ 66 h 1184"/>
                  <a:gd name="T20" fmla="*/ 612 w 678"/>
                  <a:gd name="T21" fmla="*/ 307 h 1184"/>
                  <a:gd name="T22" fmla="*/ 371 w 678"/>
                  <a:gd name="T23" fmla="*/ 307 h 1184"/>
                  <a:gd name="T24" fmla="*/ 371 w 678"/>
                  <a:gd name="T25" fmla="*/ 66 h 1184"/>
                  <a:gd name="T26" fmla="*/ 307 w 678"/>
                  <a:gd name="T27" fmla="*/ 66 h 1184"/>
                  <a:gd name="T28" fmla="*/ 307 w 678"/>
                  <a:gd name="T29" fmla="*/ 279 h 1184"/>
                  <a:gd name="T30" fmla="*/ 131 w 678"/>
                  <a:gd name="T31" fmla="*/ 159 h 1184"/>
                  <a:gd name="T32" fmla="*/ 307 w 678"/>
                  <a:gd name="T33" fmla="*/ 66 h 1184"/>
                  <a:gd name="T34" fmla="*/ 374 w 678"/>
                  <a:gd name="T35" fmla="*/ 1085 h 1184"/>
                  <a:gd name="T36" fmla="*/ 339 w 678"/>
                  <a:gd name="T37" fmla="*/ 1120 h 1184"/>
                  <a:gd name="T38" fmla="*/ 304 w 678"/>
                  <a:gd name="T39" fmla="*/ 1085 h 1184"/>
                  <a:gd name="T40" fmla="*/ 304 w 678"/>
                  <a:gd name="T41" fmla="*/ 677 h 1184"/>
                  <a:gd name="T42" fmla="*/ 339 w 678"/>
                  <a:gd name="T43" fmla="*/ 678 h 1184"/>
                  <a:gd name="T44" fmla="*/ 374 w 678"/>
                  <a:gd name="T45" fmla="*/ 677 h 1184"/>
                  <a:gd name="T46" fmla="*/ 374 w 678"/>
                  <a:gd name="T47" fmla="*/ 1085 h 1184"/>
                  <a:gd name="T48" fmla="*/ 339 w 678"/>
                  <a:gd name="T49" fmla="*/ 614 h 1184"/>
                  <a:gd name="T50" fmla="*/ 64 w 678"/>
                  <a:gd name="T51" fmla="*/ 339 h 1184"/>
                  <a:gd name="T52" fmla="*/ 95 w 678"/>
                  <a:gd name="T53" fmla="*/ 212 h 1184"/>
                  <a:gd name="T54" fmla="*/ 321 w 678"/>
                  <a:gd name="T55" fmla="*/ 366 h 1184"/>
                  <a:gd name="T56" fmla="*/ 339 w 678"/>
                  <a:gd name="T57" fmla="*/ 371 h 1184"/>
                  <a:gd name="T58" fmla="*/ 612 w 678"/>
                  <a:gd name="T59" fmla="*/ 371 h 1184"/>
                  <a:gd name="T60" fmla="*/ 339 w 678"/>
                  <a:gd name="T61" fmla="*/ 614 h 1184"/>
                  <a:gd name="T62" fmla="*/ 339 w 678"/>
                  <a:gd name="T63" fmla="*/ 614 h 1184"/>
                  <a:gd name="T64" fmla="*/ 339 w 678"/>
                  <a:gd name="T65" fmla="*/ 61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8" h="1184">
                    <a:moveTo>
                      <a:pt x="339" y="0"/>
                    </a:moveTo>
                    <a:cubicBezTo>
                      <a:pt x="152" y="0"/>
                      <a:pt x="0" y="152"/>
                      <a:pt x="0" y="339"/>
                    </a:cubicBezTo>
                    <a:cubicBezTo>
                      <a:pt x="0" y="492"/>
                      <a:pt x="101" y="621"/>
                      <a:pt x="240" y="664"/>
                    </a:cubicBezTo>
                    <a:cubicBezTo>
                      <a:pt x="240" y="1085"/>
                      <a:pt x="240" y="1085"/>
                      <a:pt x="240" y="1085"/>
                    </a:cubicBezTo>
                    <a:cubicBezTo>
                      <a:pt x="240" y="1140"/>
                      <a:pt x="285" y="1184"/>
                      <a:pt x="339" y="1184"/>
                    </a:cubicBezTo>
                    <a:cubicBezTo>
                      <a:pt x="394" y="1184"/>
                      <a:pt x="438" y="1140"/>
                      <a:pt x="438" y="1085"/>
                    </a:cubicBezTo>
                    <a:cubicBezTo>
                      <a:pt x="438" y="664"/>
                      <a:pt x="438" y="664"/>
                      <a:pt x="438" y="664"/>
                    </a:cubicBezTo>
                    <a:cubicBezTo>
                      <a:pt x="577" y="621"/>
                      <a:pt x="678" y="492"/>
                      <a:pt x="678" y="339"/>
                    </a:cubicBezTo>
                    <a:cubicBezTo>
                      <a:pt x="678" y="152"/>
                      <a:pt x="526" y="0"/>
                      <a:pt x="339" y="0"/>
                    </a:cubicBezTo>
                    <a:close/>
                    <a:moveTo>
                      <a:pt x="371" y="66"/>
                    </a:moveTo>
                    <a:cubicBezTo>
                      <a:pt x="497" y="81"/>
                      <a:pt x="598" y="181"/>
                      <a:pt x="612" y="307"/>
                    </a:cubicBezTo>
                    <a:cubicBezTo>
                      <a:pt x="371" y="307"/>
                      <a:pt x="371" y="307"/>
                      <a:pt x="371" y="307"/>
                    </a:cubicBezTo>
                    <a:lnTo>
                      <a:pt x="371" y="66"/>
                    </a:lnTo>
                    <a:close/>
                    <a:moveTo>
                      <a:pt x="307" y="66"/>
                    </a:moveTo>
                    <a:cubicBezTo>
                      <a:pt x="307" y="279"/>
                      <a:pt x="307" y="279"/>
                      <a:pt x="307" y="279"/>
                    </a:cubicBezTo>
                    <a:cubicBezTo>
                      <a:pt x="131" y="159"/>
                      <a:pt x="131" y="159"/>
                      <a:pt x="131" y="159"/>
                    </a:cubicBezTo>
                    <a:cubicBezTo>
                      <a:pt x="175" y="109"/>
                      <a:pt x="237" y="74"/>
                      <a:pt x="307" y="66"/>
                    </a:cubicBezTo>
                    <a:close/>
                    <a:moveTo>
                      <a:pt x="374" y="1085"/>
                    </a:moveTo>
                    <a:cubicBezTo>
                      <a:pt x="374" y="1105"/>
                      <a:pt x="359" y="1120"/>
                      <a:pt x="339" y="1120"/>
                    </a:cubicBezTo>
                    <a:cubicBezTo>
                      <a:pt x="320" y="1120"/>
                      <a:pt x="304" y="1105"/>
                      <a:pt x="304" y="1085"/>
                    </a:cubicBezTo>
                    <a:cubicBezTo>
                      <a:pt x="304" y="677"/>
                      <a:pt x="304" y="677"/>
                      <a:pt x="304" y="677"/>
                    </a:cubicBezTo>
                    <a:cubicBezTo>
                      <a:pt x="316" y="678"/>
                      <a:pt x="327" y="678"/>
                      <a:pt x="339" y="678"/>
                    </a:cubicBezTo>
                    <a:cubicBezTo>
                      <a:pt x="351" y="678"/>
                      <a:pt x="363" y="678"/>
                      <a:pt x="374" y="677"/>
                    </a:cubicBezTo>
                    <a:lnTo>
                      <a:pt x="374" y="1085"/>
                    </a:lnTo>
                    <a:close/>
                    <a:moveTo>
                      <a:pt x="339" y="614"/>
                    </a:moveTo>
                    <a:cubicBezTo>
                      <a:pt x="187" y="614"/>
                      <a:pt x="64" y="491"/>
                      <a:pt x="64" y="339"/>
                    </a:cubicBezTo>
                    <a:cubicBezTo>
                      <a:pt x="64" y="293"/>
                      <a:pt x="75" y="250"/>
                      <a:pt x="95" y="212"/>
                    </a:cubicBezTo>
                    <a:cubicBezTo>
                      <a:pt x="321" y="366"/>
                      <a:pt x="321" y="366"/>
                      <a:pt x="321" y="366"/>
                    </a:cubicBezTo>
                    <a:cubicBezTo>
                      <a:pt x="326" y="369"/>
                      <a:pt x="333" y="371"/>
                      <a:pt x="339" y="371"/>
                    </a:cubicBezTo>
                    <a:cubicBezTo>
                      <a:pt x="612" y="371"/>
                      <a:pt x="612" y="371"/>
                      <a:pt x="612" y="371"/>
                    </a:cubicBezTo>
                    <a:cubicBezTo>
                      <a:pt x="597" y="508"/>
                      <a:pt x="480" y="614"/>
                      <a:pt x="339" y="614"/>
                    </a:cubicBezTo>
                    <a:close/>
                    <a:moveTo>
                      <a:pt x="339" y="614"/>
                    </a:moveTo>
                    <a:cubicBezTo>
                      <a:pt x="339" y="614"/>
                      <a:pt x="339" y="614"/>
                      <a:pt x="339" y="6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 8"/>
          <p:cNvGrpSpPr/>
          <p:nvPr/>
        </p:nvGrpSpPr>
        <p:grpSpPr>
          <a:xfrm>
            <a:off x="800527" y="2135070"/>
            <a:ext cx="1149459" cy="1147957"/>
            <a:chOff x="507402" y="3236259"/>
            <a:chExt cx="1737360" cy="1737360"/>
          </a:xfrm>
        </p:grpSpPr>
        <p:sp>
          <p:nvSpPr>
            <p:cNvPr id="6" name="Oval 5"/>
            <p:cNvSpPr>
              <a:spLocks noChangeAspect="1"/>
            </p:cNvSpPr>
            <p:nvPr/>
          </p:nvSpPr>
          <p:spPr>
            <a:xfrm>
              <a:off x="507402" y="3236259"/>
              <a:ext cx="1737360" cy="1737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2" name="Group 531"/>
            <p:cNvGrpSpPr>
              <a:grpSpLocks noChangeAspect="1"/>
            </p:cNvGrpSpPr>
            <p:nvPr/>
          </p:nvGrpSpPr>
          <p:grpSpPr bwMode="auto">
            <a:xfrm>
              <a:off x="1010322" y="3739179"/>
              <a:ext cx="731520" cy="731520"/>
              <a:chOff x="3058" y="844"/>
              <a:chExt cx="3101" cy="3101"/>
            </a:xfrm>
            <a:solidFill>
              <a:schemeClr val="bg1"/>
            </a:solidFill>
          </p:grpSpPr>
          <p:sp>
            <p:nvSpPr>
              <p:cNvPr id="73" name="Freeform 532"/>
              <p:cNvSpPr>
                <a:spLocks noEditPoints="1"/>
              </p:cNvSpPr>
              <p:nvPr/>
            </p:nvSpPr>
            <p:spPr bwMode="auto">
              <a:xfrm>
                <a:off x="3866" y="844"/>
                <a:ext cx="1485" cy="1611"/>
              </a:xfrm>
              <a:custGeom>
                <a:avLst/>
                <a:gdLst>
                  <a:gd name="T0" fmla="*/ 548 w 784"/>
                  <a:gd name="T1" fmla="*/ 422 h 851"/>
                  <a:gd name="T2" fmla="*/ 534 w 784"/>
                  <a:gd name="T3" fmla="*/ 422 h 851"/>
                  <a:gd name="T4" fmla="*/ 583 w 784"/>
                  <a:gd name="T5" fmla="*/ 296 h 851"/>
                  <a:gd name="T6" fmla="*/ 583 w 784"/>
                  <a:gd name="T7" fmla="*/ 191 h 851"/>
                  <a:gd name="T8" fmla="*/ 392 w 784"/>
                  <a:gd name="T9" fmla="*/ 0 h 851"/>
                  <a:gd name="T10" fmla="*/ 202 w 784"/>
                  <a:gd name="T11" fmla="*/ 191 h 851"/>
                  <a:gd name="T12" fmla="*/ 202 w 784"/>
                  <a:gd name="T13" fmla="*/ 296 h 851"/>
                  <a:gd name="T14" fmla="*/ 250 w 784"/>
                  <a:gd name="T15" fmla="*/ 422 h 851"/>
                  <a:gd name="T16" fmla="*/ 237 w 784"/>
                  <a:gd name="T17" fmla="*/ 422 h 851"/>
                  <a:gd name="T18" fmla="*/ 0 w 784"/>
                  <a:gd name="T19" fmla="*/ 659 h 851"/>
                  <a:gd name="T20" fmla="*/ 0 w 784"/>
                  <a:gd name="T21" fmla="*/ 819 h 851"/>
                  <a:gd name="T22" fmla="*/ 32 w 784"/>
                  <a:gd name="T23" fmla="*/ 851 h 851"/>
                  <a:gd name="T24" fmla="*/ 752 w 784"/>
                  <a:gd name="T25" fmla="*/ 851 h 851"/>
                  <a:gd name="T26" fmla="*/ 784 w 784"/>
                  <a:gd name="T27" fmla="*/ 819 h 851"/>
                  <a:gd name="T28" fmla="*/ 784 w 784"/>
                  <a:gd name="T29" fmla="*/ 659 h 851"/>
                  <a:gd name="T30" fmla="*/ 548 w 784"/>
                  <a:gd name="T31" fmla="*/ 422 h 851"/>
                  <a:gd name="T32" fmla="*/ 392 w 784"/>
                  <a:gd name="T33" fmla="*/ 64 h 851"/>
                  <a:gd name="T34" fmla="*/ 517 w 784"/>
                  <a:gd name="T35" fmla="*/ 172 h 851"/>
                  <a:gd name="T36" fmla="*/ 461 w 784"/>
                  <a:gd name="T37" fmla="*/ 139 h 851"/>
                  <a:gd name="T38" fmla="*/ 420 w 784"/>
                  <a:gd name="T39" fmla="*/ 146 h 851"/>
                  <a:gd name="T40" fmla="*/ 311 w 784"/>
                  <a:gd name="T41" fmla="*/ 197 h 851"/>
                  <a:gd name="T42" fmla="*/ 266 w 784"/>
                  <a:gd name="T43" fmla="*/ 197 h 851"/>
                  <a:gd name="T44" fmla="*/ 266 w 784"/>
                  <a:gd name="T45" fmla="*/ 191 h 851"/>
                  <a:gd name="T46" fmla="*/ 392 w 784"/>
                  <a:gd name="T47" fmla="*/ 64 h 851"/>
                  <a:gd name="T48" fmla="*/ 266 w 784"/>
                  <a:gd name="T49" fmla="*/ 261 h 851"/>
                  <a:gd name="T50" fmla="*/ 311 w 784"/>
                  <a:gd name="T51" fmla="*/ 261 h 851"/>
                  <a:gd name="T52" fmla="*/ 450 w 784"/>
                  <a:gd name="T53" fmla="*/ 207 h 851"/>
                  <a:gd name="T54" fmla="*/ 519 w 784"/>
                  <a:gd name="T55" fmla="*/ 247 h 851"/>
                  <a:gd name="T56" fmla="*/ 519 w 784"/>
                  <a:gd name="T57" fmla="*/ 296 h 851"/>
                  <a:gd name="T58" fmla="*/ 392 w 784"/>
                  <a:gd name="T59" fmla="*/ 422 h 851"/>
                  <a:gd name="T60" fmla="*/ 266 w 784"/>
                  <a:gd name="T61" fmla="*/ 296 h 851"/>
                  <a:gd name="T62" fmla="*/ 266 w 784"/>
                  <a:gd name="T63" fmla="*/ 261 h 851"/>
                  <a:gd name="T64" fmla="*/ 720 w 784"/>
                  <a:gd name="T65" fmla="*/ 787 h 851"/>
                  <a:gd name="T66" fmla="*/ 64 w 784"/>
                  <a:gd name="T67" fmla="*/ 787 h 851"/>
                  <a:gd name="T68" fmla="*/ 64 w 784"/>
                  <a:gd name="T69" fmla="*/ 659 h 851"/>
                  <a:gd name="T70" fmla="*/ 237 w 784"/>
                  <a:gd name="T71" fmla="*/ 486 h 851"/>
                  <a:gd name="T72" fmla="*/ 360 w 784"/>
                  <a:gd name="T73" fmla="*/ 486 h 851"/>
                  <a:gd name="T74" fmla="*/ 360 w 784"/>
                  <a:gd name="T75" fmla="*/ 550 h 851"/>
                  <a:gd name="T76" fmla="*/ 392 w 784"/>
                  <a:gd name="T77" fmla="*/ 582 h 851"/>
                  <a:gd name="T78" fmla="*/ 424 w 784"/>
                  <a:gd name="T79" fmla="*/ 550 h 851"/>
                  <a:gd name="T80" fmla="*/ 424 w 784"/>
                  <a:gd name="T81" fmla="*/ 486 h 851"/>
                  <a:gd name="T82" fmla="*/ 548 w 784"/>
                  <a:gd name="T83" fmla="*/ 486 h 851"/>
                  <a:gd name="T84" fmla="*/ 720 w 784"/>
                  <a:gd name="T85" fmla="*/ 659 h 851"/>
                  <a:gd name="T86" fmla="*/ 720 w 784"/>
                  <a:gd name="T87" fmla="*/ 787 h 851"/>
                  <a:gd name="T88" fmla="*/ 720 w 784"/>
                  <a:gd name="T89" fmla="*/ 787 h 851"/>
                  <a:gd name="T90" fmla="*/ 720 w 784"/>
                  <a:gd name="T91" fmla="*/ 787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4" h="851">
                    <a:moveTo>
                      <a:pt x="548" y="422"/>
                    </a:moveTo>
                    <a:cubicBezTo>
                      <a:pt x="534" y="422"/>
                      <a:pt x="534" y="422"/>
                      <a:pt x="534" y="422"/>
                    </a:cubicBezTo>
                    <a:cubicBezTo>
                      <a:pt x="564" y="389"/>
                      <a:pt x="583" y="345"/>
                      <a:pt x="583" y="296"/>
                    </a:cubicBezTo>
                    <a:cubicBezTo>
                      <a:pt x="583" y="191"/>
                      <a:pt x="583" y="191"/>
                      <a:pt x="583" y="191"/>
                    </a:cubicBezTo>
                    <a:cubicBezTo>
                      <a:pt x="583" y="85"/>
                      <a:pt x="497" y="0"/>
                      <a:pt x="392" y="0"/>
                    </a:cubicBezTo>
                    <a:cubicBezTo>
                      <a:pt x="287" y="0"/>
                      <a:pt x="202" y="85"/>
                      <a:pt x="202" y="191"/>
                    </a:cubicBezTo>
                    <a:cubicBezTo>
                      <a:pt x="202" y="296"/>
                      <a:pt x="202" y="296"/>
                      <a:pt x="202" y="296"/>
                    </a:cubicBezTo>
                    <a:cubicBezTo>
                      <a:pt x="202" y="344"/>
                      <a:pt x="220" y="389"/>
                      <a:pt x="250" y="422"/>
                    </a:cubicBezTo>
                    <a:cubicBezTo>
                      <a:pt x="237" y="422"/>
                      <a:pt x="237" y="422"/>
                      <a:pt x="237" y="422"/>
                    </a:cubicBezTo>
                    <a:cubicBezTo>
                      <a:pt x="106" y="422"/>
                      <a:pt x="0" y="529"/>
                      <a:pt x="0" y="659"/>
                    </a:cubicBezTo>
                    <a:cubicBezTo>
                      <a:pt x="0" y="819"/>
                      <a:pt x="0" y="819"/>
                      <a:pt x="0" y="819"/>
                    </a:cubicBezTo>
                    <a:cubicBezTo>
                      <a:pt x="0" y="837"/>
                      <a:pt x="14" y="851"/>
                      <a:pt x="32" y="851"/>
                    </a:cubicBezTo>
                    <a:cubicBezTo>
                      <a:pt x="752" y="851"/>
                      <a:pt x="752" y="851"/>
                      <a:pt x="752" y="851"/>
                    </a:cubicBezTo>
                    <a:cubicBezTo>
                      <a:pt x="770" y="851"/>
                      <a:pt x="784" y="837"/>
                      <a:pt x="784" y="819"/>
                    </a:cubicBezTo>
                    <a:cubicBezTo>
                      <a:pt x="784" y="659"/>
                      <a:pt x="784" y="659"/>
                      <a:pt x="784" y="659"/>
                    </a:cubicBezTo>
                    <a:cubicBezTo>
                      <a:pt x="784" y="529"/>
                      <a:pt x="678" y="422"/>
                      <a:pt x="548" y="422"/>
                    </a:cubicBezTo>
                    <a:close/>
                    <a:moveTo>
                      <a:pt x="392" y="64"/>
                    </a:moveTo>
                    <a:cubicBezTo>
                      <a:pt x="456" y="64"/>
                      <a:pt x="508" y="111"/>
                      <a:pt x="517" y="172"/>
                    </a:cubicBezTo>
                    <a:cubicBezTo>
                      <a:pt x="461" y="139"/>
                      <a:pt x="461" y="139"/>
                      <a:pt x="461" y="139"/>
                    </a:cubicBezTo>
                    <a:cubicBezTo>
                      <a:pt x="447" y="131"/>
                      <a:pt x="430" y="134"/>
                      <a:pt x="420" y="146"/>
                    </a:cubicBezTo>
                    <a:cubicBezTo>
                      <a:pt x="393" y="178"/>
                      <a:pt x="353" y="197"/>
                      <a:pt x="311" y="197"/>
                    </a:cubicBezTo>
                    <a:cubicBezTo>
                      <a:pt x="266" y="197"/>
                      <a:pt x="266" y="197"/>
                      <a:pt x="266" y="197"/>
                    </a:cubicBezTo>
                    <a:cubicBezTo>
                      <a:pt x="266" y="191"/>
                      <a:pt x="266" y="191"/>
                      <a:pt x="266" y="191"/>
                    </a:cubicBezTo>
                    <a:cubicBezTo>
                      <a:pt x="266" y="121"/>
                      <a:pt x="322" y="64"/>
                      <a:pt x="392" y="64"/>
                    </a:cubicBezTo>
                    <a:close/>
                    <a:moveTo>
                      <a:pt x="266" y="261"/>
                    </a:moveTo>
                    <a:cubicBezTo>
                      <a:pt x="311" y="261"/>
                      <a:pt x="311" y="261"/>
                      <a:pt x="311" y="261"/>
                    </a:cubicBezTo>
                    <a:cubicBezTo>
                      <a:pt x="363" y="261"/>
                      <a:pt x="412" y="241"/>
                      <a:pt x="450" y="207"/>
                    </a:cubicBezTo>
                    <a:cubicBezTo>
                      <a:pt x="519" y="247"/>
                      <a:pt x="519" y="247"/>
                      <a:pt x="519" y="247"/>
                    </a:cubicBezTo>
                    <a:cubicBezTo>
                      <a:pt x="519" y="296"/>
                      <a:pt x="519" y="296"/>
                      <a:pt x="519" y="296"/>
                    </a:cubicBezTo>
                    <a:cubicBezTo>
                      <a:pt x="519" y="366"/>
                      <a:pt x="462" y="422"/>
                      <a:pt x="392" y="422"/>
                    </a:cubicBezTo>
                    <a:cubicBezTo>
                      <a:pt x="322" y="422"/>
                      <a:pt x="266" y="366"/>
                      <a:pt x="266" y="296"/>
                    </a:cubicBezTo>
                    <a:lnTo>
                      <a:pt x="266" y="261"/>
                    </a:lnTo>
                    <a:close/>
                    <a:moveTo>
                      <a:pt x="720" y="787"/>
                    </a:moveTo>
                    <a:cubicBezTo>
                      <a:pt x="64" y="787"/>
                      <a:pt x="64" y="787"/>
                      <a:pt x="64" y="787"/>
                    </a:cubicBezTo>
                    <a:cubicBezTo>
                      <a:pt x="64" y="659"/>
                      <a:pt x="64" y="659"/>
                      <a:pt x="64" y="659"/>
                    </a:cubicBezTo>
                    <a:cubicBezTo>
                      <a:pt x="64" y="564"/>
                      <a:pt x="141" y="486"/>
                      <a:pt x="237" y="486"/>
                    </a:cubicBezTo>
                    <a:cubicBezTo>
                      <a:pt x="360" y="486"/>
                      <a:pt x="360" y="486"/>
                      <a:pt x="360" y="486"/>
                    </a:cubicBezTo>
                    <a:cubicBezTo>
                      <a:pt x="360" y="550"/>
                      <a:pt x="360" y="550"/>
                      <a:pt x="360" y="550"/>
                    </a:cubicBezTo>
                    <a:cubicBezTo>
                      <a:pt x="360" y="568"/>
                      <a:pt x="375" y="582"/>
                      <a:pt x="392" y="582"/>
                    </a:cubicBezTo>
                    <a:cubicBezTo>
                      <a:pt x="410" y="582"/>
                      <a:pt x="424" y="568"/>
                      <a:pt x="424" y="550"/>
                    </a:cubicBezTo>
                    <a:cubicBezTo>
                      <a:pt x="424" y="486"/>
                      <a:pt x="424" y="486"/>
                      <a:pt x="424" y="486"/>
                    </a:cubicBezTo>
                    <a:cubicBezTo>
                      <a:pt x="548" y="486"/>
                      <a:pt x="548" y="486"/>
                      <a:pt x="548" y="486"/>
                    </a:cubicBezTo>
                    <a:cubicBezTo>
                      <a:pt x="643" y="486"/>
                      <a:pt x="720" y="564"/>
                      <a:pt x="720" y="659"/>
                    </a:cubicBezTo>
                    <a:lnTo>
                      <a:pt x="720" y="787"/>
                    </a:lnTo>
                    <a:close/>
                    <a:moveTo>
                      <a:pt x="720" y="787"/>
                    </a:moveTo>
                    <a:cubicBezTo>
                      <a:pt x="720" y="787"/>
                      <a:pt x="720" y="787"/>
                      <a:pt x="720" y="7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4" name="Freeform 533"/>
              <p:cNvSpPr>
                <a:spLocks noEditPoints="1"/>
              </p:cNvSpPr>
              <p:nvPr/>
            </p:nvSpPr>
            <p:spPr bwMode="auto">
              <a:xfrm>
                <a:off x="3058" y="2762"/>
                <a:ext cx="1236" cy="1183"/>
              </a:xfrm>
              <a:custGeom>
                <a:avLst/>
                <a:gdLst>
                  <a:gd name="T0" fmla="*/ 493 w 653"/>
                  <a:gd name="T1" fmla="*/ 263 h 625"/>
                  <a:gd name="T2" fmla="*/ 449 w 653"/>
                  <a:gd name="T3" fmla="*/ 263 h 625"/>
                  <a:gd name="T4" fmla="*/ 475 w 653"/>
                  <a:gd name="T5" fmla="*/ 178 h 625"/>
                  <a:gd name="T6" fmla="*/ 475 w 653"/>
                  <a:gd name="T7" fmla="*/ 149 h 625"/>
                  <a:gd name="T8" fmla="*/ 326 w 653"/>
                  <a:gd name="T9" fmla="*/ 0 h 625"/>
                  <a:gd name="T10" fmla="*/ 177 w 653"/>
                  <a:gd name="T11" fmla="*/ 149 h 625"/>
                  <a:gd name="T12" fmla="*/ 177 w 653"/>
                  <a:gd name="T13" fmla="*/ 178 h 625"/>
                  <a:gd name="T14" fmla="*/ 204 w 653"/>
                  <a:gd name="T15" fmla="*/ 263 h 625"/>
                  <a:gd name="T16" fmla="*/ 160 w 653"/>
                  <a:gd name="T17" fmla="*/ 263 h 625"/>
                  <a:gd name="T18" fmla="*/ 0 w 653"/>
                  <a:gd name="T19" fmla="*/ 423 h 625"/>
                  <a:gd name="T20" fmla="*/ 0 w 653"/>
                  <a:gd name="T21" fmla="*/ 593 h 625"/>
                  <a:gd name="T22" fmla="*/ 32 w 653"/>
                  <a:gd name="T23" fmla="*/ 625 h 625"/>
                  <a:gd name="T24" fmla="*/ 621 w 653"/>
                  <a:gd name="T25" fmla="*/ 625 h 625"/>
                  <a:gd name="T26" fmla="*/ 653 w 653"/>
                  <a:gd name="T27" fmla="*/ 593 h 625"/>
                  <a:gd name="T28" fmla="*/ 653 w 653"/>
                  <a:gd name="T29" fmla="*/ 423 h 625"/>
                  <a:gd name="T30" fmla="*/ 493 w 653"/>
                  <a:gd name="T31" fmla="*/ 263 h 625"/>
                  <a:gd name="T32" fmla="*/ 241 w 653"/>
                  <a:gd name="T33" fmla="*/ 149 h 625"/>
                  <a:gd name="T34" fmla="*/ 326 w 653"/>
                  <a:gd name="T35" fmla="*/ 64 h 625"/>
                  <a:gd name="T36" fmla="*/ 411 w 653"/>
                  <a:gd name="T37" fmla="*/ 149 h 625"/>
                  <a:gd name="T38" fmla="*/ 411 w 653"/>
                  <a:gd name="T39" fmla="*/ 178 h 625"/>
                  <a:gd name="T40" fmla="*/ 326 w 653"/>
                  <a:gd name="T41" fmla="*/ 263 h 625"/>
                  <a:gd name="T42" fmla="*/ 241 w 653"/>
                  <a:gd name="T43" fmla="*/ 178 h 625"/>
                  <a:gd name="T44" fmla="*/ 241 w 653"/>
                  <a:gd name="T45" fmla="*/ 149 h 625"/>
                  <a:gd name="T46" fmla="*/ 589 w 653"/>
                  <a:gd name="T47" fmla="*/ 561 h 625"/>
                  <a:gd name="T48" fmla="*/ 64 w 653"/>
                  <a:gd name="T49" fmla="*/ 561 h 625"/>
                  <a:gd name="T50" fmla="*/ 64 w 653"/>
                  <a:gd name="T51" fmla="*/ 423 h 625"/>
                  <a:gd name="T52" fmla="*/ 160 w 653"/>
                  <a:gd name="T53" fmla="*/ 327 h 625"/>
                  <a:gd name="T54" fmla="*/ 294 w 653"/>
                  <a:gd name="T55" fmla="*/ 327 h 625"/>
                  <a:gd name="T56" fmla="*/ 294 w 653"/>
                  <a:gd name="T57" fmla="*/ 392 h 625"/>
                  <a:gd name="T58" fmla="*/ 326 w 653"/>
                  <a:gd name="T59" fmla="*/ 424 h 625"/>
                  <a:gd name="T60" fmla="*/ 358 w 653"/>
                  <a:gd name="T61" fmla="*/ 392 h 625"/>
                  <a:gd name="T62" fmla="*/ 358 w 653"/>
                  <a:gd name="T63" fmla="*/ 327 h 625"/>
                  <a:gd name="T64" fmla="*/ 493 w 653"/>
                  <a:gd name="T65" fmla="*/ 327 h 625"/>
                  <a:gd name="T66" fmla="*/ 589 w 653"/>
                  <a:gd name="T67" fmla="*/ 423 h 625"/>
                  <a:gd name="T68" fmla="*/ 589 w 653"/>
                  <a:gd name="T69" fmla="*/ 561 h 625"/>
                  <a:gd name="T70" fmla="*/ 589 w 653"/>
                  <a:gd name="T71" fmla="*/ 561 h 625"/>
                  <a:gd name="T72" fmla="*/ 589 w 653"/>
                  <a:gd name="T73" fmla="*/ 5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3" h="625">
                    <a:moveTo>
                      <a:pt x="493" y="263"/>
                    </a:moveTo>
                    <a:cubicBezTo>
                      <a:pt x="449" y="263"/>
                      <a:pt x="449" y="263"/>
                      <a:pt x="449" y="263"/>
                    </a:cubicBezTo>
                    <a:cubicBezTo>
                      <a:pt x="465" y="239"/>
                      <a:pt x="475" y="210"/>
                      <a:pt x="475" y="178"/>
                    </a:cubicBezTo>
                    <a:cubicBezTo>
                      <a:pt x="475" y="149"/>
                      <a:pt x="475" y="149"/>
                      <a:pt x="475" y="149"/>
                    </a:cubicBezTo>
                    <a:cubicBezTo>
                      <a:pt x="475" y="67"/>
                      <a:pt x="409" y="0"/>
                      <a:pt x="326" y="0"/>
                    </a:cubicBezTo>
                    <a:cubicBezTo>
                      <a:pt x="244" y="0"/>
                      <a:pt x="177" y="67"/>
                      <a:pt x="177" y="149"/>
                    </a:cubicBezTo>
                    <a:cubicBezTo>
                      <a:pt x="177" y="178"/>
                      <a:pt x="177" y="178"/>
                      <a:pt x="177" y="178"/>
                    </a:cubicBezTo>
                    <a:cubicBezTo>
                      <a:pt x="177" y="210"/>
                      <a:pt x="187" y="239"/>
                      <a:pt x="204" y="263"/>
                    </a:cubicBezTo>
                    <a:cubicBezTo>
                      <a:pt x="160" y="263"/>
                      <a:pt x="160" y="263"/>
                      <a:pt x="160" y="263"/>
                    </a:cubicBezTo>
                    <a:cubicBezTo>
                      <a:pt x="72" y="263"/>
                      <a:pt x="0" y="335"/>
                      <a:pt x="0" y="423"/>
                    </a:cubicBezTo>
                    <a:cubicBezTo>
                      <a:pt x="0" y="593"/>
                      <a:pt x="0" y="593"/>
                      <a:pt x="0" y="593"/>
                    </a:cubicBezTo>
                    <a:cubicBezTo>
                      <a:pt x="0" y="611"/>
                      <a:pt x="14" y="625"/>
                      <a:pt x="32" y="625"/>
                    </a:cubicBezTo>
                    <a:cubicBezTo>
                      <a:pt x="621" y="625"/>
                      <a:pt x="621" y="625"/>
                      <a:pt x="621" y="625"/>
                    </a:cubicBezTo>
                    <a:cubicBezTo>
                      <a:pt x="638" y="625"/>
                      <a:pt x="653" y="611"/>
                      <a:pt x="653" y="593"/>
                    </a:cubicBezTo>
                    <a:cubicBezTo>
                      <a:pt x="653" y="423"/>
                      <a:pt x="653" y="423"/>
                      <a:pt x="653" y="423"/>
                    </a:cubicBezTo>
                    <a:cubicBezTo>
                      <a:pt x="653" y="335"/>
                      <a:pt x="581" y="263"/>
                      <a:pt x="493" y="263"/>
                    </a:cubicBezTo>
                    <a:close/>
                    <a:moveTo>
                      <a:pt x="241" y="149"/>
                    </a:moveTo>
                    <a:cubicBezTo>
                      <a:pt x="241" y="102"/>
                      <a:pt x="280" y="64"/>
                      <a:pt x="326" y="64"/>
                    </a:cubicBezTo>
                    <a:cubicBezTo>
                      <a:pt x="373" y="64"/>
                      <a:pt x="411" y="102"/>
                      <a:pt x="411" y="149"/>
                    </a:cubicBezTo>
                    <a:cubicBezTo>
                      <a:pt x="411" y="178"/>
                      <a:pt x="411" y="178"/>
                      <a:pt x="411" y="178"/>
                    </a:cubicBezTo>
                    <a:cubicBezTo>
                      <a:pt x="411" y="225"/>
                      <a:pt x="373" y="263"/>
                      <a:pt x="326" y="263"/>
                    </a:cubicBezTo>
                    <a:cubicBezTo>
                      <a:pt x="280" y="263"/>
                      <a:pt x="241" y="225"/>
                      <a:pt x="241" y="178"/>
                    </a:cubicBezTo>
                    <a:lnTo>
                      <a:pt x="241" y="149"/>
                    </a:lnTo>
                    <a:close/>
                    <a:moveTo>
                      <a:pt x="589" y="561"/>
                    </a:moveTo>
                    <a:cubicBezTo>
                      <a:pt x="64" y="561"/>
                      <a:pt x="64" y="561"/>
                      <a:pt x="64" y="561"/>
                    </a:cubicBezTo>
                    <a:cubicBezTo>
                      <a:pt x="64" y="423"/>
                      <a:pt x="64" y="423"/>
                      <a:pt x="64" y="423"/>
                    </a:cubicBezTo>
                    <a:cubicBezTo>
                      <a:pt x="64" y="370"/>
                      <a:pt x="107" y="327"/>
                      <a:pt x="160" y="327"/>
                    </a:cubicBezTo>
                    <a:cubicBezTo>
                      <a:pt x="294" y="327"/>
                      <a:pt x="294" y="327"/>
                      <a:pt x="294" y="327"/>
                    </a:cubicBezTo>
                    <a:cubicBezTo>
                      <a:pt x="294" y="392"/>
                      <a:pt x="294" y="392"/>
                      <a:pt x="294" y="392"/>
                    </a:cubicBezTo>
                    <a:cubicBezTo>
                      <a:pt x="294" y="409"/>
                      <a:pt x="309" y="424"/>
                      <a:pt x="326" y="424"/>
                    </a:cubicBezTo>
                    <a:cubicBezTo>
                      <a:pt x="344" y="424"/>
                      <a:pt x="358" y="409"/>
                      <a:pt x="358" y="392"/>
                    </a:cubicBezTo>
                    <a:cubicBezTo>
                      <a:pt x="358" y="327"/>
                      <a:pt x="358" y="327"/>
                      <a:pt x="358" y="327"/>
                    </a:cubicBezTo>
                    <a:cubicBezTo>
                      <a:pt x="493" y="327"/>
                      <a:pt x="493" y="327"/>
                      <a:pt x="493" y="327"/>
                    </a:cubicBezTo>
                    <a:cubicBezTo>
                      <a:pt x="546" y="327"/>
                      <a:pt x="589" y="370"/>
                      <a:pt x="589" y="423"/>
                    </a:cubicBezTo>
                    <a:lnTo>
                      <a:pt x="589" y="561"/>
                    </a:lnTo>
                    <a:close/>
                    <a:moveTo>
                      <a:pt x="589" y="561"/>
                    </a:moveTo>
                    <a:cubicBezTo>
                      <a:pt x="589" y="561"/>
                      <a:pt x="589" y="561"/>
                      <a:pt x="589" y="5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5" name="Freeform 534"/>
              <p:cNvSpPr>
                <a:spLocks noEditPoints="1"/>
              </p:cNvSpPr>
              <p:nvPr/>
            </p:nvSpPr>
            <p:spPr bwMode="auto">
              <a:xfrm>
                <a:off x="4925" y="2762"/>
                <a:ext cx="1234" cy="1183"/>
              </a:xfrm>
              <a:custGeom>
                <a:avLst/>
                <a:gdLst>
                  <a:gd name="T0" fmla="*/ 492 w 652"/>
                  <a:gd name="T1" fmla="*/ 263 h 625"/>
                  <a:gd name="T2" fmla="*/ 448 w 652"/>
                  <a:gd name="T3" fmla="*/ 263 h 625"/>
                  <a:gd name="T4" fmla="*/ 475 w 652"/>
                  <a:gd name="T5" fmla="*/ 178 h 625"/>
                  <a:gd name="T6" fmla="*/ 475 w 652"/>
                  <a:gd name="T7" fmla="*/ 149 h 625"/>
                  <a:gd name="T8" fmla="*/ 326 w 652"/>
                  <a:gd name="T9" fmla="*/ 0 h 625"/>
                  <a:gd name="T10" fmla="*/ 177 w 652"/>
                  <a:gd name="T11" fmla="*/ 149 h 625"/>
                  <a:gd name="T12" fmla="*/ 177 w 652"/>
                  <a:gd name="T13" fmla="*/ 178 h 625"/>
                  <a:gd name="T14" fmla="*/ 204 w 652"/>
                  <a:gd name="T15" fmla="*/ 263 h 625"/>
                  <a:gd name="T16" fmla="*/ 160 w 652"/>
                  <a:gd name="T17" fmla="*/ 263 h 625"/>
                  <a:gd name="T18" fmla="*/ 0 w 652"/>
                  <a:gd name="T19" fmla="*/ 423 h 625"/>
                  <a:gd name="T20" fmla="*/ 0 w 652"/>
                  <a:gd name="T21" fmla="*/ 593 h 625"/>
                  <a:gd name="T22" fmla="*/ 32 w 652"/>
                  <a:gd name="T23" fmla="*/ 625 h 625"/>
                  <a:gd name="T24" fmla="*/ 620 w 652"/>
                  <a:gd name="T25" fmla="*/ 625 h 625"/>
                  <a:gd name="T26" fmla="*/ 652 w 652"/>
                  <a:gd name="T27" fmla="*/ 593 h 625"/>
                  <a:gd name="T28" fmla="*/ 652 w 652"/>
                  <a:gd name="T29" fmla="*/ 423 h 625"/>
                  <a:gd name="T30" fmla="*/ 492 w 652"/>
                  <a:gd name="T31" fmla="*/ 263 h 625"/>
                  <a:gd name="T32" fmla="*/ 241 w 652"/>
                  <a:gd name="T33" fmla="*/ 149 h 625"/>
                  <a:gd name="T34" fmla="*/ 326 w 652"/>
                  <a:gd name="T35" fmla="*/ 64 h 625"/>
                  <a:gd name="T36" fmla="*/ 411 w 652"/>
                  <a:gd name="T37" fmla="*/ 149 h 625"/>
                  <a:gd name="T38" fmla="*/ 411 w 652"/>
                  <a:gd name="T39" fmla="*/ 178 h 625"/>
                  <a:gd name="T40" fmla="*/ 326 w 652"/>
                  <a:gd name="T41" fmla="*/ 263 h 625"/>
                  <a:gd name="T42" fmla="*/ 241 w 652"/>
                  <a:gd name="T43" fmla="*/ 178 h 625"/>
                  <a:gd name="T44" fmla="*/ 241 w 652"/>
                  <a:gd name="T45" fmla="*/ 149 h 625"/>
                  <a:gd name="T46" fmla="*/ 588 w 652"/>
                  <a:gd name="T47" fmla="*/ 561 h 625"/>
                  <a:gd name="T48" fmla="*/ 64 w 652"/>
                  <a:gd name="T49" fmla="*/ 561 h 625"/>
                  <a:gd name="T50" fmla="*/ 64 w 652"/>
                  <a:gd name="T51" fmla="*/ 423 h 625"/>
                  <a:gd name="T52" fmla="*/ 160 w 652"/>
                  <a:gd name="T53" fmla="*/ 327 h 625"/>
                  <a:gd name="T54" fmla="*/ 294 w 652"/>
                  <a:gd name="T55" fmla="*/ 327 h 625"/>
                  <a:gd name="T56" fmla="*/ 294 w 652"/>
                  <a:gd name="T57" fmla="*/ 392 h 625"/>
                  <a:gd name="T58" fmla="*/ 326 w 652"/>
                  <a:gd name="T59" fmla="*/ 424 h 625"/>
                  <a:gd name="T60" fmla="*/ 358 w 652"/>
                  <a:gd name="T61" fmla="*/ 392 h 625"/>
                  <a:gd name="T62" fmla="*/ 358 w 652"/>
                  <a:gd name="T63" fmla="*/ 327 h 625"/>
                  <a:gd name="T64" fmla="*/ 492 w 652"/>
                  <a:gd name="T65" fmla="*/ 327 h 625"/>
                  <a:gd name="T66" fmla="*/ 588 w 652"/>
                  <a:gd name="T67" fmla="*/ 423 h 625"/>
                  <a:gd name="T68" fmla="*/ 588 w 652"/>
                  <a:gd name="T69" fmla="*/ 561 h 625"/>
                  <a:gd name="T70" fmla="*/ 588 w 652"/>
                  <a:gd name="T71" fmla="*/ 561 h 625"/>
                  <a:gd name="T72" fmla="*/ 588 w 652"/>
                  <a:gd name="T73" fmla="*/ 5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2" h="625">
                    <a:moveTo>
                      <a:pt x="492" y="263"/>
                    </a:moveTo>
                    <a:cubicBezTo>
                      <a:pt x="448" y="263"/>
                      <a:pt x="448" y="263"/>
                      <a:pt x="448" y="263"/>
                    </a:cubicBezTo>
                    <a:cubicBezTo>
                      <a:pt x="465" y="239"/>
                      <a:pt x="475" y="210"/>
                      <a:pt x="475" y="178"/>
                    </a:cubicBezTo>
                    <a:cubicBezTo>
                      <a:pt x="475" y="149"/>
                      <a:pt x="475" y="149"/>
                      <a:pt x="475" y="149"/>
                    </a:cubicBezTo>
                    <a:cubicBezTo>
                      <a:pt x="475" y="67"/>
                      <a:pt x="408" y="0"/>
                      <a:pt x="326" y="0"/>
                    </a:cubicBezTo>
                    <a:cubicBezTo>
                      <a:pt x="244" y="0"/>
                      <a:pt x="177" y="67"/>
                      <a:pt x="177" y="149"/>
                    </a:cubicBezTo>
                    <a:cubicBezTo>
                      <a:pt x="177" y="178"/>
                      <a:pt x="177" y="178"/>
                      <a:pt x="177" y="178"/>
                    </a:cubicBezTo>
                    <a:cubicBezTo>
                      <a:pt x="177" y="210"/>
                      <a:pt x="187" y="239"/>
                      <a:pt x="204" y="263"/>
                    </a:cubicBezTo>
                    <a:cubicBezTo>
                      <a:pt x="160" y="263"/>
                      <a:pt x="160" y="263"/>
                      <a:pt x="160" y="263"/>
                    </a:cubicBezTo>
                    <a:cubicBezTo>
                      <a:pt x="71" y="263"/>
                      <a:pt x="0" y="335"/>
                      <a:pt x="0" y="423"/>
                    </a:cubicBezTo>
                    <a:cubicBezTo>
                      <a:pt x="0" y="593"/>
                      <a:pt x="0" y="593"/>
                      <a:pt x="0" y="593"/>
                    </a:cubicBezTo>
                    <a:cubicBezTo>
                      <a:pt x="0" y="611"/>
                      <a:pt x="14" y="625"/>
                      <a:pt x="32" y="625"/>
                    </a:cubicBezTo>
                    <a:cubicBezTo>
                      <a:pt x="620" y="625"/>
                      <a:pt x="620" y="625"/>
                      <a:pt x="620" y="625"/>
                    </a:cubicBezTo>
                    <a:cubicBezTo>
                      <a:pt x="638" y="625"/>
                      <a:pt x="652" y="611"/>
                      <a:pt x="652" y="593"/>
                    </a:cubicBezTo>
                    <a:cubicBezTo>
                      <a:pt x="652" y="423"/>
                      <a:pt x="652" y="423"/>
                      <a:pt x="652" y="423"/>
                    </a:cubicBezTo>
                    <a:cubicBezTo>
                      <a:pt x="652" y="335"/>
                      <a:pt x="581" y="263"/>
                      <a:pt x="492" y="263"/>
                    </a:cubicBezTo>
                    <a:close/>
                    <a:moveTo>
                      <a:pt x="241" y="149"/>
                    </a:moveTo>
                    <a:cubicBezTo>
                      <a:pt x="241" y="102"/>
                      <a:pt x="279" y="64"/>
                      <a:pt x="326" y="64"/>
                    </a:cubicBezTo>
                    <a:cubicBezTo>
                      <a:pt x="373" y="64"/>
                      <a:pt x="411" y="102"/>
                      <a:pt x="411" y="149"/>
                    </a:cubicBezTo>
                    <a:cubicBezTo>
                      <a:pt x="411" y="178"/>
                      <a:pt x="411" y="178"/>
                      <a:pt x="411" y="178"/>
                    </a:cubicBezTo>
                    <a:cubicBezTo>
                      <a:pt x="411" y="225"/>
                      <a:pt x="373" y="263"/>
                      <a:pt x="326" y="263"/>
                    </a:cubicBezTo>
                    <a:cubicBezTo>
                      <a:pt x="279" y="263"/>
                      <a:pt x="241" y="225"/>
                      <a:pt x="241" y="178"/>
                    </a:cubicBezTo>
                    <a:lnTo>
                      <a:pt x="241" y="149"/>
                    </a:lnTo>
                    <a:close/>
                    <a:moveTo>
                      <a:pt x="588" y="561"/>
                    </a:moveTo>
                    <a:cubicBezTo>
                      <a:pt x="64" y="561"/>
                      <a:pt x="64" y="561"/>
                      <a:pt x="64" y="561"/>
                    </a:cubicBezTo>
                    <a:cubicBezTo>
                      <a:pt x="64" y="423"/>
                      <a:pt x="64" y="423"/>
                      <a:pt x="64" y="423"/>
                    </a:cubicBezTo>
                    <a:cubicBezTo>
                      <a:pt x="64" y="370"/>
                      <a:pt x="107" y="327"/>
                      <a:pt x="160" y="327"/>
                    </a:cubicBezTo>
                    <a:cubicBezTo>
                      <a:pt x="294" y="327"/>
                      <a:pt x="294" y="327"/>
                      <a:pt x="294" y="327"/>
                    </a:cubicBezTo>
                    <a:cubicBezTo>
                      <a:pt x="294" y="392"/>
                      <a:pt x="294" y="392"/>
                      <a:pt x="294" y="392"/>
                    </a:cubicBezTo>
                    <a:cubicBezTo>
                      <a:pt x="294" y="409"/>
                      <a:pt x="308" y="424"/>
                      <a:pt x="326" y="424"/>
                    </a:cubicBezTo>
                    <a:cubicBezTo>
                      <a:pt x="344" y="424"/>
                      <a:pt x="358" y="409"/>
                      <a:pt x="358" y="392"/>
                    </a:cubicBezTo>
                    <a:cubicBezTo>
                      <a:pt x="358" y="327"/>
                      <a:pt x="358" y="327"/>
                      <a:pt x="358" y="327"/>
                    </a:cubicBezTo>
                    <a:cubicBezTo>
                      <a:pt x="492" y="327"/>
                      <a:pt x="492" y="327"/>
                      <a:pt x="492" y="327"/>
                    </a:cubicBezTo>
                    <a:cubicBezTo>
                      <a:pt x="545" y="327"/>
                      <a:pt x="588" y="370"/>
                      <a:pt x="588" y="423"/>
                    </a:cubicBezTo>
                    <a:lnTo>
                      <a:pt x="588" y="561"/>
                    </a:lnTo>
                    <a:close/>
                    <a:moveTo>
                      <a:pt x="588" y="561"/>
                    </a:moveTo>
                    <a:cubicBezTo>
                      <a:pt x="588" y="561"/>
                      <a:pt x="588" y="561"/>
                      <a:pt x="588" y="5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6" name="Freeform 535"/>
              <p:cNvSpPr>
                <a:spLocks noEditPoints="1"/>
              </p:cNvSpPr>
              <p:nvPr/>
            </p:nvSpPr>
            <p:spPr bwMode="auto">
              <a:xfrm>
                <a:off x="4207" y="2574"/>
                <a:ext cx="803" cy="743"/>
              </a:xfrm>
              <a:custGeom>
                <a:avLst/>
                <a:gdLst>
                  <a:gd name="T0" fmla="*/ 412 w 424"/>
                  <a:gd name="T1" fmla="*/ 334 h 392"/>
                  <a:gd name="T2" fmla="*/ 244 w 424"/>
                  <a:gd name="T3" fmla="*/ 166 h 392"/>
                  <a:gd name="T4" fmla="*/ 244 w 424"/>
                  <a:gd name="T5" fmla="*/ 32 h 392"/>
                  <a:gd name="T6" fmla="*/ 212 w 424"/>
                  <a:gd name="T7" fmla="*/ 0 h 392"/>
                  <a:gd name="T8" fmla="*/ 180 w 424"/>
                  <a:gd name="T9" fmla="*/ 32 h 392"/>
                  <a:gd name="T10" fmla="*/ 180 w 424"/>
                  <a:gd name="T11" fmla="*/ 166 h 392"/>
                  <a:gd name="T12" fmla="*/ 13 w 424"/>
                  <a:gd name="T13" fmla="*/ 334 h 392"/>
                  <a:gd name="T14" fmla="*/ 13 w 424"/>
                  <a:gd name="T15" fmla="*/ 379 h 392"/>
                  <a:gd name="T16" fmla="*/ 58 w 424"/>
                  <a:gd name="T17" fmla="*/ 379 h 392"/>
                  <a:gd name="T18" fmla="*/ 212 w 424"/>
                  <a:gd name="T19" fmla="*/ 225 h 392"/>
                  <a:gd name="T20" fmla="*/ 367 w 424"/>
                  <a:gd name="T21" fmla="*/ 379 h 392"/>
                  <a:gd name="T22" fmla="*/ 389 w 424"/>
                  <a:gd name="T23" fmla="*/ 388 h 392"/>
                  <a:gd name="T24" fmla="*/ 412 w 424"/>
                  <a:gd name="T25" fmla="*/ 379 h 392"/>
                  <a:gd name="T26" fmla="*/ 412 w 424"/>
                  <a:gd name="T27" fmla="*/ 334 h 392"/>
                  <a:gd name="T28" fmla="*/ 412 w 424"/>
                  <a:gd name="T29" fmla="*/ 334 h 392"/>
                  <a:gd name="T30" fmla="*/ 412 w 424"/>
                  <a:gd name="T31" fmla="*/ 33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4" h="392">
                    <a:moveTo>
                      <a:pt x="412" y="334"/>
                    </a:moveTo>
                    <a:cubicBezTo>
                      <a:pt x="244" y="166"/>
                      <a:pt x="244" y="166"/>
                      <a:pt x="244" y="166"/>
                    </a:cubicBezTo>
                    <a:cubicBezTo>
                      <a:pt x="244" y="32"/>
                      <a:pt x="244" y="32"/>
                      <a:pt x="244" y="32"/>
                    </a:cubicBezTo>
                    <a:cubicBezTo>
                      <a:pt x="244" y="14"/>
                      <a:pt x="230" y="0"/>
                      <a:pt x="212" y="0"/>
                    </a:cubicBezTo>
                    <a:cubicBezTo>
                      <a:pt x="195" y="0"/>
                      <a:pt x="180" y="14"/>
                      <a:pt x="180" y="32"/>
                    </a:cubicBezTo>
                    <a:cubicBezTo>
                      <a:pt x="180" y="166"/>
                      <a:pt x="180" y="166"/>
                      <a:pt x="180" y="166"/>
                    </a:cubicBezTo>
                    <a:cubicBezTo>
                      <a:pt x="13" y="334"/>
                      <a:pt x="13" y="334"/>
                      <a:pt x="13" y="334"/>
                    </a:cubicBezTo>
                    <a:cubicBezTo>
                      <a:pt x="0" y="346"/>
                      <a:pt x="0" y="367"/>
                      <a:pt x="13" y="379"/>
                    </a:cubicBezTo>
                    <a:cubicBezTo>
                      <a:pt x="25" y="392"/>
                      <a:pt x="45" y="392"/>
                      <a:pt x="58" y="379"/>
                    </a:cubicBezTo>
                    <a:cubicBezTo>
                      <a:pt x="212" y="225"/>
                      <a:pt x="212" y="225"/>
                      <a:pt x="212" y="225"/>
                    </a:cubicBezTo>
                    <a:cubicBezTo>
                      <a:pt x="367" y="379"/>
                      <a:pt x="367" y="379"/>
                      <a:pt x="367" y="379"/>
                    </a:cubicBezTo>
                    <a:cubicBezTo>
                      <a:pt x="373" y="385"/>
                      <a:pt x="381" y="388"/>
                      <a:pt x="389" y="388"/>
                    </a:cubicBezTo>
                    <a:cubicBezTo>
                      <a:pt x="397" y="388"/>
                      <a:pt x="406" y="385"/>
                      <a:pt x="412" y="379"/>
                    </a:cubicBezTo>
                    <a:cubicBezTo>
                      <a:pt x="424" y="367"/>
                      <a:pt x="424" y="346"/>
                      <a:pt x="412" y="334"/>
                    </a:cubicBezTo>
                    <a:close/>
                    <a:moveTo>
                      <a:pt x="412" y="334"/>
                    </a:moveTo>
                    <a:cubicBezTo>
                      <a:pt x="412" y="334"/>
                      <a:pt x="412" y="334"/>
                      <a:pt x="412" y="3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7" name="Freeform 536"/>
              <p:cNvSpPr>
                <a:spLocks noEditPoints="1"/>
              </p:cNvSpPr>
              <p:nvPr/>
            </p:nvSpPr>
            <p:spPr bwMode="auto">
              <a:xfrm>
                <a:off x="4548" y="2059"/>
                <a:ext cx="121" cy="122"/>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sp>
        <p:nvSpPr>
          <p:cNvPr id="81" name="TextBox 80"/>
          <p:cNvSpPr txBox="1"/>
          <p:nvPr/>
        </p:nvSpPr>
        <p:spPr>
          <a:xfrm>
            <a:off x="109984" y="5071686"/>
            <a:ext cx="2532196" cy="1107996"/>
          </a:xfrm>
          <a:prstGeom prst="rect">
            <a:avLst/>
          </a:prstGeom>
          <a:noFill/>
        </p:spPr>
        <p:txBody>
          <a:bodyPr wrap="square" rtlCol="0">
            <a:spAutoFit/>
          </a:bodyPr>
          <a:lstStyle/>
          <a:p>
            <a:pPr algn="ctr"/>
            <a:r>
              <a:rPr lang="en-US" b="1" dirty="0">
                <a:solidFill>
                  <a:schemeClr val="accent1"/>
                </a:solidFill>
                <a:latin typeface="+mj-lt"/>
              </a:rPr>
              <a:t>Financials</a:t>
            </a:r>
            <a:br>
              <a:rPr lang="en-US" sz="1050" dirty="0">
                <a:solidFill>
                  <a:schemeClr val="accent1"/>
                </a:solidFill>
                <a:latin typeface="+mj-lt"/>
              </a:rPr>
            </a:br>
            <a:r>
              <a:rPr lang="en-US" sz="1600" dirty="0">
                <a:latin typeface="+mj-lt"/>
              </a:rPr>
              <a:t>Strong performance with demonstrated ability to grow profitably</a:t>
            </a:r>
          </a:p>
        </p:txBody>
      </p:sp>
      <p:sp>
        <p:nvSpPr>
          <p:cNvPr id="82" name="TextBox 81"/>
          <p:cNvSpPr txBox="1"/>
          <p:nvPr/>
        </p:nvSpPr>
        <p:spPr>
          <a:xfrm>
            <a:off x="3320862" y="5071686"/>
            <a:ext cx="2532196" cy="1107996"/>
          </a:xfrm>
          <a:prstGeom prst="rect">
            <a:avLst/>
          </a:prstGeom>
          <a:noFill/>
        </p:spPr>
        <p:txBody>
          <a:bodyPr wrap="square" rtlCol="0">
            <a:spAutoFit/>
          </a:bodyPr>
          <a:lstStyle/>
          <a:p>
            <a:pPr algn="ctr"/>
            <a:r>
              <a:rPr lang="en-US" b="1" dirty="0">
                <a:solidFill>
                  <a:schemeClr val="accent1"/>
                </a:solidFill>
                <a:latin typeface="+mj-lt"/>
              </a:rPr>
              <a:t>Growth Catalysts</a:t>
            </a:r>
            <a:br>
              <a:rPr lang="en-US" sz="1050" dirty="0">
                <a:solidFill>
                  <a:schemeClr val="accent1"/>
                </a:solidFill>
                <a:latin typeface="+mj-lt"/>
              </a:rPr>
            </a:br>
            <a:r>
              <a:rPr lang="en-US" sz="1600" dirty="0">
                <a:latin typeface="+mj-lt"/>
              </a:rPr>
              <a:t>Near-term organic, inorganic, and joint venture opportunities</a:t>
            </a:r>
          </a:p>
        </p:txBody>
      </p:sp>
      <p:sp>
        <p:nvSpPr>
          <p:cNvPr id="83" name="TextBox 82"/>
          <p:cNvSpPr txBox="1"/>
          <p:nvPr/>
        </p:nvSpPr>
        <p:spPr>
          <a:xfrm>
            <a:off x="6512278" y="5071686"/>
            <a:ext cx="2532196" cy="1354217"/>
          </a:xfrm>
          <a:prstGeom prst="rect">
            <a:avLst/>
          </a:prstGeom>
          <a:noFill/>
        </p:spPr>
        <p:txBody>
          <a:bodyPr wrap="square" rtlCol="0">
            <a:spAutoFit/>
          </a:bodyPr>
          <a:lstStyle/>
          <a:p>
            <a:pPr algn="ctr"/>
            <a:r>
              <a:rPr lang="en-US" b="1" dirty="0">
                <a:solidFill>
                  <a:schemeClr val="accent1"/>
                </a:solidFill>
                <a:latin typeface="+mj-lt"/>
              </a:rPr>
              <a:t>Macro Dynamics</a:t>
            </a:r>
            <a:br>
              <a:rPr lang="en-US" sz="1050" dirty="0">
                <a:solidFill>
                  <a:schemeClr val="accent1"/>
                </a:solidFill>
                <a:latin typeface="+mj-lt"/>
              </a:rPr>
            </a:br>
            <a:r>
              <a:rPr lang="en-US" sz="1600" dirty="0">
                <a:latin typeface="+mj-lt"/>
              </a:rPr>
              <a:t>Revenue from Customers in 50+ countries</a:t>
            </a:r>
          </a:p>
          <a:p>
            <a:pPr algn="ctr"/>
            <a:r>
              <a:rPr lang="en-US" sz="1600" dirty="0">
                <a:latin typeface="+mj-lt"/>
              </a:rPr>
              <a:t>Including Tier1 carriers</a:t>
            </a:r>
          </a:p>
          <a:p>
            <a:pPr algn="ctr"/>
            <a:r>
              <a:rPr lang="en-US" sz="1600" dirty="0">
                <a:latin typeface="+mj-lt"/>
              </a:rPr>
              <a:t>in Asia</a:t>
            </a:r>
          </a:p>
        </p:txBody>
      </p:sp>
      <p:sp>
        <p:nvSpPr>
          <p:cNvPr id="84" name="TextBox 83"/>
          <p:cNvSpPr txBox="1"/>
          <p:nvPr/>
        </p:nvSpPr>
        <p:spPr>
          <a:xfrm>
            <a:off x="9523190" y="5071686"/>
            <a:ext cx="2532196" cy="1107996"/>
          </a:xfrm>
          <a:prstGeom prst="rect">
            <a:avLst/>
          </a:prstGeom>
          <a:noFill/>
        </p:spPr>
        <p:txBody>
          <a:bodyPr wrap="square" rtlCol="0">
            <a:spAutoFit/>
          </a:bodyPr>
          <a:lstStyle/>
          <a:p>
            <a:pPr algn="ctr"/>
            <a:r>
              <a:rPr lang="en-US" b="1" dirty="0">
                <a:solidFill>
                  <a:schemeClr val="accent1"/>
                </a:solidFill>
                <a:latin typeface="+mj-lt"/>
              </a:rPr>
              <a:t>Diversification</a:t>
            </a:r>
            <a:br>
              <a:rPr lang="en-US" sz="1050" dirty="0">
                <a:solidFill>
                  <a:schemeClr val="accent1"/>
                </a:solidFill>
                <a:latin typeface="+mj-lt"/>
              </a:rPr>
            </a:br>
            <a:r>
              <a:rPr lang="en-US" sz="1600" dirty="0">
                <a:latin typeface="+mj-lt"/>
              </a:rPr>
              <a:t>No single customer greater than 10% of annual revenues</a:t>
            </a:r>
          </a:p>
        </p:txBody>
      </p:sp>
      <p:sp>
        <p:nvSpPr>
          <p:cNvPr id="85" name="TextBox 84">
            <a:extLst>
              <a:ext uri="{FF2B5EF4-FFF2-40B4-BE49-F238E27FC236}">
                <a16:creationId xmlns:a16="http://schemas.microsoft.com/office/drawing/2014/main" id="{5356DE6C-CE64-2F4F-9AB2-8D8973513E70}"/>
              </a:ext>
            </a:extLst>
          </p:cNvPr>
          <p:cNvSpPr txBox="1"/>
          <p:nvPr/>
        </p:nvSpPr>
        <p:spPr>
          <a:xfrm>
            <a:off x="129446" y="1026525"/>
            <a:ext cx="2532196" cy="1107996"/>
          </a:xfrm>
          <a:prstGeom prst="rect">
            <a:avLst/>
          </a:prstGeom>
          <a:noFill/>
        </p:spPr>
        <p:txBody>
          <a:bodyPr wrap="square" rtlCol="0">
            <a:spAutoFit/>
          </a:bodyPr>
          <a:lstStyle/>
          <a:p>
            <a:pPr algn="ctr"/>
            <a:r>
              <a:rPr lang="en-US" b="1" dirty="0">
                <a:solidFill>
                  <a:schemeClr val="accent1"/>
                </a:solidFill>
                <a:latin typeface="+mj-lt"/>
              </a:rPr>
              <a:t>Experience</a:t>
            </a:r>
            <a:br>
              <a:rPr lang="en-US" sz="1050" dirty="0">
                <a:solidFill>
                  <a:schemeClr val="accent1"/>
                </a:solidFill>
                <a:latin typeface="+mj-lt"/>
              </a:rPr>
            </a:br>
            <a:r>
              <a:rPr lang="en-US" sz="1600" dirty="0">
                <a:latin typeface="+mj-lt"/>
              </a:rPr>
              <a:t>Management Team with proven track record in telecommunications</a:t>
            </a:r>
          </a:p>
        </p:txBody>
      </p:sp>
      <p:sp>
        <p:nvSpPr>
          <p:cNvPr id="86" name="TextBox 85">
            <a:extLst>
              <a:ext uri="{FF2B5EF4-FFF2-40B4-BE49-F238E27FC236}">
                <a16:creationId xmlns:a16="http://schemas.microsoft.com/office/drawing/2014/main" id="{2B145A6B-4325-0245-81AA-86993A1462C0}"/>
              </a:ext>
            </a:extLst>
          </p:cNvPr>
          <p:cNvSpPr txBox="1"/>
          <p:nvPr/>
        </p:nvSpPr>
        <p:spPr>
          <a:xfrm>
            <a:off x="3320862" y="1026525"/>
            <a:ext cx="2532196" cy="1107996"/>
          </a:xfrm>
          <a:prstGeom prst="rect">
            <a:avLst/>
          </a:prstGeom>
          <a:noFill/>
        </p:spPr>
        <p:txBody>
          <a:bodyPr wrap="square" rtlCol="0">
            <a:spAutoFit/>
          </a:bodyPr>
          <a:lstStyle/>
          <a:p>
            <a:pPr algn="ctr"/>
            <a:r>
              <a:rPr lang="en-US" b="1" dirty="0">
                <a:solidFill>
                  <a:schemeClr val="accent1"/>
                </a:solidFill>
                <a:latin typeface="+mj-lt"/>
              </a:rPr>
              <a:t>Leadership</a:t>
            </a:r>
            <a:br>
              <a:rPr lang="en-US" sz="1050" dirty="0">
                <a:solidFill>
                  <a:schemeClr val="accent1"/>
                </a:solidFill>
                <a:latin typeface="+mj-lt"/>
              </a:rPr>
            </a:br>
            <a:r>
              <a:rPr lang="en-US" sz="1600" dirty="0">
                <a:latin typeface="+mj-lt"/>
              </a:rPr>
              <a:t>Shaping fiber access transformation for Telco &amp; Enterprise networks</a:t>
            </a:r>
          </a:p>
        </p:txBody>
      </p:sp>
      <p:sp>
        <p:nvSpPr>
          <p:cNvPr id="87" name="TextBox 86">
            <a:extLst>
              <a:ext uri="{FF2B5EF4-FFF2-40B4-BE49-F238E27FC236}">
                <a16:creationId xmlns:a16="http://schemas.microsoft.com/office/drawing/2014/main" id="{F0D7DBDD-AE77-AC4C-A434-FDFB3F79D6CD}"/>
              </a:ext>
            </a:extLst>
          </p:cNvPr>
          <p:cNvSpPr txBox="1"/>
          <p:nvPr/>
        </p:nvSpPr>
        <p:spPr>
          <a:xfrm>
            <a:off x="6512278" y="1026525"/>
            <a:ext cx="2532196" cy="1107996"/>
          </a:xfrm>
          <a:prstGeom prst="rect">
            <a:avLst/>
          </a:prstGeom>
          <a:noFill/>
        </p:spPr>
        <p:txBody>
          <a:bodyPr wrap="square" rtlCol="0">
            <a:spAutoFit/>
          </a:bodyPr>
          <a:lstStyle/>
          <a:p>
            <a:pPr algn="ctr"/>
            <a:r>
              <a:rPr lang="en-US" b="1" dirty="0">
                <a:solidFill>
                  <a:schemeClr val="accent1"/>
                </a:solidFill>
                <a:latin typeface="+mj-lt"/>
              </a:rPr>
              <a:t>Global Presence</a:t>
            </a:r>
            <a:br>
              <a:rPr lang="en-US" sz="1050" dirty="0">
                <a:solidFill>
                  <a:schemeClr val="accent1"/>
                </a:solidFill>
                <a:latin typeface="+mj-lt"/>
              </a:rPr>
            </a:br>
            <a:r>
              <a:rPr lang="en-US" sz="1600" dirty="0">
                <a:latin typeface="+mj-lt"/>
              </a:rPr>
              <a:t>Revenue from customers in 50+ countries including</a:t>
            </a:r>
          </a:p>
          <a:p>
            <a:pPr algn="ctr"/>
            <a:r>
              <a:rPr lang="en-US" sz="1600" dirty="0">
                <a:latin typeface="+mj-lt"/>
              </a:rPr>
              <a:t>Tier1 carriers in Asia</a:t>
            </a:r>
          </a:p>
        </p:txBody>
      </p:sp>
      <p:sp>
        <p:nvSpPr>
          <p:cNvPr id="88" name="TextBox 87">
            <a:extLst>
              <a:ext uri="{FF2B5EF4-FFF2-40B4-BE49-F238E27FC236}">
                <a16:creationId xmlns:a16="http://schemas.microsoft.com/office/drawing/2014/main" id="{06AED14C-236F-BC4E-812E-6D2E7B78CFEF}"/>
              </a:ext>
            </a:extLst>
          </p:cNvPr>
          <p:cNvSpPr txBox="1"/>
          <p:nvPr/>
        </p:nvSpPr>
        <p:spPr>
          <a:xfrm>
            <a:off x="9403367" y="1011101"/>
            <a:ext cx="2532196" cy="1107996"/>
          </a:xfrm>
          <a:prstGeom prst="rect">
            <a:avLst/>
          </a:prstGeom>
          <a:noFill/>
        </p:spPr>
        <p:txBody>
          <a:bodyPr wrap="square" rtlCol="0">
            <a:spAutoFit/>
          </a:bodyPr>
          <a:lstStyle/>
          <a:p>
            <a:pPr algn="ctr"/>
            <a:r>
              <a:rPr lang="en-US" b="1" dirty="0">
                <a:solidFill>
                  <a:schemeClr val="accent1"/>
                </a:solidFill>
                <a:latin typeface="+mj-lt"/>
              </a:rPr>
              <a:t>Focus on R &amp; D</a:t>
            </a:r>
            <a:br>
              <a:rPr lang="en-US" sz="1050" dirty="0">
                <a:solidFill>
                  <a:schemeClr val="accent1"/>
                </a:solidFill>
                <a:latin typeface="+mj-lt"/>
              </a:rPr>
            </a:br>
            <a:r>
              <a:rPr lang="en-US" sz="1600" dirty="0">
                <a:latin typeface="+mj-lt"/>
              </a:rPr>
              <a:t>Exploring distributed ledger and blockchain technology for </a:t>
            </a:r>
            <a:r>
              <a:rPr lang="en-US" sz="1600" dirty="0" err="1">
                <a:latin typeface="+mj-lt"/>
              </a:rPr>
              <a:t>Telcos</a:t>
            </a:r>
            <a:endParaRPr lang="en-US" sz="1600" dirty="0">
              <a:latin typeface="+mj-lt"/>
            </a:endParaRPr>
          </a:p>
        </p:txBody>
      </p:sp>
      <p:sp>
        <p:nvSpPr>
          <p:cNvPr id="90" name="Oval 89">
            <a:extLst>
              <a:ext uri="{FF2B5EF4-FFF2-40B4-BE49-F238E27FC236}">
                <a16:creationId xmlns:a16="http://schemas.microsoft.com/office/drawing/2014/main" id="{10009453-3331-9F4A-81B6-D2A751C9D414}"/>
              </a:ext>
            </a:extLst>
          </p:cNvPr>
          <p:cNvSpPr>
            <a:spLocks/>
          </p:cNvSpPr>
          <p:nvPr/>
        </p:nvSpPr>
        <p:spPr>
          <a:xfrm>
            <a:off x="775142" y="3923110"/>
            <a:ext cx="1150686" cy="11485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1" name="Group 4">
            <a:extLst>
              <a:ext uri="{FF2B5EF4-FFF2-40B4-BE49-F238E27FC236}">
                <a16:creationId xmlns:a16="http://schemas.microsoft.com/office/drawing/2014/main" id="{0F8A4F7D-2F9D-9141-A347-606C35179D17}"/>
              </a:ext>
            </a:extLst>
          </p:cNvPr>
          <p:cNvGrpSpPr>
            <a:grpSpLocks noChangeAspect="1"/>
          </p:cNvGrpSpPr>
          <p:nvPr/>
        </p:nvGrpSpPr>
        <p:grpSpPr bwMode="auto">
          <a:xfrm>
            <a:off x="1051648" y="4240805"/>
            <a:ext cx="645009" cy="619878"/>
            <a:chOff x="1503" y="728"/>
            <a:chExt cx="3102" cy="3101"/>
          </a:xfrm>
          <a:solidFill>
            <a:schemeClr val="bg1"/>
          </a:solidFill>
        </p:grpSpPr>
        <p:sp>
          <p:nvSpPr>
            <p:cNvPr id="92" name="Freeform 5">
              <a:extLst>
                <a:ext uri="{FF2B5EF4-FFF2-40B4-BE49-F238E27FC236}">
                  <a16:creationId xmlns:a16="http://schemas.microsoft.com/office/drawing/2014/main" id="{C3F9E683-3C56-814E-9DE0-AF306D5F0239}"/>
                </a:ext>
              </a:extLst>
            </p:cNvPr>
            <p:cNvSpPr>
              <a:spLocks noEditPoints="1"/>
            </p:cNvSpPr>
            <p:nvPr/>
          </p:nvSpPr>
          <p:spPr bwMode="auto">
            <a:xfrm>
              <a:off x="4194" y="2324"/>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4"/>
                    <a:pt x="40" y="0"/>
                    <a:pt x="32" y="0"/>
                  </a:cubicBezTo>
                  <a:cubicBezTo>
                    <a:pt x="23" y="0"/>
                    <a:pt x="15" y="4"/>
                    <a:pt x="9" y="9"/>
                  </a:cubicBezTo>
                  <a:cubicBezTo>
                    <a:pt x="3" y="15"/>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6">
              <a:extLst>
                <a:ext uri="{FF2B5EF4-FFF2-40B4-BE49-F238E27FC236}">
                  <a16:creationId xmlns:a16="http://schemas.microsoft.com/office/drawing/2014/main" id="{B4E46433-0262-524E-9647-285C28C79A79}"/>
                </a:ext>
              </a:extLst>
            </p:cNvPr>
            <p:cNvSpPr>
              <a:spLocks noEditPoints="1"/>
            </p:cNvSpPr>
            <p:nvPr/>
          </p:nvSpPr>
          <p:spPr bwMode="auto">
            <a:xfrm>
              <a:off x="1503" y="728"/>
              <a:ext cx="2812" cy="2423"/>
            </a:xfrm>
            <a:custGeom>
              <a:avLst/>
              <a:gdLst>
                <a:gd name="T0" fmla="*/ 1312 w 1485"/>
                <a:gd name="T1" fmla="*/ 128 h 1280"/>
                <a:gd name="T2" fmla="*/ 1203 w 1485"/>
                <a:gd name="T3" fmla="*/ 0 h 1280"/>
                <a:gd name="T4" fmla="*/ 1094 w 1485"/>
                <a:gd name="T5" fmla="*/ 128 h 1280"/>
                <a:gd name="T6" fmla="*/ 851 w 1485"/>
                <a:gd name="T7" fmla="*/ 109 h 1280"/>
                <a:gd name="T8" fmla="*/ 634 w 1485"/>
                <a:gd name="T9" fmla="*/ 109 h 1280"/>
                <a:gd name="T10" fmla="*/ 390 w 1485"/>
                <a:gd name="T11" fmla="*/ 128 h 1280"/>
                <a:gd name="T12" fmla="*/ 282 w 1485"/>
                <a:gd name="T13" fmla="*/ 0 h 1280"/>
                <a:gd name="T14" fmla="*/ 173 w 1485"/>
                <a:gd name="T15" fmla="*/ 128 h 1280"/>
                <a:gd name="T16" fmla="*/ 0 w 1485"/>
                <a:gd name="T17" fmla="*/ 288 h 1280"/>
                <a:gd name="T18" fmla="*/ 96 w 1485"/>
                <a:gd name="T19" fmla="*/ 1280 h 1280"/>
                <a:gd name="T20" fmla="*/ 834 w 1485"/>
                <a:gd name="T21" fmla="*/ 1248 h 1280"/>
                <a:gd name="T22" fmla="*/ 96 w 1485"/>
                <a:gd name="T23" fmla="*/ 1216 h 1280"/>
                <a:gd name="T24" fmla="*/ 64 w 1485"/>
                <a:gd name="T25" fmla="*/ 288 h 1280"/>
                <a:gd name="T26" fmla="*/ 326 w 1485"/>
                <a:gd name="T27" fmla="*/ 192 h 1280"/>
                <a:gd name="T28" fmla="*/ 282 w 1485"/>
                <a:gd name="T29" fmla="*/ 260 h 1280"/>
                <a:gd name="T30" fmla="*/ 282 w 1485"/>
                <a:gd name="T31" fmla="*/ 324 h 1280"/>
                <a:gd name="T32" fmla="*/ 390 w 1485"/>
                <a:gd name="T33" fmla="*/ 192 h 1280"/>
                <a:gd name="T34" fmla="*/ 787 w 1485"/>
                <a:gd name="T35" fmla="*/ 215 h 1280"/>
                <a:gd name="T36" fmla="*/ 710 w 1485"/>
                <a:gd name="T37" fmla="*/ 292 h 1280"/>
                <a:gd name="T38" fmla="*/ 851 w 1485"/>
                <a:gd name="T39" fmla="*/ 215 h 1280"/>
                <a:gd name="T40" fmla="*/ 1248 w 1485"/>
                <a:gd name="T41" fmla="*/ 192 h 1280"/>
                <a:gd name="T42" fmla="*/ 1203 w 1485"/>
                <a:gd name="T43" fmla="*/ 260 h 1280"/>
                <a:gd name="T44" fmla="*/ 1203 w 1485"/>
                <a:gd name="T45" fmla="*/ 324 h 1280"/>
                <a:gd name="T46" fmla="*/ 1312 w 1485"/>
                <a:gd name="T47" fmla="*/ 192 h 1280"/>
                <a:gd name="T48" fmla="*/ 1421 w 1485"/>
                <a:gd name="T49" fmla="*/ 288 h 1280"/>
                <a:gd name="T50" fmla="*/ 301 w 1485"/>
                <a:gd name="T51" fmla="*/ 378 h 1280"/>
                <a:gd name="T52" fmla="*/ 301 w 1485"/>
                <a:gd name="T53" fmla="*/ 442 h 1280"/>
                <a:gd name="T54" fmla="*/ 1421 w 1485"/>
                <a:gd name="T55" fmla="*/ 738 h 1280"/>
                <a:gd name="T56" fmla="*/ 1485 w 1485"/>
                <a:gd name="T57" fmla="*/ 738 h 1280"/>
                <a:gd name="T58" fmla="*/ 1325 w 1485"/>
                <a:gd name="T59" fmla="*/ 128 h 1280"/>
                <a:gd name="T60" fmla="*/ 237 w 1485"/>
                <a:gd name="T61" fmla="*/ 128 h 1280"/>
                <a:gd name="T62" fmla="*/ 282 w 1485"/>
                <a:gd name="T63" fmla="*/ 64 h 1280"/>
                <a:gd name="T64" fmla="*/ 326 w 1485"/>
                <a:gd name="T65" fmla="*/ 128 h 1280"/>
                <a:gd name="T66" fmla="*/ 698 w 1485"/>
                <a:gd name="T67" fmla="*/ 128 h 1280"/>
                <a:gd name="T68" fmla="*/ 742 w 1485"/>
                <a:gd name="T69" fmla="*/ 64 h 1280"/>
                <a:gd name="T70" fmla="*/ 787 w 1485"/>
                <a:gd name="T71" fmla="*/ 128 h 1280"/>
                <a:gd name="T72" fmla="*/ 1158 w 1485"/>
                <a:gd name="T73" fmla="*/ 128 h 1280"/>
                <a:gd name="T74" fmla="*/ 1203 w 1485"/>
                <a:gd name="T75" fmla="*/ 64 h 1280"/>
                <a:gd name="T76" fmla="*/ 1248 w 1485"/>
                <a:gd name="T77" fmla="*/ 128 h 1280"/>
                <a:gd name="T78" fmla="*/ 1248 w 1485"/>
                <a:gd name="T79" fmla="*/ 12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5" h="1280">
                  <a:moveTo>
                    <a:pt x="1325" y="128"/>
                  </a:moveTo>
                  <a:cubicBezTo>
                    <a:pt x="1312" y="128"/>
                    <a:pt x="1312" y="128"/>
                    <a:pt x="1312" y="128"/>
                  </a:cubicBezTo>
                  <a:cubicBezTo>
                    <a:pt x="1312" y="109"/>
                    <a:pt x="1312" y="109"/>
                    <a:pt x="1312" y="109"/>
                  </a:cubicBezTo>
                  <a:cubicBezTo>
                    <a:pt x="1312" y="49"/>
                    <a:pt x="1263" y="0"/>
                    <a:pt x="1203" y="0"/>
                  </a:cubicBezTo>
                  <a:cubicBezTo>
                    <a:pt x="1143" y="0"/>
                    <a:pt x="1094" y="49"/>
                    <a:pt x="1094" y="109"/>
                  </a:cubicBezTo>
                  <a:cubicBezTo>
                    <a:pt x="1094" y="128"/>
                    <a:pt x="1094" y="128"/>
                    <a:pt x="1094" y="128"/>
                  </a:cubicBezTo>
                  <a:cubicBezTo>
                    <a:pt x="851" y="128"/>
                    <a:pt x="851" y="128"/>
                    <a:pt x="851" y="128"/>
                  </a:cubicBezTo>
                  <a:cubicBezTo>
                    <a:pt x="851" y="109"/>
                    <a:pt x="851" y="109"/>
                    <a:pt x="851" y="109"/>
                  </a:cubicBezTo>
                  <a:cubicBezTo>
                    <a:pt x="851" y="49"/>
                    <a:pt x="802" y="0"/>
                    <a:pt x="742" y="0"/>
                  </a:cubicBezTo>
                  <a:cubicBezTo>
                    <a:pt x="682" y="0"/>
                    <a:pt x="634" y="49"/>
                    <a:pt x="634" y="109"/>
                  </a:cubicBezTo>
                  <a:cubicBezTo>
                    <a:pt x="634" y="128"/>
                    <a:pt x="634" y="128"/>
                    <a:pt x="634" y="128"/>
                  </a:cubicBezTo>
                  <a:cubicBezTo>
                    <a:pt x="390" y="128"/>
                    <a:pt x="390" y="128"/>
                    <a:pt x="390" y="128"/>
                  </a:cubicBezTo>
                  <a:cubicBezTo>
                    <a:pt x="390" y="109"/>
                    <a:pt x="390" y="109"/>
                    <a:pt x="390" y="109"/>
                  </a:cubicBezTo>
                  <a:cubicBezTo>
                    <a:pt x="390" y="49"/>
                    <a:pt x="342" y="0"/>
                    <a:pt x="282" y="0"/>
                  </a:cubicBezTo>
                  <a:cubicBezTo>
                    <a:pt x="222" y="0"/>
                    <a:pt x="173" y="49"/>
                    <a:pt x="173" y="109"/>
                  </a:cubicBezTo>
                  <a:cubicBezTo>
                    <a:pt x="173" y="128"/>
                    <a:pt x="173" y="128"/>
                    <a:pt x="173" y="128"/>
                  </a:cubicBezTo>
                  <a:cubicBezTo>
                    <a:pt x="160" y="128"/>
                    <a:pt x="160" y="128"/>
                    <a:pt x="160" y="128"/>
                  </a:cubicBezTo>
                  <a:cubicBezTo>
                    <a:pt x="72" y="128"/>
                    <a:pt x="0" y="200"/>
                    <a:pt x="0" y="288"/>
                  </a:cubicBezTo>
                  <a:cubicBezTo>
                    <a:pt x="0" y="1184"/>
                    <a:pt x="0" y="1184"/>
                    <a:pt x="0" y="1184"/>
                  </a:cubicBezTo>
                  <a:cubicBezTo>
                    <a:pt x="0" y="1237"/>
                    <a:pt x="43" y="1280"/>
                    <a:pt x="96" y="1280"/>
                  </a:cubicBezTo>
                  <a:cubicBezTo>
                    <a:pt x="802" y="1280"/>
                    <a:pt x="802" y="1280"/>
                    <a:pt x="802" y="1280"/>
                  </a:cubicBezTo>
                  <a:cubicBezTo>
                    <a:pt x="820" y="1280"/>
                    <a:pt x="834" y="1266"/>
                    <a:pt x="834" y="1248"/>
                  </a:cubicBezTo>
                  <a:cubicBezTo>
                    <a:pt x="834" y="1230"/>
                    <a:pt x="820" y="1216"/>
                    <a:pt x="802" y="1216"/>
                  </a:cubicBezTo>
                  <a:cubicBezTo>
                    <a:pt x="96" y="1216"/>
                    <a:pt x="96" y="1216"/>
                    <a:pt x="96" y="1216"/>
                  </a:cubicBezTo>
                  <a:cubicBezTo>
                    <a:pt x="78" y="1216"/>
                    <a:pt x="64" y="1202"/>
                    <a:pt x="64" y="1184"/>
                  </a:cubicBezTo>
                  <a:cubicBezTo>
                    <a:pt x="64" y="288"/>
                    <a:pt x="64" y="288"/>
                    <a:pt x="64" y="288"/>
                  </a:cubicBezTo>
                  <a:cubicBezTo>
                    <a:pt x="64" y="235"/>
                    <a:pt x="107" y="192"/>
                    <a:pt x="160" y="192"/>
                  </a:cubicBezTo>
                  <a:cubicBezTo>
                    <a:pt x="326" y="192"/>
                    <a:pt x="326" y="192"/>
                    <a:pt x="326" y="192"/>
                  </a:cubicBezTo>
                  <a:cubicBezTo>
                    <a:pt x="326" y="215"/>
                    <a:pt x="326" y="215"/>
                    <a:pt x="326" y="215"/>
                  </a:cubicBezTo>
                  <a:cubicBezTo>
                    <a:pt x="326" y="240"/>
                    <a:pt x="306" y="260"/>
                    <a:pt x="282" y="260"/>
                  </a:cubicBezTo>
                  <a:cubicBezTo>
                    <a:pt x="264" y="260"/>
                    <a:pt x="250" y="274"/>
                    <a:pt x="250" y="292"/>
                  </a:cubicBezTo>
                  <a:cubicBezTo>
                    <a:pt x="250" y="309"/>
                    <a:pt x="264" y="324"/>
                    <a:pt x="282" y="324"/>
                  </a:cubicBezTo>
                  <a:cubicBezTo>
                    <a:pt x="342" y="324"/>
                    <a:pt x="390" y="275"/>
                    <a:pt x="390" y="215"/>
                  </a:cubicBezTo>
                  <a:cubicBezTo>
                    <a:pt x="390" y="192"/>
                    <a:pt x="390" y="192"/>
                    <a:pt x="390" y="192"/>
                  </a:cubicBezTo>
                  <a:cubicBezTo>
                    <a:pt x="787" y="192"/>
                    <a:pt x="787" y="192"/>
                    <a:pt x="787" y="192"/>
                  </a:cubicBezTo>
                  <a:cubicBezTo>
                    <a:pt x="787" y="215"/>
                    <a:pt x="787" y="215"/>
                    <a:pt x="787" y="215"/>
                  </a:cubicBezTo>
                  <a:cubicBezTo>
                    <a:pt x="787" y="240"/>
                    <a:pt x="767" y="260"/>
                    <a:pt x="742" y="260"/>
                  </a:cubicBezTo>
                  <a:cubicBezTo>
                    <a:pt x="725" y="260"/>
                    <a:pt x="710" y="274"/>
                    <a:pt x="710" y="292"/>
                  </a:cubicBezTo>
                  <a:cubicBezTo>
                    <a:pt x="710" y="309"/>
                    <a:pt x="725" y="324"/>
                    <a:pt x="742" y="324"/>
                  </a:cubicBezTo>
                  <a:cubicBezTo>
                    <a:pt x="802" y="324"/>
                    <a:pt x="851" y="275"/>
                    <a:pt x="851" y="215"/>
                  </a:cubicBezTo>
                  <a:cubicBezTo>
                    <a:pt x="851" y="192"/>
                    <a:pt x="851" y="192"/>
                    <a:pt x="851" y="192"/>
                  </a:cubicBezTo>
                  <a:cubicBezTo>
                    <a:pt x="1248" y="192"/>
                    <a:pt x="1248" y="192"/>
                    <a:pt x="1248" y="192"/>
                  </a:cubicBezTo>
                  <a:cubicBezTo>
                    <a:pt x="1248" y="215"/>
                    <a:pt x="1248" y="215"/>
                    <a:pt x="1248" y="215"/>
                  </a:cubicBezTo>
                  <a:cubicBezTo>
                    <a:pt x="1248" y="240"/>
                    <a:pt x="1228" y="260"/>
                    <a:pt x="1203" y="260"/>
                  </a:cubicBezTo>
                  <a:cubicBezTo>
                    <a:pt x="1185" y="260"/>
                    <a:pt x="1171" y="274"/>
                    <a:pt x="1171" y="292"/>
                  </a:cubicBezTo>
                  <a:cubicBezTo>
                    <a:pt x="1171" y="309"/>
                    <a:pt x="1185" y="324"/>
                    <a:pt x="1203" y="324"/>
                  </a:cubicBezTo>
                  <a:cubicBezTo>
                    <a:pt x="1263" y="324"/>
                    <a:pt x="1312" y="275"/>
                    <a:pt x="1312" y="215"/>
                  </a:cubicBezTo>
                  <a:cubicBezTo>
                    <a:pt x="1312" y="192"/>
                    <a:pt x="1312" y="192"/>
                    <a:pt x="1312" y="192"/>
                  </a:cubicBezTo>
                  <a:cubicBezTo>
                    <a:pt x="1325" y="192"/>
                    <a:pt x="1325" y="192"/>
                    <a:pt x="1325" y="192"/>
                  </a:cubicBezTo>
                  <a:cubicBezTo>
                    <a:pt x="1378" y="192"/>
                    <a:pt x="1421" y="235"/>
                    <a:pt x="1421" y="288"/>
                  </a:cubicBezTo>
                  <a:cubicBezTo>
                    <a:pt x="1421" y="378"/>
                    <a:pt x="1421" y="378"/>
                    <a:pt x="1421" y="378"/>
                  </a:cubicBezTo>
                  <a:cubicBezTo>
                    <a:pt x="301" y="378"/>
                    <a:pt x="301" y="378"/>
                    <a:pt x="301" y="378"/>
                  </a:cubicBezTo>
                  <a:cubicBezTo>
                    <a:pt x="283" y="378"/>
                    <a:pt x="269" y="392"/>
                    <a:pt x="269" y="410"/>
                  </a:cubicBezTo>
                  <a:cubicBezTo>
                    <a:pt x="269" y="427"/>
                    <a:pt x="283" y="442"/>
                    <a:pt x="301" y="442"/>
                  </a:cubicBezTo>
                  <a:cubicBezTo>
                    <a:pt x="1421" y="442"/>
                    <a:pt x="1421" y="442"/>
                    <a:pt x="1421" y="442"/>
                  </a:cubicBezTo>
                  <a:cubicBezTo>
                    <a:pt x="1421" y="738"/>
                    <a:pt x="1421" y="738"/>
                    <a:pt x="1421" y="738"/>
                  </a:cubicBezTo>
                  <a:cubicBezTo>
                    <a:pt x="1421" y="755"/>
                    <a:pt x="1435" y="770"/>
                    <a:pt x="1453" y="770"/>
                  </a:cubicBezTo>
                  <a:cubicBezTo>
                    <a:pt x="1470" y="770"/>
                    <a:pt x="1485" y="755"/>
                    <a:pt x="1485" y="738"/>
                  </a:cubicBezTo>
                  <a:cubicBezTo>
                    <a:pt x="1485" y="288"/>
                    <a:pt x="1485" y="288"/>
                    <a:pt x="1485" y="288"/>
                  </a:cubicBezTo>
                  <a:cubicBezTo>
                    <a:pt x="1485" y="200"/>
                    <a:pt x="1413" y="128"/>
                    <a:pt x="1325" y="128"/>
                  </a:cubicBezTo>
                  <a:close/>
                  <a:moveTo>
                    <a:pt x="326" y="128"/>
                  </a:moveTo>
                  <a:cubicBezTo>
                    <a:pt x="237" y="128"/>
                    <a:pt x="237" y="128"/>
                    <a:pt x="237" y="128"/>
                  </a:cubicBezTo>
                  <a:cubicBezTo>
                    <a:pt x="237" y="109"/>
                    <a:pt x="237" y="109"/>
                    <a:pt x="237" y="109"/>
                  </a:cubicBezTo>
                  <a:cubicBezTo>
                    <a:pt x="237" y="84"/>
                    <a:pt x="257" y="64"/>
                    <a:pt x="282" y="64"/>
                  </a:cubicBezTo>
                  <a:cubicBezTo>
                    <a:pt x="306" y="64"/>
                    <a:pt x="326" y="84"/>
                    <a:pt x="326" y="109"/>
                  </a:cubicBezTo>
                  <a:lnTo>
                    <a:pt x="326" y="128"/>
                  </a:lnTo>
                  <a:close/>
                  <a:moveTo>
                    <a:pt x="787" y="128"/>
                  </a:moveTo>
                  <a:cubicBezTo>
                    <a:pt x="698" y="128"/>
                    <a:pt x="698" y="128"/>
                    <a:pt x="698" y="128"/>
                  </a:cubicBezTo>
                  <a:cubicBezTo>
                    <a:pt x="698" y="109"/>
                    <a:pt x="698" y="109"/>
                    <a:pt x="698" y="109"/>
                  </a:cubicBezTo>
                  <a:cubicBezTo>
                    <a:pt x="698" y="84"/>
                    <a:pt x="718" y="64"/>
                    <a:pt x="742" y="64"/>
                  </a:cubicBezTo>
                  <a:cubicBezTo>
                    <a:pt x="767" y="64"/>
                    <a:pt x="787" y="84"/>
                    <a:pt x="787" y="109"/>
                  </a:cubicBezTo>
                  <a:lnTo>
                    <a:pt x="787" y="128"/>
                  </a:lnTo>
                  <a:close/>
                  <a:moveTo>
                    <a:pt x="1248" y="128"/>
                  </a:moveTo>
                  <a:cubicBezTo>
                    <a:pt x="1158" y="128"/>
                    <a:pt x="1158" y="128"/>
                    <a:pt x="1158" y="128"/>
                  </a:cubicBezTo>
                  <a:cubicBezTo>
                    <a:pt x="1158" y="109"/>
                    <a:pt x="1158" y="109"/>
                    <a:pt x="1158" y="109"/>
                  </a:cubicBezTo>
                  <a:cubicBezTo>
                    <a:pt x="1158" y="84"/>
                    <a:pt x="1178" y="64"/>
                    <a:pt x="1203" y="64"/>
                  </a:cubicBezTo>
                  <a:cubicBezTo>
                    <a:pt x="1228" y="64"/>
                    <a:pt x="1248" y="84"/>
                    <a:pt x="1248" y="109"/>
                  </a:cubicBezTo>
                  <a:lnTo>
                    <a:pt x="1248" y="128"/>
                  </a:lnTo>
                  <a:close/>
                  <a:moveTo>
                    <a:pt x="1248" y="128"/>
                  </a:moveTo>
                  <a:cubicBezTo>
                    <a:pt x="1248" y="128"/>
                    <a:pt x="1248" y="128"/>
                    <a:pt x="1248"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
              <a:extLst>
                <a:ext uri="{FF2B5EF4-FFF2-40B4-BE49-F238E27FC236}">
                  <a16:creationId xmlns:a16="http://schemas.microsoft.com/office/drawing/2014/main" id="{92E03C32-96D3-9046-9221-527749F07D59}"/>
                </a:ext>
              </a:extLst>
            </p:cNvPr>
            <p:cNvSpPr>
              <a:spLocks noEditPoints="1"/>
            </p:cNvSpPr>
            <p:nvPr/>
          </p:nvSpPr>
          <p:spPr bwMode="auto">
            <a:xfrm>
              <a:off x="1831" y="2400"/>
              <a:ext cx="460" cy="460"/>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79 h 243"/>
                <a:gd name="T12" fmla="*/ 64 w 243"/>
                <a:gd name="T13" fmla="*/ 122 h 243"/>
                <a:gd name="T14" fmla="*/ 121 w 243"/>
                <a:gd name="T15" fmla="*/ 64 h 243"/>
                <a:gd name="T16" fmla="*/ 179 w 243"/>
                <a:gd name="T17" fmla="*/ 122 h 243"/>
                <a:gd name="T18" fmla="*/ 121 w 243"/>
                <a:gd name="T19" fmla="*/ 179 h 243"/>
                <a:gd name="T20" fmla="*/ 121 w 243"/>
                <a:gd name="T21" fmla="*/ 179 h 243"/>
                <a:gd name="T22" fmla="*/ 121 w 243"/>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79"/>
                  </a:moveTo>
                  <a:cubicBezTo>
                    <a:pt x="90" y="179"/>
                    <a:pt x="64" y="153"/>
                    <a:pt x="64" y="122"/>
                  </a:cubicBezTo>
                  <a:cubicBezTo>
                    <a:pt x="64" y="90"/>
                    <a:pt x="90" y="64"/>
                    <a:pt x="121" y="64"/>
                  </a:cubicBezTo>
                  <a:cubicBezTo>
                    <a:pt x="153" y="64"/>
                    <a:pt x="179" y="90"/>
                    <a:pt x="179" y="122"/>
                  </a:cubicBezTo>
                  <a:cubicBezTo>
                    <a:pt x="179" y="153"/>
                    <a:pt x="153" y="179"/>
                    <a:pt x="121" y="179"/>
                  </a:cubicBezTo>
                  <a:close/>
                  <a:moveTo>
                    <a:pt x="121" y="179"/>
                  </a:moveTo>
                  <a:cubicBezTo>
                    <a:pt x="121" y="179"/>
                    <a:pt x="121" y="179"/>
                    <a:pt x="121"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8">
              <a:extLst>
                <a:ext uri="{FF2B5EF4-FFF2-40B4-BE49-F238E27FC236}">
                  <a16:creationId xmlns:a16="http://schemas.microsoft.com/office/drawing/2014/main" id="{626A8D4D-4F61-A647-AEA3-1F277420501C}"/>
                </a:ext>
              </a:extLst>
            </p:cNvPr>
            <p:cNvSpPr>
              <a:spLocks noEditPoints="1"/>
            </p:cNvSpPr>
            <p:nvPr/>
          </p:nvSpPr>
          <p:spPr bwMode="auto">
            <a:xfrm>
              <a:off x="2395" y="2400"/>
              <a:ext cx="462" cy="460"/>
            </a:xfrm>
            <a:custGeom>
              <a:avLst/>
              <a:gdLst>
                <a:gd name="T0" fmla="*/ 122 w 244"/>
                <a:gd name="T1" fmla="*/ 0 h 243"/>
                <a:gd name="T2" fmla="*/ 0 w 244"/>
                <a:gd name="T3" fmla="*/ 122 h 243"/>
                <a:gd name="T4" fmla="*/ 122 w 244"/>
                <a:gd name="T5" fmla="*/ 243 h 243"/>
                <a:gd name="T6" fmla="*/ 244 w 244"/>
                <a:gd name="T7" fmla="*/ 122 h 243"/>
                <a:gd name="T8" fmla="*/ 122 w 244"/>
                <a:gd name="T9" fmla="*/ 0 h 243"/>
                <a:gd name="T10" fmla="*/ 122 w 244"/>
                <a:gd name="T11" fmla="*/ 179 h 243"/>
                <a:gd name="T12" fmla="*/ 64 w 244"/>
                <a:gd name="T13" fmla="*/ 122 h 243"/>
                <a:gd name="T14" fmla="*/ 122 w 244"/>
                <a:gd name="T15" fmla="*/ 64 h 243"/>
                <a:gd name="T16" fmla="*/ 180 w 244"/>
                <a:gd name="T17" fmla="*/ 122 h 243"/>
                <a:gd name="T18" fmla="*/ 122 w 244"/>
                <a:gd name="T19" fmla="*/ 179 h 243"/>
                <a:gd name="T20" fmla="*/ 122 w 244"/>
                <a:gd name="T21" fmla="*/ 179 h 243"/>
                <a:gd name="T22" fmla="*/ 122 w 244"/>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43">
                  <a:moveTo>
                    <a:pt x="122" y="0"/>
                  </a:moveTo>
                  <a:cubicBezTo>
                    <a:pt x="55" y="0"/>
                    <a:pt x="0" y="55"/>
                    <a:pt x="0" y="122"/>
                  </a:cubicBezTo>
                  <a:cubicBezTo>
                    <a:pt x="0" y="189"/>
                    <a:pt x="55" y="243"/>
                    <a:pt x="122" y="243"/>
                  </a:cubicBezTo>
                  <a:cubicBezTo>
                    <a:pt x="189" y="243"/>
                    <a:pt x="244" y="189"/>
                    <a:pt x="244" y="122"/>
                  </a:cubicBezTo>
                  <a:cubicBezTo>
                    <a:pt x="244" y="55"/>
                    <a:pt x="189" y="0"/>
                    <a:pt x="122" y="0"/>
                  </a:cubicBezTo>
                  <a:close/>
                  <a:moveTo>
                    <a:pt x="122" y="179"/>
                  </a:moveTo>
                  <a:cubicBezTo>
                    <a:pt x="90" y="179"/>
                    <a:pt x="64" y="153"/>
                    <a:pt x="64" y="122"/>
                  </a:cubicBezTo>
                  <a:cubicBezTo>
                    <a:pt x="64" y="90"/>
                    <a:pt x="90" y="64"/>
                    <a:pt x="122" y="64"/>
                  </a:cubicBezTo>
                  <a:cubicBezTo>
                    <a:pt x="154" y="64"/>
                    <a:pt x="180" y="90"/>
                    <a:pt x="180" y="122"/>
                  </a:cubicBezTo>
                  <a:cubicBezTo>
                    <a:pt x="180" y="153"/>
                    <a:pt x="154" y="179"/>
                    <a:pt x="122" y="179"/>
                  </a:cubicBezTo>
                  <a:close/>
                  <a:moveTo>
                    <a:pt x="122" y="179"/>
                  </a:moveTo>
                  <a:cubicBezTo>
                    <a:pt x="122" y="179"/>
                    <a:pt x="122" y="179"/>
                    <a:pt x="12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
              <a:extLst>
                <a:ext uri="{FF2B5EF4-FFF2-40B4-BE49-F238E27FC236}">
                  <a16:creationId xmlns:a16="http://schemas.microsoft.com/office/drawing/2014/main" id="{CEDB364E-B488-9D40-94DE-846695FD43EE}"/>
                </a:ext>
              </a:extLst>
            </p:cNvPr>
            <p:cNvSpPr>
              <a:spLocks noEditPoints="1"/>
            </p:cNvSpPr>
            <p:nvPr/>
          </p:nvSpPr>
          <p:spPr bwMode="auto">
            <a:xfrm>
              <a:off x="2961" y="2400"/>
              <a:ext cx="460" cy="460"/>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122 w 243"/>
                <a:gd name="T11" fmla="*/ 179 h 243"/>
                <a:gd name="T12" fmla="*/ 64 w 243"/>
                <a:gd name="T13" fmla="*/ 122 h 243"/>
                <a:gd name="T14" fmla="*/ 122 w 243"/>
                <a:gd name="T15" fmla="*/ 64 h 243"/>
                <a:gd name="T16" fmla="*/ 179 w 243"/>
                <a:gd name="T17" fmla="*/ 122 h 243"/>
                <a:gd name="T18" fmla="*/ 122 w 243"/>
                <a:gd name="T19" fmla="*/ 179 h 243"/>
                <a:gd name="T20" fmla="*/ 122 w 243"/>
                <a:gd name="T21" fmla="*/ 179 h 243"/>
                <a:gd name="T22" fmla="*/ 122 w 243"/>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122" y="179"/>
                  </a:moveTo>
                  <a:cubicBezTo>
                    <a:pt x="90" y="179"/>
                    <a:pt x="64" y="153"/>
                    <a:pt x="64" y="122"/>
                  </a:cubicBezTo>
                  <a:cubicBezTo>
                    <a:pt x="64" y="90"/>
                    <a:pt x="90" y="64"/>
                    <a:pt x="122" y="64"/>
                  </a:cubicBezTo>
                  <a:cubicBezTo>
                    <a:pt x="153" y="64"/>
                    <a:pt x="179" y="90"/>
                    <a:pt x="179" y="122"/>
                  </a:cubicBezTo>
                  <a:cubicBezTo>
                    <a:pt x="179" y="153"/>
                    <a:pt x="153" y="179"/>
                    <a:pt x="122" y="179"/>
                  </a:cubicBezTo>
                  <a:close/>
                  <a:moveTo>
                    <a:pt x="122" y="179"/>
                  </a:moveTo>
                  <a:cubicBezTo>
                    <a:pt x="122" y="179"/>
                    <a:pt x="122" y="179"/>
                    <a:pt x="12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0">
              <a:extLst>
                <a:ext uri="{FF2B5EF4-FFF2-40B4-BE49-F238E27FC236}">
                  <a16:creationId xmlns:a16="http://schemas.microsoft.com/office/drawing/2014/main" id="{A26E2E28-53AC-D345-B825-D158D4ECB11A}"/>
                </a:ext>
              </a:extLst>
            </p:cNvPr>
            <p:cNvSpPr>
              <a:spLocks noEditPoints="1"/>
            </p:cNvSpPr>
            <p:nvPr/>
          </p:nvSpPr>
          <p:spPr bwMode="auto">
            <a:xfrm>
              <a:off x="1831" y="1769"/>
              <a:ext cx="460" cy="462"/>
            </a:xfrm>
            <a:custGeom>
              <a:avLst/>
              <a:gdLst>
                <a:gd name="T0" fmla="*/ 121 w 243"/>
                <a:gd name="T1" fmla="*/ 0 h 244"/>
                <a:gd name="T2" fmla="*/ 0 w 243"/>
                <a:gd name="T3" fmla="*/ 122 h 244"/>
                <a:gd name="T4" fmla="*/ 121 w 243"/>
                <a:gd name="T5" fmla="*/ 244 h 244"/>
                <a:gd name="T6" fmla="*/ 243 w 243"/>
                <a:gd name="T7" fmla="*/ 122 h 244"/>
                <a:gd name="T8" fmla="*/ 121 w 243"/>
                <a:gd name="T9" fmla="*/ 0 h 244"/>
                <a:gd name="T10" fmla="*/ 121 w 243"/>
                <a:gd name="T11" fmla="*/ 180 h 244"/>
                <a:gd name="T12" fmla="*/ 64 w 243"/>
                <a:gd name="T13" fmla="*/ 122 h 244"/>
                <a:gd name="T14" fmla="*/ 121 w 243"/>
                <a:gd name="T15" fmla="*/ 64 h 244"/>
                <a:gd name="T16" fmla="*/ 179 w 243"/>
                <a:gd name="T17" fmla="*/ 122 h 244"/>
                <a:gd name="T18" fmla="*/ 121 w 243"/>
                <a:gd name="T19" fmla="*/ 180 h 244"/>
                <a:gd name="T20" fmla="*/ 121 w 243"/>
                <a:gd name="T21" fmla="*/ 180 h 244"/>
                <a:gd name="T22" fmla="*/ 121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moveTo>
                    <a:pt x="121" y="180"/>
                  </a:moveTo>
                  <a:cubicBezTo>
                    <a:pt x="90" y="180"/>
                    <a:pt x="64" y="154"/>
                    <a:pt x="64" y="122"/>
                  </a:cubicBezTo>
                  <a:cubicBezTo>
                    <a:pt x="64" y="90"/>
                    <a:pt x="90" y="64"/>
                    <a:pt x="121" y="64"/>
                  </a:cubicBezTo>
                  <a:cubicBezTo>
                    <a:pt x="153" y="64"/>
                    <a:pt x="179" y="90"/>
                    <a:pt x="179" y="122"/>
                  </a:cubicBezTo>
                  <a:cubicBezTo>
                    <a:pt x="179" y="154"/>
                    <a:pt x="153" y="180"/>
                    <a:pt x="121" y="180"/>
                  </a:cubicBezTo>
                  <a:close/>
                  <a:moveTo>
                    <a:pt x="121" y="180"/>
                  </a:moveTo>
                  <a:cubicBezTo>
                    <a:pt x="121" y="180"/>
                    <a:pt x="121" y="180"/>
                    <a:pt x="121"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1">
              <a:extLst>
                <a:ext uri="{FF2B5EF4-FFF2-40B4-BE49-F238E27FC236}">
                  <a16:creationId xmlns:a16="http://schemas.microsoft.com/office/drawing/2014/main" id="{F9DCCBD7-F4FB-994E-876F-1597F20E9A56}"/>
                </a:ext>
              </a:extLst>
            </p:cNvPr>
            <p:cNvSpPr>
              <a:spLocks noEditPoints="1"/>
            </p:cNvSpPr>
            <p:nvPr/>
          </p:nvSpPr>
          <p:spPr bwMode="auto">
            <a:xfrm>
              <a:off x="2961" y="1769"/>
              <a:ext cx="460" cy="462"/>
            </a:xfrm>
            <a:custGeom>
              <a:avLst/>
              <a:gdLst>
                <a:gd name="T0" fmla="*/ 122 w 243"/>
                <a:gd name="T1" fmla="*/ 0 h 244"/>
                <a:gd name="T2" fmla="*/ 0 w 243"/>
                <a:gd name="T3" fmla="*/ 122 h 244"/>
                <a:gd name="T4" fmla="*/ 122 w 243"/>
                <a:gd name="T5" fmla="*/ 244 h 244"/>
                <a:gd name="T6" fmla="*/ 243 w 243"/>
                <a:gd name="T7" fmla="*/ 122 h 244"/>
                <a:gd name="T8" fmla="*/ 122 w 243"/>
                <a:gd name="T9" fmla="*/ 0 h 244"/>
                <a:gd name="T10" fmla="*/ 122 w 243"/>
                <a:gd name="T11" fmla="*/ 180 h 244"/>
                <a:gd name="T12" fmla="*/ 64 w 243"/>
                <a:gd name="T13" fmla="*/ 122 h 244"/>
                <a:gd name="T14" fmla="*/ 122 w 243"/>
                <a:gd name="T15" fmla="*/ 64 h 244"/>
                <a:gd name="T16" fmla="*/ 179 w 243"/>
                <a:gd name="T17" fmla="*/ 122 h 244"/>
                <a:gd name="T18" fmla="*/ 122 w 243"/>
                <a:gd name="T19" fmla="*/ 180 h 244"/>
                <a:gd name="T20" fmla="*/ 122 w 243"/>
                <a:gd name="T21" fmla="*/ 180 h 244"/>
                <a:gd name="T22" fmla="*/ 122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2" y="0"/>
                  </a:moveTo>
                  <a:cubicBezTo>
                    <a:pt x="55" y="0"/>
                    <a:pt x="0" y="55"/>
                    <a:pt x="0" y="122"/>
                  </a:cubicBezTo>
                  <a:cubicBezTo>
                    <a:pt x="0" y="189"/>
                    <a:pt x="55" y="244"/>
                    <a:pt x="122" y="244"/>
                  </a:cubicBezTo>
                  <a:cubicBezTo>
                    <a:pt x="189" y="244"/>
                    <a:pt x="243" y="189"/>
                    <a:pt x="243" y="122"/>
                  </a:cubicBezTo>
                  <a:cubicBezTo>
                    <a:pt x="243" y="55"/>
                    <a:pt x="189" y="0"/>
                    <a:pt x="122" y="0"/>
                  </a:cubicBezTo>
                  <a:close/>
                  <a:moveTo>
                    <a:pt x="122" y="180"/>
                  </a:moveTo>
                  <a:cubicBezTo>
                    <a:pt x="90" y="180"/>
                    <a:pt x="64" y="154"/>
                    <a:pt x="64" y="122"/>
                  </a:cubicBezTo>
                  <a:cubicBezTo>
                    <a:pt x="64" y="90"/>
                    <a:pt x="90" y="64"/>
                    <a:pt x="122" y="64"/>
                  </a:cubicBezTo>
                  <a:cubicBezTo>
                    <a:pt x="153" y="64"/>
                    <a:pt x="179" y="90"/>
                    <a:pt x="179" y="122"/>
                  </a:cubicBezTo>
                  <a:cubicBezTo>
                    <a:pt x="179" y="154"/>
                    <a:pt x="153" y="180"/>
                    <a:pt x="122" y="180"/>
                  </a:cubicBezTo>
                  <a:close/>
                  <a:moveTo>
                    <a:pt x="122" y="180"/>
                  </a:moveTo>
                  <a:cubicBezTo>
                    <a:pt x="122" y="180"/>
                    <a:pt x="122" y="180"/>
                    <a:pt x="122"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2">
              <a:extLst>
                <a:ext uri="{FF2B5EF4-FFF2-40B4-BE49-F238E27FC236}">
                  <a16:creationId xmlns:a16="http://schemas.microsoft.com/office/drawing/2014/main" id="{AE08C227-E14C-D54E-A12E-188664A1BF23}"/>
                </a:ext>
              </a:extLst>
            </p:cNvPr>
            <p:cNvSpPr>
              <a:spLocks noEditPoints="1"/>
            </p:cNvSpPr>
            <p:nvPr/>
          </p:nvSpPr>
          <p:spPr bwMode="auto">
            <a:xfrm>
              <a:off x="3527" y="1769"/>
              <a:ext cx="461" cy="462"/>
            </a:xfrm>
            <a:custGeom>
              <a:avLst/>
              <a:gdLst>
                <a:gd name="T0" fmla="*/ 121 w 243"/>
                <a:gd name="T1" fmla="*/ 0 h 244"/>
                <a:gd name="T2" fmla="*/ 0 w 243"/>
                <a:gd name="T3" fmla="*/ 122 h 244"/>
                <a:gd name="T4" fmla="*/ 121 w 243"/>
                <a:gd name="T5" fmla="*/ 244 h 244"/>
                <a:gd name="T6" fmla="*/ 243 w 243"/>
                <a:gd name="T7" fmla="*/ 122 h 244"/>
                <a:gd name="T8" fmla="*/ 121 w 243"/>
                <a:gd name="T9" fmla="*/ 0 h 244"/>
                <a:gd name="T10" fmla="*/ 121 w 243"/>
                <a:gd name="T11" fmla="*/ 180 h 244"/>
                <a:gd name="T12" fmla="*/ 64 w 243"/>
                <a:gd name="T13" fmla="*/ 122 h 244"/>
                <a:gd name="T14" fmla="*/ 121 w 243"/>
                <a:gd name="T15" fmla="*/ 64 h 244"/>
                <a:gd name="T16" fmla="*/ 179 w 243"/>
                <a:gd name="T17" fmla="*/ 122 h 244"/>
                <a:gd name="T18" fmla="*/ 121 w 243"/>
                <a:gd name="T19" fmla="*/ 180 h 244"/>
                <a:gd name="T20" fmla="*/ 121 w 243"/>
                <a:gd name="T21" fmla="*/ 180 h 244"/>
                <a:gd name="T22" fmla="*/ 121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moveTo>
                    <a:pt x="121" y="180"/>
                  </a:moveTo>
                  <a:cubicBezTo>
                    <a:pt x="90" y="180"/>
                    <a:pt x="64" y="154"/>
                    <a:pt x="64" y="122"/>
                  </a:cubicBezTo>
                  <a:cubicBezTo>
                    <a:pt x="64" y="90"/>
                    <a:pt x="90" y="64"/>
                    <a:pt x="121" y="64"/>
                  </a:cubicBezTo>
                  <a:cubicBezTo>
                    <a:pt x="153" y="64"/>
                    <a:pt x="179" y="90"/>
                    <a:pt x="179" y="122"/>
                  </a:cubicBezTo>
                  <a:cubicBezTo>
                    <a:pt x="179" y="154"/>
                    <a:pt x="153" y="180"/>
                    <a:pt x="121" y="180"/>
                  </a:cubicBezTo>
                  <a:close/>
                  <a:moveTo>
                    <a:pt x="121" y="180"/>
                  </a:moveTo>
                  <a:cubicBezTo>
                    <a:pt x="121" y="180"/>
                    <a:pt x="121" y="180"/>
                    <a:pt x="121"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3">
              <a:extLst>
                <a:ext uri="{FF2B5EF4-FFF2-40B4-BE49-F238E27FC236}">
                  <a16:creationId xmlns:a16="http://schemas.microsoft.com/office/drawing/2014/main" id="{1EFE0DD3-0E60-8841-AD87-A2D055EE132A}"/>
                </a:ext>
              </a:extLst>
            </p:cNvPr>
            <p:cNvSpPr>
              <a:spLocks noEditPoints="1"/>
            </p:cNvSpPr>
            <p:nvPr/>
          </p:nvSpPr>
          <p:spPr bwMode="auto">
            <a:xfrm>
              <a:off x="2395" y="1769"/>
              <a:ext cx="462" cy="462"/>
            </a:xfrm>
            <a:custGeom>
              <a:avLst/>
              <a:gdLst>
                <a:gd name="T0" fmla="*/ 122 w 244"/>
                <a:gd name="T1" fmla="*/ 0 h 244"/>
                <a:gd name="T2" fmla="*/ 0 w 244"/>
                <a:gd name="T3" fmla="*/ 122 h 244"/>
                <a:gd name="T4" fmla="*/ 122 w 244"/>
                <a:gd name="T5" fmla="*/ 244 h 244"/>
                <a:gd name="T6" fmla="*/ 244 w 244"/>
                <a:gd name="T7" fmla="*/ 122 h 244"/>
                <a:gd name="T8" fmla="*/ 122 w 244"/>
                <a:gd name="T9" fmla="*/ 0 h 244"/>
                <a:gd name="T10" fmla="*/ 122 w 244"/>
                <a:gd name="T11" fmla="*/ 180 h 244"/>
                <a:gd name="T12" fmla="*/ 64 w 244"/>
                <a:gd name="T13" fmla="*/ 122 h 244"/>
                <a:gd name="T14" fmla="*/ 122 w 244"/>
                <a:gd name="T15" fmla="*/ 64 h 244"/>
                <a:gd name="T16" fmla="*/ 180 w 244"/>
                <a:gd name="T17" fmla="*/ 122 h 244"/>
                <a:gd name="T18" fmla="*/ 122 w 244"/>
                <a:gd name="T19" fmla="*/ 180 h 244"/>
                <a:gd name="T20" fmla="*/ 122 w 244"/>
                <a:gd name="T21" fmla="*/ 180 h 244"/>
                <a:gd name="T22" fmla="*/ 122 w 244"/>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44">
                  <a:moveTo>
                    <a:pt x="122" y="0"/>
                  </a:moveTo>
                  <a:cubicBezTo>
                    <a:pt x="55" y="0"/>
                    <a:pt x="0" y="55"/>
                    <a:pt x="0" y="122"/>
                  </a:cubicBezTo>
                  <a:cubicBezTo>
                    <a:pt x="0" y="189"/>
                    <a:pt x="55" y="244"/>
                    <a:pt x="122" y="244"/>
                  </a:cubicBezTo>
                  <a:cubicBezTo>
                    <a:pt x="189" y="244"/>
                    <a:pt x="244" y="189"/>
                    <a:pt x="244" y="122"/>
                  </a:cubicBezTo>
                  <a:cubicBezTo>
                    <a:pt x="244" y="55"/>
                    <a:pt x="189" y="0"/>
                    <a:pt x="122" y="0"/>
                  </a:cubicBezTo>
                  <a:close/>
                  <a:moveTo>
                    <a:pt x="122" y="180"/>
                  </a:moveTo>
                  <a:cubicBezTo>
                    <a:pt x="90" y="180"/>
                    <a:pt x="64" y="154"/>
                    <a:pt x="64" y="122"/>
                  </a:cubicBezTo>
                  <a:cubicBezTo>
                    <a:pt x="64" y="90"/>
                    <a:pt x="90" y="64"/>
                    <a:pt x="122" y="64"/>
                  </a:cubicBezTo>
                  <a:cubicBezTo>
                    <a:pt x="154" y="64"/>
                    <a:pt x="180" y="90"/>
                    <a:pt x="180" y="122"/>
                  </a:cubicBezTo>
                  <a:cubicBezTo>
                    <a:pt x="180" y="154"/>
                    <a:pt x="154" y="180"/>
                    <a:pt x="122" y="180"/>
                  </a:cubicBezTo>
                  <a:close/>
                  <a:moveTo>
                    <a:pt x="122" y="180"/>
                  </a:moveTo>
                  <a:cubicBezTo>
                    <a:pt x="122" y="180"/>
                    <a:pt x="122" y="180"/>
                    <a:pt x="122"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4">
              <a:extLst>
                <a:ext uri="{FF2B5EF4-FFF2-40B4-BE49-F238E27FC236}">
                  <a16:creationId xmlns:a16="http://schemas.microsoft.com/office/drawing/2014/main" id="{74F6CF93-C2A3-264F-99E9-54D0038D52D2}"/>
                </a:ext>
              </a:extLst>
            </p:cNvPr>
            <p:cNvSpPr>
              <a:spLocks noEditPoints="1"/>
            </p:cNvSpPr>
            <p:nvPr/>
          </p:nvSpPr>
          <p:spPr bwMode="auto">
            <a:xfrm>
              <a:off x="1776" y="1444"/>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5">
              <a:extLst>
                <a:ext uri="{FF2B5EF4-FFF2-40B4-BE49-F238E27FC236}">
                  <a16:creationId xmlns:a16="http://schemas.microsoft.com/office/drawing/2014/main" id="{CFD4EB68-FB27-9C43-854D-A0CBAADDAD67}"/>
                </a:ext>
              </a:extLst>
            </p:cNvPr>
            <p:cNvSpPr>
              <a:spLocks noEditPoints="1"/>
            </p:cNvSpPr>
            <p:nvPr/>
          </p:nvSpPr>
          <p:spPr bwMode="auto">
            <a:xfrm>
              <a:off x="3272" y="2496"/>
              <a:ext cx="1333" cy="1333"/>
            </a:xfrm>
            <a:custGeom>
              <a:avLst/>
              <a:gdLst>
                <a:gd name="T0" fmla="*/ 352 w 704"/>
                <a:gd name="T1" fmla="*/ 0 h 704"/>
                <a:gd name="T2" fmla="*/ 0 w 704"/>
                <a:gd name="T3" fmla="*/ 352 h 704"/>
                <a:gd name="T4" fmla="*/ 352 w 704"/>
                <a:gd name="T5" fmla="*/ 704 h 704"/>
                <a:gd name="T6" fmla="*/ 704 w 704"/>
                <a:gd name="T7" fmla="*/ 352 h 704"/>
                <a:gd name="T8" fmla="*/ 352 w 704"/>
                <a:gd name="T9" fmla="*/ 0 h 704"/>
                <a:gd name="T10" fmla="*/ 352 w 704"/>
                <a:gd name="T11" fmla="*/ 640 h 704"/>
                <a:gd name="T12" fmla="*/ 64 w 704"/>
                <a:gd name="T13" fmla="*/ 352 h 704"/>
                <a:gd name="T14" fmla="*/ 352 w 704"/>
                <a:gd name="T15" fmla="*/ 64 h 704"/>
                <a:gd name="T16" fmla="*/ 640 w 704"/>
                <a:gd name="T17" fmla="*/ 352 h 704"/>
                <a:gd name="T18" fmla="*/ 352 w 704"/>
                <a:gd name="T19" fmla="*/ 640 h 704"/>
                <a:gd name="T20" fmla="*/ 352 w 704"/>
                <a:gd name="T21" fmla="*/ 640 h 704"/>
                <a:gd name="T22" fmla="*/ 352 w 704"/>
                <a:gd name="T2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4" h="704">
                  <a:moveTo>
                    <a:pt x="352" y="0"/>
                  </a:moveTo>
                  <a:cubicBezTo>
                    <a:pt x="158" y="0"/>
                    <a:pt x="0" y="158"/>
                    <a:pt x="0" y="352"/>
                  </a:cubicBezTo>
                  <a:cubicBezTo>
                    <a:pt x="0" y="547"/>
                    <a:pt x="158" y="704"/>
                    <a:pt x="352" y="704"/>
                  </a:cubicBezTo>
                  <a:cubicBezTo>
                    <a:pt x="546" y="704"/>
                    <a:pt x="704" y="547"/>
                    <a:pt x="704" y="352"/>
                  </a:cubicBezTo>
                  <a:cubicBezTo>
                    <a:pt x="704" y="158"/>
                    <a:pt x="546" y="0"/>
                    <a:pt x="352" y="0"/>
                  </a:cubicBezTo>
                  <a:close/>
                  <a:moveTo>
                    <a:pt x="352" y="640"/>
                  </a:moveTo>
                  <a:cubicBezTo>
                    <a:pt x="194" y="640"/>
                    <a:pt x="64" y="511"/>
                    <a:pt x="64" y="352"/>
                  </a:cubicBezTo>
                  <a:cubicBezTo>
                    <a:pt x="64" y="194"/>
                    <a:pt x="194" y="64"/>
                    <a:pt x="352" y="64"/>
                  </a:cubicBezTo>
                  <a:cubicBezTo>
                    <a:pt x="511" y="64"/>
                    <a:pt x="640" y="194"/>
                    <a:pt x="640" y="352"/>
                  </a:cubicBezTo>
                  <a:cubicBezTo>
                    <a:pt x="640" y="511"/>
                    <a:pt x="511" y="640"/>
                    <a:pt x="352" y="640"/>
                  </a:cubicBezTo>
                  <a:close/>
                  <a:moveTo>
                    <a:pt x="352" y="640"/>
                  </a:moveTo>
                  <a:cubicBezTo>
                    <a:pt x="352" y="640"/>
                    <a:pt x="352" y="640"/>
                    <a:pt x="352" y="6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6">
              <a:extLst>
                <a:ext uri="{FF2B5EF4-FFF2-40B4-BE49-F238E27FC236}">
                  <a16:creationId xmlns:a16="http://schemas.microsoft.com/office/drawing/2014/main" id="{25F89DF5-DEB3-B846-B0F4-0C9AE631FF8C}"/>
                </a:ext>
              </a:extLst>
            </p:cNvPr>
            <p:cNvSpPr>
              <a:spLocks noEditPoints="1"/>
            </p:cNvSpPr>
            <p:nvPr/>
          </p:nvSpPr>
          <p:spPr bwMode="auto">
            <a:xfrm>
              <a:off x="3522" y="2928"/>
              <a:ext cx="823" cy="456"/>
            </a:xfrm>
            <a:custGeom>
              <a:avLst/>
              <a:gdLst>
                <a:gd name="T0" fmla="*/ 403 w 435"/>
                <a:gd name="T1" fmla="*/ 0 h 241"/>
                <a:gd name="T2" fmla="*/ 332 w 435"/>
                <a:gd name="T3" fmla="*/ 0 h 241"/>
                <a:gd name="T4" fmla="*/ 300 w 435"/>
                <a:gd name="T5" fmla="*/ 32 h 241"/>
                <a:gd name="T6" fmla="*/ 323 w 435"/>
                <a:gd name="T7" fmla="*/ 62 h 241"/>
                <a:gd name="T8" fmla="*/ 235 w 435"/>
                <a:gd name="T9" fmla="*/ 149 h 241"/>
                <a:gd name="T10" fmla="*/ 165 w 435"/>
                <a:gd name="T11" fmla="*/ 79 h 241"/>
                <a:gd name="T12" fmla="*/ 119 w 435"/>
                <a:gd name="T13" fmla="*/ 79 h 241"/>
                <a:gd name="T14" fmla="*/ 12 w 435"/>
                <a:gd name="T15" fmla="*/ 186 h 241"/>
                <a:gd name="T16" fmla="*/ 12 w 435"/>
                <a:gd name="T17" fmla="*/ 231 h 241"/>
                <a:gd name="T18" fmla="*/ 35 w 435"/>
                <a:gd name="T19" fmla="*/ 241 h 241"/>
                <a:gd name="T20" fmla="*/ 57 w 435"/>
                <a:gd name="T21" fmla="*/ 231 h 241"/>
                <a:gd name="T22" fmla="*/ 142 w 435"/>
                <a:gd name="T23" fmla="*/ 147 h 241"/>
                <a:gd name="T24" fmla="*/ 213 w 435"/>
                <a:gd name="T25" fmla="*/ 217 h 241"/>
                <a:gd name="T26" fmla="*/ 258 w 435"/>
                <a:gd name="T27" fmla="*/ 217 h 241"/>
                <a:gd name="T28" fmla="*/ 371 w 435"/>
                <a:gd name="T29" fmla="*/ 104 h 241"/>
                <a:gd name="T30" fmla="*/ 403 w 435"/>
                <a:gd name="T31" fmla="*/ 134 h 241"/>
                <a:gd name="T32" fmla="*/ 435 w 435"/>
                <a:gd name="T33" fmla="*/ 102 h 241"/>
                <a:gd name="T34" fmla="*/ 435 w 435"/>
                <a:gd name="T35" fmla="*/ 32 h 241"/>
                <a:gd name="T36" fmla="*/ 403 w 435"/>
                <a:gd name="T37" fmla="*/ 0 h 241"/>
                <a:gd name="T38" fmla="*/ 403 w 435"/>
                <a:gd name="T39" fmla="*/ 0 h 241"/>
                <a:gd name="T40" fmla="*/ 403 w 435"/>
                <a:gd name="T41"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5" h="241">
                  <a:moveTo>
                    <a:pt x="403" y="0"/>
                  </a:moveTo>
                  <a:cubicBezTo>
                    <a:pt x="332" y="0"/>
                    <a:pt x="332" y="0"/>
                    <a:pt x="332" y="0"/>
                  </a:cubicBezTo>
                  <a:cubicBezTo>
                    <a:pt x="315" y="0"/>
                    <a:pt x="300" y="14"/>
                    <a:pt x="300" y="32"/>
                  </a:cubicBezTo>
                  <a:cubicBezTo>
                    <a:pt x="300" y="46"/>
                    <a:pt x="310" y="58"/>
                    <a:pt x="323" y="62"/>
                  </a:cubicBezTo>
                  <a:cubicBezTo>
                    <a:pt x="235" y="149"/>
                    <a:pt x="235" y="149"/>
                    <a:pt x="235" y="149"/>
                  </a:cubicBezTo>
                  <a:cubicBezTo>
                    <a:pt x="165" y="79"/>
                    <a:pt x="165" y="79"/>
                    <a:pt x="165" y="79"/>
                  </a:cubicBezTo>
                  <a:cubicBezTo>
                    <a:pt x="152" y="66"/>
                    <a:pt x="132" y="66"/>
                    <a:pt x="119" y="79"/>
                  </a:cubicBezTo>
                  <a:cubicBezTo>
                    <a:pt x="12" y="186"/>
                    <a:pt x="12" y="186"/>
                    <a:pt x="12" y="186"/>
                  </a:cubicBezTo>
                  <a:cubicBezTo>
                    <a:pt x="0" y="198"/>
                    <a:pt x="0" y="219"/>
                    <a:pt x="12" y="231"/>
                  </a:cubicBezTo>
                  <a:cubicBezTo>
                    <a:pt x="18" y="237"/>
                    <a:pt x="27" y="241"/>
                    <a:pt x="35" y="241"/>
                  </a:cubicBezTo>
                  <a:cubicBezTo>
                    <a:pt x="43" y="241"/>
                    <a:pt x="51" y="237"/>
                    <a:pt x="57" y="231"/>
                  </a:cubicBezTo>
                  <a:cubicBezTo>
                    <a:pt x="142" y="147"/>
                    <a:pt x="142" y="147"/>
                    <a:pt x="142" y="147"/>
                  </a:cubicBezTo>
                  <a:cubicBezTo>
                    <a:pt x="213" y="217"/>
                    <a:pt x="213" y="217"/>
                    <a:pt x="213" y="217"/>
                  </a:cubicBezTo>
                  <a:cubicBezTo>
                    <a:pt x="225" y="230"/>
                    <a:pt x="245" y="230"/>
                    <a:pt x="258" y="217"/>
                  </a:cubicBezTo>
                  <a:cubicBezTo>
                    <a:pt x="371" y="104"/>
                    <a:pt x="371" y="104"/>
                    <a:pt x="371" y="104"/>
                  </a:cubicBezTo>
                  <a:cubicBezTo>
                    <a:pt x="372" y="121"/>
                    <a:pt x="386" y="134"/>
                    <a:pt x="403" y="134"/>
                  </a:cubicBezTo>
                  <a:cubicBezTo>
                    <a:pt x="420" y="134"/>
                    <a:pt x="435" y="120"/>
                    <a:pt x="435" y="102"/>
                  </a:cubicBezTo>
                  <a:cubicBezTo>
                    <a:pt x="435" y="32"/>
                    <a:pt x="435" y="32"/>
                    <a:pt x="435" y="32"/>
                  </a:cubicBezTo>
                  <a:cubicBezTo>
                    <a:pt x="435" y="14"/>
                    <a:pt x="420" y="0"/>
                    <a:pt x="403" y="0"/>
                  </a:cubicBezTo>
                  <a:close/>
                  <a:moveTo>
                    <a:pt x="403" y="0"/>
                  </a:moveTo>
                  <a:cubicBezTo>
                    <a:pt x="403" y="0"/>
                    <a:pt x="403" y="0"/>
                    <a:pt x="4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Oval 119">
            <a:extLst>
              <a:ext uri="{FF2B5EF4-FFF2-40B4-BE49-F238E27FC236}">
                <a16:creationId xmlns:a16="http://schemas.microsoft.com/office/drawing/2014/main" id="{9BB96621-8D9A-1546-9287-96BC86246D5E}"/>
              </a:ext>
            </a:extLst>
          </p:cNvPr>
          <p:cNvSpPr>
            <a:spLocks/>
          </p:cNvSpPr>
          <p:nvPr/>
        </p:nvSpPr>
        <p:spPr>
          <a:xfrm>
            <a:off x="7185032" y="2125490"/>
            <a:ext cx="1150686" cy="11485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A2170896-2A9E-524C-99C4-E1DD423CAF01}"/>
              </a:ext>
            </a:extLst>
          </p:cNvPr>
          <p:cNvSpPr>
            <a:spLocks/>
          </p:cNvSpPr>
          <p:nvPr/>
        </p:nvSpPr>
        <p:spPr>
          <a:xfrm>
            <a:off x="10118226" y="3909969"/>
            <a:ext cx="1150686" cy="11485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B00EA9B4-88AB-DB41-B0A0-2580D0652ACE}"/>
              </a:ext>
            </a:extLst>
          </p:cNvPr>
          <p:cNvSpPr>
            <a:spLocks/>
          </p:cNvSpPr>
          <p:nvPr/>
        </p:nvSpPr>
        <p:spPr>
          <a:xfrm>
            <a:off x="4067899" y="3931885"/>
            <a:ext cx="1150686" cy="11485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3" name="Group 377">
            <a:extLst>
              <a:ext uri="{FF2B5EF4-FFF2-40B4-BE49-F238E27FC236}">
                <a16:creationId xmlns:a16="http://schemas.microsoft.com/office/drawing/2014/main" id="{FA372CAA-8F94-4742-A3A9-07B9410BDCD5}"/>
              </a:ext>
            </a:extLst>
          </p:cNvPr>
          <p:cNvGrpSpPr>
            <a:grpSpLocks noChangeAspect="1"/>
          </p:cNvGrpSpPr>
          <p:nvPr/>
        </p:nvGrpSpPr>
        <p:grpSpPr bwMode="auto">
          <a:xfrm>
            <a:off x="7476457" y="2433574"/>
            <a:ext cx="562608" cy="562789"/>
            <a:chOff x="653" y="1369"/>
            <a:chExt cx="3101" cy="3102"/>
          </a:xfrm>
          <a:solidFill>
            <a:schemeClr val="bg1"/>
          </a:solidFill>
        </p:grpSpPr>
        <p:sp>
          <p:nvSpPr>
            <p:cNvPr id="114" name="Freeform 378">
              <a:extLst>
                <a:ext uri="{FF2B5EF4-FFF2-40B4-BE49-F238E27FC236}">
                  <a16:creationId xmlns:a16="http://schemas.microsoft.com/office/drawing/2014/main" id="{0EB62A9C-F4C0-CB46-8F90-62E7E693B416}"/>
                </a:ext>
              </a:extLst>
            </p:cNvPr>
            <p:cNvSpPr>
              <a:spLocks noEditPoints="1"/>
            </p:cNvSpPr>
            <p:nvPr/>
          </p:nvSpPr>
          <p:spPr bwMode="auto">
            <a:xfrm>
              <a:off x="653" y="1369"/>
              <a:ext cx="3101" cy="3102"/>
            </a:xfrm>
            <a:custGeom>
              <a:avLst/>
              <a:gdLst>
                <a:gd name="T0" fmla="*/ 1480 w 1638"/>
                <a:gd name="T1" fmla="*/ 647 h 1638"/>
                <a:gd name="T2" fmla="*/ 1475 w 1638"/>
                <a:gd name="T3" fmla="*/ 407 h 1638"/>
                <a:gd name="T4" fmla="*/ 1322 w 1638"/>
                <a:gd name="T5" fmla="*/ 163 h 1638"/>
                <a:gd name="T6" fmla="*/ 1164 w 1638"/>
                <a:gd name="T7" fmla="*/ 230 h 1638"/>
                <a:gd name="T8" fmla="*/ 992 w 1638"/>
                <a:gd name="T9" fmla="*/ 64 h 1638"/>
                <a:gd name="T10" fmla="*/ 710 w 1638"/>
                <a:gd name="T11" fmla="*/ 0 h 1638"/>
                <a:gd name="T12" fmla="*/ 647 w 1638"/>
                <a:gd name="T13" fmla="*/ 159 h 1638"/>
                <a:gd name="T14" fmla="*/ 407 w 1638"/>
                <a:gd name="T15" fmla="*/ 163 h 1638"/>
                <a:gd name="T16" fmla="*/ 163 w 1638"/>
                <a:gd name="T17" fmla="*/ 317 h 1638"/>
                <a:gd name="T18" fmla="*/ 230 w 1638"/>
                <a:gd name="T19" fmla="*/ 475 h 1638"/>
                <a:gd name="T20" fmla="*/ 64 w 1638"/>
                <a:gd name="T21" fmla="*/ 646 h 1638"/>
                <a:gd name="T22" fmla="*/ 0 w 1638"/>
                <a:gd name="T23" fmla="*/ 928 h 1638"/>
                <a:gd name="T24" fmla="*/ 159 w 1638"/>
                <a:gd name="T25" fmla="*/ 992 h 1638"/>
                <a:gd name="T26" fmla="*/ 163 w 1638"/>
                <a:gd name="T27" fmla="*/ 1231 h 1638"/>
                <a:gd name="T28" fmla="*/ 317 w 1638"/>
                <a:gd name="T29" fmla="*/ 1475 h 1638"/>
                <a:gd name="T30" fmla="*/ 475 w 1638"/>
                <a:gd name="T31" fmla="*/ 1408 h 1638"/>
                <a:gd name="T32" fmla="*/ 646 w 1638"/>
                <a:gd name="T33" fmla="*/ 1574 h 1638"/>
                <a:gd name="T34" fmla="*/ 928 w 1638"/>
                <a:gd name="T35" fmla="*/ 1638 h 1638"/>
                <a:gd name="T36" fmla="*/ 992 w 1638"/>
                <a:gd name="T37" fmla="*/ 1479 h 1638"/>
                <a:gd name="T38" fmla="*/ 1231 w 1638"/>
                <a:gd name="T39" fmla="*/ 1475 h 1638"/>
                <a:gd name="T40" fmla="*/ 1475 w 1638"/>
                <a:gd name="T41" fmla="*/ 1322 h 1638"/>
                <a:gd name="T42" fmla="*/ 1408 w 1638"/>
                <a:gd name="T43" fmla="*/ 1164 h 1638"/>
                <a:gd name="T44" fmla="*/ 1574 w 1638"/>
                <a:gd name="T45" fmla="*/ 992 h 1638"/>
                <a:gd name="T46" fmla="*/ 1638 w 1638"/>
                <a:gd name="T47" fmla="*/ 710 h 1638"/>
                <a:gd name="T48" fmla="*/ 1574 w 1638"/>
                <a:gd name="T49" fmla="*/ 928 h 1638"/>
                <a:gd name="T50" fmla="*/ 1418 w 1638"/>
                <a:gd name="T51" fmla="*/ 976 h 1638"/>
                <a:gd name="T52" fmla="*/ 1363 w 1638"/>
                <a:gd name="T53" fmla="*/ 1209 h 1638"/>
                <a:gd name="T54" fmla="*/ 1276 w 1638"/>
                <a:gd name="T55" fmla="*/ 1430 h 1638"/>
                <a:gd name="T56" fmla="*/ 1132 w 1638"/>
                <a:gd name="T57" fmla="*/ 1353 h 1638"/>
                <a:gd name="T58" fmla="*/ 928 w 1638"/>
                <a:gd name="T59" fmla="*/ 1479 h 1638"/>
                <a:gd name="T60" fmla="*/ 710 w 1638"/>
                <a:gd name="T61" fmla="*/ 1574 h 1638"/>
                <a:gd name="T62" fmla="*/ 663 w 1638"/>
                <a:gd name="T63" fmla="*/ 1417 h 1638"/>
                <a:gd name="T64" fmla="*/ 475 w 1638"/>
                <a:gd name="T65" fmla="*/ 1344 h 1638"/>
                <a:gd name="T66" fmla="*/ 362 w 1638"/>
                <a:gd name="T67" fmla="*/ 1430 h 1638"/>
                <a:gd name="T68" fmla="*/ 276 w 1638"/>
                <a:gd name="T69" fmla="*/ 1209 h 1638"/>
                <a:gd name="T70" fmla="*/ 221 w 1638"/>
                <a:gd name="T71" fmla="*/ 976 h 1638"/>
                <a:gd name="T72" fmla="*/ 64 w 1638"/>
                <a:gd name="T73" fmla="*/ 928 h 1638"/>
                <a:gd name="T74" fmla="*/ 159 w 1638"/>
                <a:gd name="T75" fmla="*/ 710 h 1638"/>
                <a:gd name="T76" fmla="*/ 286 w 1638"/>
                <a:gd name="T77" fmla="*/ 507 h 1638"/>
                <a:gd name="T78" fmla="*/ 208 w 1638"/>
                <a:gd name="T79" fmla="*/ 362 h 1638"/>
                <a:gd name="T80" fmla="*/ 429 w 1638"/>
                <a:gd name="T81" fmla="*/ 275 h 1638"/>
                <a:gd name="T82" fmla="*/ 663 w 1638"/>
                <a:gd name="T83" fmla="*/ 221 h 1638"/>
                <a:gd name="T84" fmla="*/ 710 w 1638"/>
                <a:gd name="T85" fmla="*/ 64 h 1638"/>
                <a:gd name="T86" fmla="*/ 928 w 1638"/>
                <a:gd name="T87" fmla="*/ 159 h 1638"/>
                <a:gd name="T88" fmla="*/ 1132 w 1638"/>
                <a:gd name="T89" fmla="*/ 285 h 1638"/>
                <a:gd name="T90" fmla="*/ 1276 w 1638"/>
                <a:gd name="T91" fmla="*/ 208 h 1638"/>
                <a:gd name="T92" fmla="*/ 1363 w 1638"/>
                <a:gd name="T93" fmla="*/ 429 h 1638"/>
                <a:gd name="T94" fmla="*/ 1418 w 1638"/>
                <a:gd name="T95" fmla="*/ 663 h 1638"/>
                <a:gd name="T96" fmla="*/ 1574 w 1638"/>
                <a:gd name="T97" fmla="*/ 710 h 1638"/>
                <a:gd name="T98" fmla="*/ 1574 w 1638"/>
                <a:gd name="T99" fmla="*/ 928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38" h="1638">
                  <a:moveTo>
                    <a:pt x="1574" y="646"/>
                  </a:moveTo>
                  <a:cubicBezTo>
                    <a:pt x="1480" y="647"/>
                    <a:pt x="1480" y="647"/>
                    <a:pt x="1480" y="647"/>
                  </a:cubicBezTo>
                  <a:cubicBezTo>
                    <a:pt x="1464" y="586"/>
                    <a:pt x="1440" y="528"/>
                    <a:pt x="1409" y="474"/>
                  </a:cubicBezTo>
                  <a:cubicBezTo>
                    <a:pt x="1475" y="407"/>
                    <a:pt x="1475" y="407"/>
                    <a:pt x="1475" y="407"/>
                  </a:cubicBezTo>
                  <a:cubicBezTo>
                    <a:pt x="1500" y="382"/>
                    <a:pt x="1500" y="342"/>
                    <a:pt x="1475" y="317"/>
                  </a:cubicBezTo>
                  <a:cubicBezTo>
                    <a:pt x="1322" y="163"/>
                    <a:pt x="1322" y="163"/>
                    <a:pt x="1322" y="163"/>
                  </a:cubicBezTo>
                  <a:cubicBezTo>
                    <a:pt x="1297" y="138"/>
                    <a:pt x="1256" y="138"/>
                    <a:pt x="1231" y="163"/>
                  </a:cubicBezTo>
                  <a:cubicBezTo>
                    <a:pt x="1164" y="230"/>
                    <a:pt x="1164" y="230"/>
                    <a:pt x="1164" y="230"/>
                  </a:cubicBezTo>
                  <a:cubicBezTo>
                    <a:pt x="1110" y="198"/>
                    <a:pt x="1052" y="174"/>
                    <a:pt x="992" y="159"/>
                  </a:cubicBezTo>
                  <a:cubicBezTo>
                    <a:pt x="992" y="64"/>
                    <a:pt x="992" y="64"/>
                    <a:pt x="992" y="64"/>
                  </a:cubicBezTo>
                  <a:cubicBezTo>
                    <a:pt x="992" y="29"/>
                    <a:pt x="963" y="0"/>
                    <a:pt x="928" y="0"/>
                  </a:cubicBezTo>
                  <a:cubicBezTo>
                    <a:pt x="710" y="0"/>
                    <a:pt x="710" y="0"/>
                    <a:pt x="710" y="0"/>
                  </a:cubicBezTo>
                  <a:cubicBezTo>
                    <a:pt x="675" y="0"/>
                    <a:pt x="646" y="29"/>
                    <a:pt x="646" y="64"/>
                  </a:cubicBezTo>
                  <a:cubicBezTo>
                    <a:pt x="647" y="159"/>
                    <a:pt x="647" y="159"/>
                    <a:pt x="647" y="159"/>
                  </a:cubicBezTo>
                  <a:cubicBezTo>
                    <a:pt x="586" y="174"/>
                    <a:pt x="528" y="199"/>
                    <a:pt x="475" y="230"/>
                  </a:cubicBezTo>
                  <a:cubicBezTo>
                    <a:pt x="407" y="163"/>
                    <a:pt x="407" y="163"/>
                    <a:pt x="407" y="163"/>
                  </a:cubicBezTo>
                  <a:cubicBezTo>
                    <a:pt x="382" y="138"/>
                    <a:pt x="342" y="138"/>
                    <a:pt x="317" y="163"/>
                  </a:cubicBezTo>
                  <a:cubicBezTo>
                    <a:pt x="163" y="317"/>
                    <a:pt x="163" y="317"/>
                    <a:pt x="163" y="317"/>
                  </a:cubicBezTo>
                  <a:cubicBezTo>
                    <a:pt x="138" y="342"/>
                    <a:pt x="138" y="382"/>
                    <a:pt x="163" y="407"/>
                  </a:cubicBezTo>
                  <a:cubicBezTo>
                    <a:pt x="230" y="475"/>
                    <a:pt x="230" y="475"/>
                    <a:pt x="230" y="475"/>
                  </a:cubicBezTo>
                  <a:cubicBezTo>
                    <a:pt x="199" y="528"/>
                    <a:pt x="175" y="586"/>
                    <a:pt x="159" y="646"/>
                  </a:cubicBezTo>
                  <a:cubicBezTo>
                    <a:pt x="64" y="646"/>
                    <a:pt x="64" y="646"/>
                    <a:pt x="64" y="646"/>
                  </a:cubicBezTo>
                  <a:cubicBezTo>
                    <a:pt x="29" y="646"/>
                    <a:pt x="0" y="675"/>
                    <a:pt x="0" y="710"/>
                  </a:cubicBezTo>
                  <a:cubicBezTo>
                    <a:pt x="0" y="928"/>
                    <a:pt x="0" y="928"/>
                    <a:pt x="0" y="928"/>
                  </a:cubicBezTo>
                  <a:cubicBezTo>
                    <a:pt x="0" y="963"/>
                    <a:pt x="29" y="992"/>
                    <a:pt x="64" y="992"/>
                  </a:cubicBezTo>
                  <a:cubicBezTo>
                    <a:pt x="159" y="992"/>
                    <a:pt x="159" y="992"/>
                    <a:pt x="159" y="992"/>
                  </a:cubicBezTo>
                  <a:cubicBezTo>
                    <a:pt x="175" y="1052"/>
                    <a:pt x="199" y="1110"/>
                    <a:pt x="231" y="1163"/>
                  </a:cubicBezTo>
                  <a:cubicBezTo>
                    <a:pt x="163" y="1231"/>
                    <a:pt x="163" y="1231"/>
                    <a:pt x="163" y="1231"/>
                  </a:cubicBezTo>
                  <a:cubicBezTo>
                    <a:pt x="138" y="1256"/>
                    <a:pt x="138" y="1297"/>
                    <a:pt x="163" y="1322"/>
                  </a:cubicBezTo>
                  <a:cubicBezTo>
                    <a:pt x="317" y="1475"/>
                    <a:pt x="317" y="1475"/>
                    <a:pt x="317" y="1475"/>
                  </a:cubicBezTo>
                  <a:cubicBezTo>
                    <a:pt x="342" y="1500"/>
                    <a:pt x="382" y="1500"/>
                    <a:pt x="407" y="1475"/>
                  </a:cubicBezTo>
                  <a:cubicBezTo>
                    <a:pt x="475" y="1408"/>
                    <a:pt x="475" y="1408"/>
                    <a:pt x="475" y="1408"/>
                  </a:cubicBezTo>
                  <a:cubicBezTo>
                    <a:pt x="529" y="1439"/>
                    <a:pt x="586" y="1463"/>
                    <a:pt x="646" y="1479"/>
                  </a:cubicBezTo>
                  <a:cubicBezTo>
                    <a:pt x="646" y="1574"/>
                    <a:pt x="646" y="1574"/>
                    <a:pt x="646" y="1574"/>
                  </a:cubicBezTo>
                  <a:cubicBezTo>
                    <a:pt x="646" y="1610"/>
                    <a:pt x="675" y="1638"/>
                    <a:pt x="710" y="1638"/>
                  </a:cubicBezTo>
                  <a:cubicBezTo>
                    <a:pt x="928" y="1638"/>
                    <a:pt x="928" y="1638"/>
                    <a:pt x="928" y="1638"/>
                  </a:cubicBezTo>
                  <a:cubicBezTo>
                    <a:pt x="963" y="1638"/>
                    <a:pt x="992" y="1610"/>
                    <a:pt x="992" y="1574"/>
                  </a:cubicBezTo>
                  <a:cubicBezTo>
                    <a:pt x="992" y="1479"/>
                    <a:pt x="992" y="1479"/>
                    <a:pt x="992" y="1479"/>
                  </a:cubicBezTo>
                  <a:cubicBezTo>
                    <a:pt x="1052" y="1463"/>
                    <a:pt x="1110" y="1440"/>
                    <a:pt x="1164" y="1408"/>
                  </a:cubicBezTo>
                  <a:cubicBezTo>
                    <a:pt x="1231" y="1475"/>
                    <a:pt x="1231" y="1475"/>
                    <a:pt x="1231" y="1475"/>
                  </a:cubicBezTo>
                  <a:cubicBezTo>
                    <a:pt x="1256" y="1500"/>
                    <a:pt x="1297" y="1500"/>
                    <a:pt x="1322" y="1475"/>
                  </a:cubicBezTo>
                  <a:cubicBezTo>
                    <a:pt x="1475" y="1322"/>
                    <a:pt x="1475" y="1322"/>
                    <a:pt x="1475" y="1322"/>
                  </a:cubicBezTo>
                  <a:cubicBezTo>
                    <a:pt x="1500" y="1297"/>
                    <a:pt x="1500" y="1256"/>
                    <a:pt x="1475" y="1231"/>
                  </a:cubicBezTo>
                  <a:cubicBezTo>
                    <a:pt x="1408" y="1164"/>
                    <a:pt x="1408" y="1164"/>
                    <a:pt x="1408" y="1164"/>
                  </a:cubicBezTo>
                  <a:cubicBezTo>
                    <a:pt x="1440" y="1110"/>
                    <a:pt x="1464" y="1052"/>
                    <a:pt x="1480" y="992"/>
                  </a:cubicBezTo>
                  <a:cubicBezTo>
                    <a:pt x="1574" y="992"/>
                    <a:pt x="1574" y="992"/>
                    <a:pt x="1574" y="992"/>
                  </a:cubicBezTo>
                  <a:cubicBezTo>
                    <a:pt x="1610" y="992"/>
                    <a:pt x="1638" y="963"/>
                    <a:pt x="1638" y="928"/>
                  </a:cubicBezTo>
                  <a:cubicBezTo>
                    <a:pt x="1638" y="710"/>
                    <a:pt x="1638" y="710"/>
                    <a:pt x="1638" y="710"/>
                  </a:cubicBezTo>
                  <a:cubicBezTo>
                    <a:pt x="1638" y="675"/>
                    <a:pt x="1610" y="646"/>
                    <a:pt x="1574" y="646"/>
                  </a:cubicBezTo>
                  <a:close/>
                  <a:moveTo>
                    <a:pt x="1574" y="928"/>
                  </a:moveTo>
                  <a:cubicBezTo>
                    <a:pt x="1480" y="928"/>
                    <a:pt x="1480" y="928"/>
                    <a:pt x="1480" y="928"/>
                  </a:cubicBezTo>
                  <a:cubicBezTo>
                    <a:pt x="1451" y="928"/>
                    <a:pt x="1425" y="948"/>
                    <a:pt x="1418" y="976"/>
                  </a:cubicBezTo>
                  <a:cubicBezTo>
                    <a:pt x="1404" y="1030"/>
                    <a:pt x="1382" y="1083"/>
                    <a:pt x="1353" y="1132"/>
                  </a:cubicBezTo>
                  <a:cubicBezTo>
                    <a:pt x="1338" y="1157"/>
                    <a:pt x="1342" y="1189"/>
                    <a:pt x="1363" y="1209"/>
                  </a:cubicBezTo>
                  <a:cubicBezTo>
                    <a:pt x="1430" y="1276"/>
                    <a:pt x="1430" y="1276"/>
                    <a:pt x="1430" y="1276"/>
                  </a:cubicBezTo>
                  <a:cubicBezTo>
                    <a:pt x="1276" y="1430"/>
                    <a:pt x="1276" y="1430"/>
                    <a:pt x="1276" y="1430"/>
                  </a:cubicBezTo>
                  <a:cubicBezTo>
                    <a:pt x="1209" y="1363"/>
                    <a:pt x="1209" y="1363"/>
                    <a:pt x="1209" y="1363"/>
                  </a:cubicBezTo>
                  <a:cubicBezTo>
                    <a:pt x="1188" y="1342"/>
                    <a:pt x="1157" y="1338"/>
                    <a:pt x="1132" y="1353"/>
                  </a:cubicBezTo>
                  <a:cubicBezTo>
                    <a:pt x="1083" y="1381"/>
                    <a:pt x="1030" y="1403"/>
                    <a:pt x="976" y="1417"/>
                  </a:cubicBezTo>
                  <a:cubicBezTo>
                    <a:pt x="948" y="1424"/>
                    <a:pt x="928" y="1450"/>
                    <a:pt x="928" y="1479"/>
                  </a:cubicBezTo>
                  <a:cubicBezTo>
                    <a:pt x="928" y="1574"/>
                    <a:pt x="928" y="1574"/>
                    <a:pt x="928" y="1574"/>
                  </a:cubicBezTo>
                  <a:cubicBezTo>
                    <a:pt x="710" y="1574"/>
                    <a:pt x="710" y="1574"/>
                    <a:pt x="710" y="1574"/>
                  </a:cubicBezTo>
                  <a:cubicBezTo>
                    <a:pt x="710" y="1479"/>
                    <a:pt x="710" y="1479"/>
                    <a:pt x="710" y="1479"/>
                  </a:cubicBezTo>
                  <a:cubicBezTo>
                    <a:pt x="710" y="1450"/>
                    <a:pt x="691" y="1424"/>
                    <a:pt x="663" y="1417"/>
                  </a:cubicBezTo>
                  <a:cubicBezTo>
                    <a:pt x="608" y="1403"/>
                    <a:pt x="556" y="1381"/>
                    <a:pt x="507" y="1352"/>
                  </a:cubicBezTo>
                  <a:cubicBezTo>
                    <a:pt x="497" y="1347"/>
                    <a:pt x="486" y="1344"/>
                    <a:pt x="475" y="1344"/>
                  </a:cubicBezTo>
                  <a:cubicBezTo>
                    <a:pt x="459" y="1344"/>
                    <a:pt x="442" y="1350"/>
                    <a:pt x="430" y="1363"/>
                  </a:cubicBezTo>
                  <a:cubicBezTo>
                    <a:pt x="362" y="1430"/>
                    <a:pt x="362" y="1430"/>
                    <a:pt x="362" y="1430"/>
                  </a:cubicBezTo>
                  <a:cubicBezTo>
                    <a:pt x="208" y="1276"/>
                    <a:pt x="208" y="1276"/>
                    <a:pt x="208" y="1276"/>
                  </a:cubicBezTo>
                  <a:cubicBezTo>
                    <a:pt x="276" y="1209"/>
                    <a:pt x="276" y="1209"/>
                    <a:pt x="276" y="1209"/>
                  </a:cubicBezTo>
                  <a:cubicBezTo>
                    <a:pt x="296" y="1188"/>
                    <a:pt x="301" y="1156"/>
                    <a:pt x="286" y="1131"/>
                  </a:cubicBezTo>
                  <a:cubicBezTo>
                    <a:pt x="257" y="1082"/>
                    <a:pt x="236" y="1030"/>
                    <a:pt x="221" y="976"/>
                  </a:cubicBezTo>
                  <a:cubicBezTo>
                    <a:pt x="214" y="948"/>
                    <a:pt x="189" y="928"/>
                    <a:pt x="160" y="928"/>
                  </a:cubicBezTo>
                  <a:cubicBezTo>
                    <a:pt x="64" y="928"/>
                    <a:pt x="64" y="928"/>
                    <a:pt x="64" y="928"/>
                  </a:cubicBezTo>
                  <a:cubicBezTo>
                    <a:pt x="64" y="710"/>
                    <a:pt x="64" y="710"/>
                    <a:pt x="64" y="710"/>
                  </a:cubicBezTo>
                  <a:cubicBezTo>
                    <a:pt x="159" y="710"/>
                    <a:pt x="159" y="710"/>
                    <a:pt x="159" y="710"/>
                  </a:cubicBezTo>
                  <a:cubicBezTo>
                    <a:pt x="188" y="710"/>
                    <a:pt x="214" y="691"/>
                    <a:pt x="221" y="663"/>
                  </a:cubicBezTo>
                  <a:cubicBezTo>
                    <a:pt x="235" y="608"/>
                    <a:pt x="257" y="556"/>
                    <a:pt x="286" y="507"/>
                  </a:cubicBezTo>
                  <a:cubicBezTo>
                    <a:pt x="300" y="482"/>
                    <a:pt x="296" y="450"/>
                    <a:pt x="276" y="429"/>
                  </a:cubicBezTo>
                  <a:cubicBezTo>
                    <a:pt x="208" y="362"/>
                    <a:pt x="208" y="362"/>
                    <a:pt x="208" y="362"/>
                  </a:cubicBezTo>
                  <a:cubicBezTo>
                    <a:pt x="362" y="208"/>
                    <a:pt x="362" y="208"/>
                    <a:pt x="362" y="208"/>
                  </a:cubicBezTo>
                  <a:cubicBezTo>
                    <a:pt x="429" y="275"/>
                    <a:pt x="429" y="275"/>
                    <a:pt x="429" y="275"/>
                  </a:cubicBezTo>
                  <a:cubicBezTo>
                    <a:pt x="450" y="296"/>
                    <a:pt x="482" y="300"/>
                    <a:pt x="507" y="285"/>
                  </a:cubicBezTo>
                  <a:cubicBezTo>
                    <a:pt x="556" y="257"/>
                    <a:pt x="608" y="235"/>
                    <a:pt x="663" y="221"/>
                  </a:cubicBezTo>
                  <a:cubicBezTo>
                    <a:pt x="691" y="213"/>
                    <a:pt x="710" y="188"/>
                    <a:pt x="710" y="159"/>
                  </a:cubicBezTo>
                  <a:cubicBezTo>
                    <a:pt x="710" y="64"/>
                    <a:pt x="710" y="64"/>
                    <a:pt x="710" y="64"/>
                  </a:cubicBezTo>
                  <a:cubicBezTo>
                    <a:pt x="928" y="64"/>
                    <a:pt x="928" y="64"/>
                    <a:pt x="928" y="64"/>
                  </a:cubicBezTo>
                  <a:cubicBezTo>
                    <a:pt x="928" y="159"/>
                    <a:pt x="928" y="159"/>
                    <a:pt x="928" y="159"/>
                  </a:cubicBezTo>
                  <a:cubicBezTo>
                    <a:pt x="928" y="188"/>
                    <a:pt x="948" y="213"/>
                    <a:pt x="976" y="220"/>
                  </a:cubicBezTo>
                  <a:cubicBezTo>
                    <a:pt x="1031" y="235"/>
                    <a:pt x="1083" y="256"/>
                    <a:pt x="1132" y="285"/>
                  </a:cubicBezTo>
                  <a:cubicBezTo>
                    <a:pt x="1157" y="300"/>
                    <a:pt x="1189" y="296"/>
                    <a:pt x="1209" y="275"/>
                  </a:cubicBezTo>
                  <a:cubicBezTo>
                    <a:pt x="1276" y="208"/>
                    <a:pt x="1276" y="208"/>
                    <a:pt x="1276" y="208"/>
                  </a:cubicBezTo>
                  <a:cubicBezTo>
                    <a:pt x="1430" y="362"/>
                    <a:pt x="1430" y="362"/>
                    <a:pt x="1430" y="362"/>
                  </a:cubicBezTo>
                  <a:cubicBezTo>
                    <a:pt x="1363" y="429"/>
                    <a:pt x="1363" y="429"/>
                    <a:pt x="1363" y="429"/>
                  </a:cubicBezTo>
                  <a:cubicBezTo>
                    <a:pt x="1343" y="450"/>
                    <a:pt x="1339" y="481"/>
                    <a:pt x="1353" y="506"/>
                  </a:cubicBezTo>
                  <a:cubicBezTo>
                    <a:pt x="1382" y="555"/>
                    <a:pt x="1404" y="608"/>
                    <a:pt x="1418" y="663"/>
                  </a:cubicBezTo>
                  <a:cubicBezTo>
                    <a:pt x="1425" y="691"/>
                    <a:pt x="1451" y="710"/>
                    <a:pt x="1480" y="710"/>
                  </a:cubicBezTo>
                  <a:cubicBezTo>
                    <a:pt x="1574" y="710"/>
                    <a:pt x="1574" y="710"/>
                    <a:pt x="1574" y="710"/>
                  </a:cubicBezTo>
                  <a:lnTo>
                    <a:pt x="1574" y="928"/>
                  </a:lnTo>
                  <a:close/>
                  <a:moveTo>
                    <a:pt x="1574" y="928"/>
                  </a:moveTo>
                  <a:cubicBezTo>
                    <a:pt x="1574" y="928"/>
                    <a:pt x="1574" y="928"/>
                    <a:pt x="1574" y="9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379">
              <a:extLst>
                <a:ext uri="{FF2B5EF4-FFF2-40B4-BE49-F238E27FC236}">
                  <a16:creationId xmlns:a16="http://schemas.microsoft.com/office/drawing/2014/main" id="{CFF8077C-AFF9-D443-892B-D5977414CDEB}"/>
                </a:ext>
              </a:extLst>
            </p:cNvPr>
            <p:cNvSpPr>
              <a:spLocks noEditPoints="1"/>
            </p:cNvSpPr>
            <p:nvPr/>
          </p:nvSpPr>
          <p:spPr bwMode="auto">
            <a:xfrm>
              <a:off x="1344" y="1930"/>
              <a:ext cx="1850" cy="1852"/>
            </a:xfrm>
            <a:custGeom>
              <a:avLst/>
              <a:gdLst>
                <a:gd name="T0" fmla="*/ 892 w 977"/>
                <a:gd name="T1" fmla="*/ 242 h 978"/>
                <a:gd name="T2" fmla="*/ 848 w 977"/>
                <a:gd name="T3" fmla="*/ 233 h 978"/>
                <a:gd name="T4" fmla="*/ 838 w 977"/>
                <a:gd name="T5" fmla="*/ 277 h 978"/>
                <a:gd name="T6" fmla="*/ 912 w 977"/>
                <a:gd name="T7" fmla="*/ 499 h 978"/>
                <a:gd name="T8" fmla="*/ 478 w 977"/>
                <a:gd name="T9" fmla="*/ 499 h 978"/>
                <a:gd name="T10" fmla="*/ 478 w 977"/>
                <a:gd name="T11" fmla="*/ 65 h 978"/>
                <a:gd name="T12" fmla="*/ 654 w 977"/>
                <a:gd name="T13" fmla="*/ 113 h 978"/>
                <a:gd name="T14" fmla="*/ 697 w 977"/>
                <a:gd name="T15" fmla="*/ 98 h 978"/>
                <a:gd name="T16" fmla="*/ 683 w 977"/>
                <a:gd name="T17" fmla="*/ 55 h 978"/>
                <a:gd name="T18" fmla="*/ 446 w 977"/>
                <a:gd name="T19" fmla="*/ 0 h 978"/>
                <a:gd name="T20" fmla="*/ 414 w 977"/>
                <a:gd name="T21" fmla="*/ 32 h 978"/>
                <a:gd name="T22" fmla="*/ 414 w 977"/>
                <a:gd name="T23" fmla="*/ 86 h 978"/>
                <a:gd name="T24" fmla="*/ 0 w 977"/>
                <a:gd name="T25" fmla="*/ 531 h 978"/>
                <a:gd name="T26" fmla="*/ 446 w 977"/>
                <a:gd name="T27" fmla="*/ 978 h 978"/>
                <a:gd name="T28" fmla="*/ 892 w 977"/>
                <a:gd name="T29" fmla="*/ 563 h 978"/>
                <a:gd name="T30" fmla="*/ 945 w 977"/>
                <a:gd name="T31" fmla="*/ 563 h 978"/>
                <a:gd name="T32" fmla="*/ 977 w 977"/>
                <a:gd name="T33" fmla="*/ 531 h 978"/>
                <a:gd name="T34" fmla="*/ 892 w 977"/>
                <a:gd name="T35" fmla="*/ 242 h 978"/>
                <a:gd name="T36" fmla="*/ 414 w 977"/>
                <a:gd name="T37" fmla="*/ 150 h 978"/>
                <a:gd name="T38" fmla="*/ 414 w 977"/>
                <a:gd name="T39" fmla="*/ 454 h 978"/>
                <a:gd name="T40" fmla="*/ 200 w 977"/>
                <a:gd name="T41" fmla="*/ 239 h 978"/>
                <a:gd name="T42" fmla="*/ 414 w 977"/>
                <a:gd name="T43" fmla="*/ 150 h 978"/>
                <a:gd name="T44" fmla="*/ 446 w 977"/>
                <a:gd name="T45" fmla="*/ 914 h 978"/>
                <a:gd name="T46" fmla="*/ 64 w 977"/>
                <a:gd name="T47" fmla="*/ 531 h 978"/>
                <a:gd name="T48" fmla="*/ 154 w 977"/>
                <a:gd name="T49" fmla="*/ 284 h 978"/>
                <a:gd name="T50" fmla="*/ 424 w 977"/>
                <a:gd name="T51" fmla="*/ 554 h 978"/>
                <a:gd name="T52" fmla="*/ 424 w 977"/>
                <a:gd name="T53" fmla="*/ 554 h 978"/>
                <a:gd name="T54" fmla="*/ 446 w 977"/>
                <a:gd name="T55" fmla="*/ 563 h 978"/>
                <a:gd name="T56" fmla="*/ 827 w 977"/>
                <a:gd name="T57" fmla="*/ 563 h 978"/>
                <a:gd name="T58" fmla="*/ 446 w 977"/>
                <a:gd name="T59" fmla="*/ 914 h 978"/>
                <a:gd name="T60" fmla="*/ 446 w 977"/>
                <a:gd name="T61" fmla="*/ 914 h 978"/>
                <a:gd name="T62" fmla="*/ 446 w 977"/>
                <a:gd name="T63" fmla="*/ 914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7" h="978">
                  <a:moveTo>
                    <a:pt x="892" y="242"/>
                  </a:moveTo>
                  <a:cubicBezTo>
                    <a:pt x="882" y="228"/>
                    <a:pt x="863" y="223"/>
                    <a:pt x="848" y="233"/>
                  </a:cubicBezTo>
                  <a:cubicBezTo>
                    <a:pt x="833" y="243"/>
                    <a:pt x="829" y="262"/>
                    <a:pt x="838" y="277"/>
                  </a:cubicBezTo>
                  <a:cubicBezTo>
                    <a:pt x="882" y="344"/>
                    <a:pt x="907" y="420"/>
                    <a:pt x="912" y="499"/>
                  </a:cubicBezTo>
                  <a:cubicBezTo>
                    <a:pt x="478" y="499"/>
                    <a:pt x="478" y="499"/>
                    <a:pt x="478" y="499"/>
                  </a:cubicBezTo>
                  <a:cubicBezTo>
                    <a:pt x="478" y="65"/>
                    <a:pt x="478" y="65"/>
                    <a:pt x="478" y="65"/>
                  </a:cubicBezTo>
                  <a:cubicBezTo>
                    <a:pt x="540" y="69"/>
                    <a:pt x="599" y="85"/>
                    <a:pt x="654" y="113"/>
                  </a:cubicBezTo>
                  <a:cubicBezTo>
                    <a:pt x="670" y="121"/>
                    <a:pt x="689" y="114"/>
                    <a:pt x="697" y="98"/>
                  </a:cubicBezTo>
                  <a:cubicBezTo>
                    <a:pt x="705" y="83"/>
                    <a:pt x="698" y="63"/>
                    <a:pt x="683" y="55"/>
                  </a:cubicBezTo>
                  <a:cubicBezTo>
                    <a:pt x="609" y="19"/>
                    <a:pt x="529" y="0"/>
                    <a:pt x="446" y="0"/>
                  </a:cubicBezTo>
                  <a:cubicBezTo>
                    <a:pt x="429" y="0"/>
                    <a:pt x="414" y="14"/>
                    <a:pt x="414" y="32"/>
                  </a:cubicBezTo>
                  <a:cubicBezTo>
                    <a:pt x="414" y="86"/>
                    <a:pt x="414" y="86"/>
                    <a:pt x="414" y="86"/>
                  </a:cubicBezTo>
                  <a:cubicBezTo>
                    <a:pt x="183" y="102"/>
                    <a:pt x="0" y="296"/>
                    <a:pt x="0" y="531"/>
                  </a:cubicBezTo>
                  <a:cubicBezTo>
                    <a:pt x="0" y="777"/>
                    <a:pt x="200" y="978"/>
                    <a:pt x="446" y="978"/>
                  </a:cubicBezTo>
                  <a:cubicBezTo>
                    <a:pt x="682" y="978"/>
                    <a:pt x="875" y="794"/>
                    <a:pt x="892" y="563"/>
                  </a:cubicBezTo>
                  <a:cubicBezTo>
                    <a:pt x="945" y="563"/>
                    <a:pt x="945" y="563"/>
                    <a:pt x="945" y="563"/>
                  </a:cubicBezTo>
                  <a:cubicBezTo>
                    <a:pt x="963" y="563"/>
                    <a:pt x="977" y="549"/>
                    <a:pt x="977" y="531"/>
                  </a:cubicBezTo>
                  <a:cubicBezTo>
                    <a:pt x="977" y="428"/>
                    <a:pt x="948" y="328"/>
                    <a:pt x="892" y="242"/>
                  </a:cubicBezTo>
                  <a:close/>
                  <a:moveTo>
                    <a:pt x="414" y="150"/>
                  </a:moveTo>
                  <a:cubicBezTo>
                    <a:pt x="414" y="454"/>
                    <a:pt x="414" y="454"/>
                    <a:pt x="414" y="454"/>
                  </a:cubicBezTo>
                  <a:cubicBezTo>
                    <a:pt x="200" y="239"/>
                    <a:pt x="200" y="239"/>
                    <a:pt x="200" y="239"/>
                  </a:cubicBezTo>
                  <a:cubicBezTo>
                    <a:pt x="259" y="189"/>
                    <a:pt x="333" y="157"/>
                    <a:pt x="414" y="150"/>
                  </a:cubicBezTo>
                  <a:close/>
                  <a:moveTo>
                    <a:pt x="446" y="914"/>
                  </a:moveTo>
                  <a:cubicBezTo>
                    <a:pt x="235" y="914"/>
                    <a:pt x="64" y="742"/>
                    <a:pt x="64" y="531"/>
                  </a:cubicBezTo>
                  <a:cubicBezTo>
                    <a:pt x="64" y="437"/>
                    <a:pt x="98" y="351"/>
                    <a:pt x="154" y="284"/>
                  </a:cubicBezTo>
                  <a:cubicBezTo>
                    <a:pt x="424" y="554"/>
                    <a:pt x="424" y="554"/>
                    <a:pt x="424" y="554"/>
                  </a:cubicBezTo>
                  <a:cubicBezTo>
                    <a:pt x="424" y="554"/>
                    <a:pt x="424" y="554"/>
                    <a:pt x="424" y="554"/>
                  </a:cubicBezTo>
                  <a:cubicBezTo>
                    <a:pt x="429" y="560"/>
                    <a:pt x="437" y="563"/>
                    <a:pt x="446" y="563"/>
                  </a:cubicBezTo>
                  <a:cubicBezTo>
                    <a:pt x="827" y="563"/>
                    <a:pt x="827" y="563"/>
                    <a:pt x="827" y="563"/>
                  </a:cubicBezTo>
                  <a:cubicBezTo>
                    <a:pt x="811" y="759"/>
                    <a:pt x="646" y="914"/>
                    <a:pt x="446" y="914"/>
                  </a:cubicBezTo>
                  <a:close/>
                  <a:moveTo>
                    <a:pt x="446" y="914"/>
                  </a:moveTo>
                  <a:cubicBezTo>
                    <a:pt x="446" y="914"/>
                    <a:pt x="446" y="914"/>
                    <a:pt x="446" y="9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80">
              <a:extLst>
                <a:ext uri="{FF2B5EF4-FFF2-40B4-BE49-F238E27FC236}">
                  <a16:creationId xmlns:a16="http://schemas.microsoft.com/office/drawing/2014/main" id="{E2B39FB1-BA79-9541-ADE7-D9AB2AFD7D48}"/>
                </a:ext>
              </a:extLst>
            </p:cNvPr>
            <p:cNvSpPr>
              <a:spLocks noEditPoints="1"/>
            </p:cNvSpPr>
            <p:nvPr/>
          </p:nvSpPr>
          <p:spPr bwMode="auto">
            <a:xfrm>
              <a:off x="2758" y="2170"/>
              <a:ext cx="136" cy="129"/>
            </a:xfrm>
            <a:custGeom>
              <a:avLst/>
              <a:gdLst>
                <a:gd name="T0" fmla="*/ 58 w 72"/>
                <a:gd name="T1" fmla="*/ 12 h 68"/>
                <a:gd name="T2" fmla="*/ 57 w 72"/>
                <a:gd name="T3" fmla="*/ 12 h 68"/>
                <a:gd name="T4" fmla="*/ 12 w 72"/>
                <a:gd name="T5" fmla="*/ 14 h 68"/>
                <a:gd name="T6" fmla="*/ 15 w 72"/>
                <a:gd name="T7" fmla="*/ 60 h 68"/>
                <a:gd name="T8" fmla="*/ 15 w 72"/>
                <a:gd name="T9" fmla="*/ 60 h 68"/>
                <a:gd name="T10" fmla="*/ 36 w 72"/>
                <a:gd name="T11" fmla="*/ 68 h 68"/>
                <a:gd name="T12" fmla="*/ 60 w 72"/>
                <a:gd name="T13" fmla="*/ 58 h 68"/>
                <a:gd name="T14" fmla="*/ 58 w 72"/>
                <a:gd name="T15" fmla="*/ 12 h 68"/>
                <a:gd name="T16" fmla="*/ 58 w 72"/>
                <a:gd name="T17" fmla="*/ 12 h 68"/>
                <a:gd name="T18" fmla="*/ 58 w 72"/>
                <a:gd name="T19"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68">
                  <a:moveTo>
                    <a:pt x="58" y="12"/>
                  </a:moveTo>
                  <a:cubicBezTo>
                    <a:pt x="58" y="12"/>
                    <a:pt x="57" y="12"/>
                    <a:pt x="57" y="12"/>
                  </a:cubicBezTo>
                  <a:cubicBezTo>
                    <a:pt x="44" y="0"/>
                    <a:pt x="24" y="1"/>
                    <a:pt x="12" y="14"/>
                  </a:cubicBezTo>
                  <a:cubicBezTo>
                    <a:pt x="0" y="28"/>
                    <a:pt x="1" y="48"/>
                    <a:pt x="15" y="60"/>
                  </a:cubicBezTo>
                  <a:cubicBezTo>
                    <a:pt x="15" y="60"/>
                    <a:pt x="15" y="60"/>
                    <a:pt x="15" y="60"/>
                  </a:cubicBezTo>
                  <a:cubicBezTo>
                    <a:pt x="21" y="65"/>
                    <a:pt x="28" y="68"/>
                    <a:pt x="36" y="68"/>
                  </a:cubicBezTo>
                  <a:cubicBezTo>
                    <a:pt x="45" y="68"/>
                    <a:pt x="53" y="64"/>
                    <a:pt x="60" y="58"/>
                  </a:cubicBezTo>
                  <a:cubicBezTo>
                    <a:pt x="72" y="44"/>
                    <a:pt x="71" y="24"/>
                    <a:pt x="58" y="12"/>
                  </a:cubicBezTo>
                  <a:close/>
                  <a:moveTo>
                    <a:pt x="58" y="12"/>
                  </a:moveTo>
                  <a:cubicBezTo>
                    <a:pt x="58" y="12"/>
                    <a:pt x="58" y="12"/>
                    <a:pt x="5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381">
              <a:extLst>
                <a:ext uri="{FF2B5EF4-FFF2-40B4-BE49-F238E27FC236}">
                  <a16:creationId xmlns:a16="http://schemas.microsoft.com/office/drawing/2014/main" id="{9A319379-5016-B744-A87C-8FE2F66D5002}"/>
                </a:ext>
              </a:extLst>
            </p:cNvPr>
            <p:cNvSpPr>
              <a:spLocks noEditPoints="1"/>
            </p:cNvSpPr>
            <p:nvPr/>
          </p:nvSpPr>
          <p:spPr bwMode="auto">
            <a:xfrm>
              <a:off x="2308" y="3100"/>
              <a:ext cx="422" cy="388"/>
            </a:xfrm>
            <a:custGeom>
              <a:avLst/>
              <a:gdLst>
                <a:gd name="T0" fmla="*/ 201 w 223"/>
                <a:gd name="T1" fmla="*/ 8 h 205"/>
                <a:gd name="T2" fmla="*/ 158 w 223"/>
                <a:gd name="T3" fmla="*/ 22 h 205"/>
                <a:gd name="T4" fmla="*/ 25 w 223"/>
                <a:gd name="T5" fmla="*/ 143 h 205"/>
                <a:gd name="T6" fmla="*/ 7 w 223"/>
                <a:gd name="T7" fmla="*/ 185 h 205"/>
                <a:gd name="T8" fmla="*/ 36 w 223"/>
                <a:gd name="T9" fmla="*/ 205 h 205"/>
                <a:gd name="T10" fmla="*/ 48 w 223"/>
                <a:gd name="T11" fmla="*/ 203 h 205"/>
                <a:gd name="T12" fmla="*/ 215 w 223"/>
                <a:gd name="T13" fmla="*/ 51 h 205"/>
                <a:gd name="T14" fmla="*/ 201 w 223"/>
                <a:gd name="T15" fmla="*/ 8 h 205"/>
                <a:gd name="T16" fmla="*/ 201 w 223"/>
                <a:gd name="T17" fmla="*/ 8 h 205"/>
                <a:gd name="T18" fmla="*/ 201 w 223"/>
                <a:gd name="T19" fmla="*/ 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05">
                  <a:moveTo>
                    <a:pt x="201" y="8"/>
                  </a:moveTo>
                  <a:cubicBezTo>
                    <a:pt x="185" y="0"/>
                    <a:pt x="166" y="7"/>
                    <a:pt x="158" y="22"/>
                  </a:cubicBezTo>
                  <a:cubicBezTo>
                    <a:pt x="130" y="78"/>
                    <a:pt x="83" y="121"/>
                    <a:pt x="25" y="143"/>
                  </a:cubicBezTo>
                  <a:cubicBezTo>
                    <a:pt x="9" y="150"/>
                    <a:pt x="0" y="168"/>
                    <a:pt x="7" y="185"/>
                  </a:cubicBezTo>
                  <a:cubicBezTo>
                    <a:pt x="11" y="197"/>
                    <a:pt x="24" y="205"/>
                    <a:pt x="36" y="205"/>
                  </a:cubicBezTo>
                  <a:cubicBezTo>
                    <a:pt x="40" y="205"/>
                    <a:pt x="44" y="205"/>
                    <a:pt x="48" y="203"/>
                  </a:cubicBezTo>
                  <a:cubicBezTo>
                    <a:pt x="121" y="175"/>
                    <a:pt x="181" y="121"/>
                    <a:pt x="215" y="51"/>
                  </a:cubicBezTo>
                  <a:cubicBezTo>
                    <a:pt x="223" y="35"/>
                    <a:pt x="217" y="16"/>
                    <a:pt x="201" y="8"/>
                  </a:cubicBezTo>
                  <a:close/>
                  <a:moveTo>
                    <a:pt x="201" y="8"/>
                  </a:moveTo>
                  <a:cubicBezTo>
                    <a:pt x="201" y="8"/>
                    <a:pt x="201" y="8"/>
                    <a:pt x="201"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82">
              <a:extLst>
                <a:ext uri="{FF2B5EF4-FFF2-40B4-BE49-F238E27FC236}">
                  <a16:creationId xmlns:a16="http://schemas.microsoft.com/office/drawing/2014/main" id="{962CE832-56A1-1E48-A6B3-6144B945B152}"/>
                </a:ext>
              </a:extLst>
            </p:cNvPr>
            <p:cNvSpPr>
              <a:spLocks noEditPoints="1"/>
            </p:cNvSpPr>
            <p:nvPr/>
          </p:nvSpPr>
          <p:spPr bwMode="auto">
            <a:xfrm>
              <a:off x="2128" y="3401"/>
              <a:ext cx="123" cy="121"/>
            </a:xfrm>
            <a:custGeom>
              <a:avLst/>
              <a:gdLst>
                <a:gd name="T0" fmla="*/ 33 w 65"/>
                <a:gd name="T1" fmla="*/ 0 h 64"/>
                <a:gd name="T2" fmla="*/ 32 w 65"/>
                <a:gd name="T3" fmla="*/ 0 h 64"/>
                <a:gd name="T4" fmla="*/ 0 w 65"/>
                <a:gd name="T5" fmla="*/ 32 h 64"/>
                <a:gd name="T6" fmla="*/ 32 w 65"/>
                <a:gd name="T7" fmla="*/ 64 h 64"/>
                <a:gd name="T8" fmla="*/ 33 w 65"/>
                <a:gd name="T9" fmla="*/ 64 h 64"/>
                <a:gd name="T10" fmla="*/ 65 w 65"/>
                <a:gd name="T11" fmla="*/ 32 h 64"/>
                <a:gd name="T12" fmla="*/ 33 w 65"/>
                <a:gd name="T13" fmla="*/ 0 h 64"/>
                <a:gd name="T14" fmla="*/ 33 w 65"/>
                <a:gd name="T15" fmla="*/ 0 h 64"/>
                <a:gd name="T16" fmla="*/ 33 w 6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4">
                  <a:moveTo>
                    <a:pt x="33" y="0"/>
                  </a:moveTo>
                  <a:cubicBezTo>
                    <a:pt x="32" y="0"/>
                    <a:pt x="32" y="0"/>
                    <a:pt x="32" y="0"/>
                  </a:cubicBezTo>
                  <a:cubicBezTo>
                    <a:pt x="15" y="0"/>
                    <a:pt x="0" y="15"/>
                    <a:pt x="0" y="32"/>
                  </a:cubicBezTo>
                  <a:cubicBezTo>
                    <a:pt x="0" y="50"/>
                    <a:pt x="15" y="64"/>
                    <a:pt x="32" y="64"/>
                  </a:cubicBezTo>
                  <a:cubicBezTo>
                    <a:pt x="33" y="64"/>
                    <a:pt x="33" y="64"/>
                    <a:pt x="33" y="64"/>
                  </a:cubicBezTo>
                  <a:cubicBezTo>
                    <a:pt x="51" y="64"/>
                    <a:pt x="65" y="50"/>
                    <a:pt x="65" y="32"/>
                  </a:cubicBezTo>
                  <a:cubicBezTo>
                    <a:pt x="65" y="15"/>
                    <a:pt x="51" y="0"/>
                    <a:pt x="33" y="0"/>
                  </a:cubicBezTo>
                  <a:close/>
                  <a:moveTo>
                    <a:pt x="33" y="0"/>
                  </a:move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34">
            <a:extLst>
              <a:ext uri="{FF2B5EF4-FFF2-40B4-BE49-F238E27FC236}">
                <a16:creationId xmlns:a16="http://schemas.microsoft.com/office/drawing/2014/main" id="{E6D22D18-94E3-8949-97A1-7BBB1213E62D}"/>
              </a:ext>
            </a:extLst>
          </p:cNvPr>
          <p:cNvGrpSpPr>
            <a:grpSpLocks noChangeAspect="1"/>
          </p:cNvGrpSpPr>
          <p:nvPr/>
        </p:nvGrpSpPr>
        <p:grpSpPr bwMode="auto">
          <a:xfrm>
            <a:off x="10373793" y="4165212"/>
            <a:ext cx="658355" cy="657512"/>
            <a:chOff x="4790" y="1045"/>
            <a:chExt cx="3124" cy="3120"/>
          </a:xfrm>
          <a:solidFill>
            <a:schemeClr val="bg1"/>
          </a:solidFill>
        </p:grpSpPr>
        <p:sp>
          <p:nvSpPr>
            <p:cNvPr id="107" name="Freeform 35">
              <a:extLst>
                <a:ext uri="{FF2B5EF4-FFF2-40B4-BE49-F238E27FC236}">
                  <a16:creationId xmlns:a16="http://schemas.microsoft.com/office/drawing/2014/main" id="{38B188C7-705E-494B-A218-52CE2BC15301}"/>
                </a:ext>
              </a:extLst>
            </p:cNvPr>
            <p:cNvSpPr>
              <a:spLocks noEditPoints="1"/>
            </p:cNvSpPr>
            <p:nvPr/>
          </p:nvSpPr>
          <p:spPr bwMode="auto">
            <a:xfrm>
              <a:off x="4790" y="2253"/>
              <a:ext cx="1914" cy="1912"/>
            </a:xfrm>
            <a:custGeom>
              <a:avLst/>
              <a:gdLst>
                <a:gd name="T0" fmla="*/ 981 w 1011"/>
                <a:gd name="T1" fmla="*/ 475 h 1010"/>
                <a:gd name="T2" fmla="*/ 911 w 1011"/>
                <a:gd name="T3" fmla="*/ 322 h 1010"/>
                <a:gd name="T4" fmla="*/ 905 w 1011"/>
                <a:gd name="T5" fmla="*/ 115 h 1010"/>
                <a:gd name="T6" fmla="*/ 701 w 1011"/>
                <a:gd name="T7" fmla="*/ 105 h 1010"/>
                <a:gd name="T8" fmla="*/ 667 w 1011"/>
                <a:gd name="T9" fmla="*/ 160 h 1010"/>
                <a:gd name="T10" fmla="*/ 420 w 1011"/>
                <a:gd name="T11" fmla="*/ 34 h 1010"/>
                <a:gd name="T12" fmla="*/ 295 w 1011"/>
                <a:gd name="T13" fmla="*/ 196 h 1010"/>
                <a:gd name="T14" fmla="*/ 368 w 1011"/>
                <a:gd name="T15" fmla="*/ 265 h 1010"/>
                <a:gd name="T16" fmla="*/ 400 w 1011"/>
                <a:gd name="T17" fmla="*/ 329 h 1010"/>
                <a:gd name="T18" fmla="*/ 329 w 1011"/>
                <a:gd name="T19" fmla="*/ 400 h 1010"/>
                <a:gd name="T20" fmla="*/ 265 w 1011"/>
                <a:gd name="T21" fmla="*/ 368 h 1010"/>
                <a:gd name="T22" fmla="*/ 196 w 1011"/>
                <a:gd name="T23" fmla="*/ 295 h 1010"/>
                <a:gd name="T24" fmla="*/ 34 w 1011"/>
                <a:gd name="T25" fmla="*/ 420 h 1010"/>
                <a:gd name="T26" fmla="*/ 160 w 1011"/>
                <a:gd name="T27" fmla="*/ 667 h 1010"/>
                <a:gd name="T28" fmla="*/ 105 w 1011"/>
                <a:gd name="T29" fmla="*/ 701 h 1010"/>
                <a:gd name="T30" fmla="*/ 225 w 1011"/>
                <a:gd name="T31" fmla="*/ 952 h 1010"/>
                <a:gd name="T32" fmla="*/ 322 w 1011"/>
                <a:gd name="T33" fmla="*/ 911 h 1010"/>
                <a:gd name="T34" fmla="*/ 475 w 1011"/>
                <a:gd name="T35" fmla="*/ 981 h 1010"/>
                <a:gd name="T36" fmla="*/ 541 w 1011"/>
                <a:gd name="T37" fmla="*/ 1010 h 1010"/>
                <a:gd name="T38" fmla="*/ 704 w 1011"/>
                <a:gd name="T39" fmla="*/ 881 h 1010"/>
                <a:gd name="T40" fmla="*/ 744 w 1011"/>
                <a:gd name="T41" fmla="*/ 938 h 1010"/>
                <a:gd name="T42" fmla="*/ 938 w 1011"/>
                <a:gd name="T43" fmla="*/ 744 h 1010"/>
                <a:gd name="T44" fmla="*/ 881 w 1011"/>
                <a:gd name="T45" fmla="*/ 705 h 1010"/>
                <a:gd name="T46" fmla="*/ 1010 w 1011"/>
                <a:gd name="T47" fmla="*/ 536 h 1010"/>
                <a:gd name="T48" fmla="*/ 831 w 1011"/>
                <a:gd name="T49" fmla="*/ 665 h 1010"/>
                <a:gd name="T50" fmla="*/ 855 w 1011"/>
                <a:gd name="T51" fmla="*/ 763 h 1010"/>
                <a:gd name="T52" fmla="*/ 893 w 1011"/>
                <a:gd name="T53" fmla="*/ 789 h 1010"/>
                <a:gd name="T54" fmla="*/ 789 w 1011"/>
                <a:gd name="T55" fmla="*/ 893 h 1010"/>
                <a:gd name="T56" fmla="*/ 763 w 1011"/>
                <a:gd name="T57" fmla="*/ 855 h 1010"/>
                <a:gd name="T58" fmla="*/ 664 w 1011"/>
                <a:gd name="T59" fmla="*/ 831 h 1010"/>
                <a:gd name="T60" fmla="*/ 540 w 1011"/>
                <a:gd name="T61" fmla="*/ 946 h 1010"/>
                <a:gd name="T62" fmla="*/ 471 w 1011"/>
                <a:gd name="T63" fmla="*/ 887 h 1010"/>
                <a:gd name="T64" fmla="*/ 577 w 1011"/>
                <a:gd name="T65" fmla="*/ 736 h 1010"/>
                <a:gd name="T66" fmla="*/ 426 w 1011"/>
                <a:gd name="T67" fmla="*/ 842 h 1010"/>
                <a:gd name="T68" fmla="*/ 348 w 1011"/>
                <a:gd name="T69" fmla="*/ 790 h 1010"/>
                <a:gd name="T70" fmla="*/ 294 w 1011"/>
                <a:gd name="T71" fmla="*/ 834 h 1010"/>
                <a:gd name="T72" fmla="*/ 273 w 1011"/>
                <a:gd name="T73" fmla="*/ 869 h 1010"/>
                <a:gd name="T74" fmla="*/ 150 w 1011"/>
                <a:gd name="T75" fmla="*/ 746 h 1010"/>
                <a:gd name="T76" fmla="*/ 186 w 1011"/>
                <a:gd name="T77" fmla="*/ 726 h 1010"/>
                <a:gd name="T78" fmla="*/ 211 w 1011"/>
                <a:gd name="T79" fmla="*/ 627 h 1010"/>
                <a:gd name="T80" fmla="*/ 74 w 1011"/>
                <a:gd name="T81" fmla="*/ 480 h 1010"/>
                <a:gd name="T82" fmla="*/ 184 w 1011"/>
                <a:gd name="T83" fmla="*/ 360 h 1010"/>
                <a:gd name="T84" fmla="*/ 223 w 1011"/>
                <a:gd name="T85" fmla="*/ 417 h 1010"/>
                <a:gd name="T86" fmla="*/ 417 w 1011"/>
                <a:gd name="T87" fmla="*/ 223 h 1010"/>
                <a:gd name="T88" fmla="*/ 360 w 1011"/>
                <a:gd name="T89" fmla="*/ 184 h 1010"/>
                <a:gd name="T90" fmla="*/ 500 w 1011"/>
                <a:gd name="T91" fmla="*/ 84 h 1010"/>
                <a:gd name="T92" fmla="*/ 688 w 1011"/>
                <a:gd name="T93" fmla="*/ 227 h 1010"/>
                <a:gd name="T94" fmla="*/ 743 w 1011"/>
                <a:gd name="T95" fmla="*/ 153 h 1010"/>
                <a:gd name="T96" fmla="*/ 799 w 1011"/>
                <a:gd name="T97" fmla="*/ 132 h 1010"/>
                <a:gd name="T98" fmla="*/ 869 w 1011"/>
                <a:gd name="T99" fmla="*/ 273 h 1010"/>
                <a:gd name="T100" fmla="*/ 834 w 1011"/>
                <a:gd name="T101" fmla="*/ 294 h 1010"/>
                <a:gd name="T102" fmla="*/ 809 w 1011"/>
                <a:gd name="T103" fmla="*/ 393 h 1010"/>
                <a:gd name="T104" fmla="*/ 946 w 1011"/>
                <a:gd name="T105" fmla="*/ 540 h 1010"/>
                <a:gd name="T106" fmla="*/ 941 w 1011"/>
                <a:gd name="T107" fmla="*/ 554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1" h="1010">
                  <a:moveTo>
                    <a:pt x="1010" y="536"/>
                  </a:moveTo>
                  <a:cubicBezTo>
                    <a:pt x="1008" y="513"/>
                    <a:pt x="998" y="491"/>
                    <a:pt x="981" y="475"/>
                  </a:cubicBezTo>
                  <a:cubicBezTo>
                    <a:pt x="860" y="353"/>
                    <a:pt x="860" y="353"/>
                    <a:pt x="860" y="353"/>
                  </a:cubicBezTo>
                  <a:cubicBezTo>
                    <a:pt x="879" y="347"/>
                    <a:pt x="897" y="336"/>
                    <a:pt x="911" y="322"/>
                  </a:cubicBezTo>
                  <a:cubicBezTo>
                    <a:pt x="915" y="319"/>
                    <a:pt x="915" y="319"/>
                    <a:pt x="915" y="319"/>
                  </a:cubicBezTo>
                  <a:cubicBezTo>
                    <a:pt x="968" y="265"/>
                    <a:pt x="964" y="174"/>
                    <a:pt x="905" y="115"/>
                  </a:cubicBezTo>
                  <a:cubicBezTo>
                    <a:pt x="877" y="87"/>
                    <a:pt x="841" y="70"/>
                    <a:pt x="803" y="68"/>
                  </a:cubicBezTo>
                  <a:cubicBezTo>
                    <a:pt x="764" y="65"/>
                    <a:pt x="728" y="79"/>
                    <a:pt x="701" y="105"/>
                  </a:cubicBezTo>
                  <a:cubicBezTo>
                    <a:pt x="698" y="108"/>
                    <a:pt x="698" y="108"/>
                    <a:pt x="698" y="108"/>
                  </a:cubicBezTo>
                  <a:cubicBezTo>
                    <a:pt x="684" y="123"/>
                    <a:pt x="673" y="140"/>
                    <a:pt x="667" y="160"/>
                  </a:cubicBezTo>
                  <a:cubicBezTo>
                    <a:pt x="545" y="38"/>
                    <a:pt x="545" y="38"/>
                    <a:pt x="545" y="38"/>
                  </a:cubicBezTo>
                  <a:cubicBezTo>
                    <a:pt x="509" y="3"/>
                    <a:pt x="453" y="0"/>
                    <a:pt x="420" y="34"/>
                  </a:cubicBezTo>
                  <a:cubicBezTo>
                    <a:pt x="310" y="144"/>
                    <a:pt x="310" y="144"/>
                    <a:pt x="310" y="144"/>
                  </a:cubicBezTo>
                  <a:cubicBezTo>
                    <a:pt x="296" y="157"/>
                    <a:pt x="291" y="177"/>
                    <a:pt x="295" y="196"/>
                  </a:cubicBezTo>
                  <a:cubicBezTo>
                    <a:pt x="299" y="217"/>
                    <a:pt x="314" y="234"/>
                    <a:pt x="334" y="242"/>
                  </a:cubicBezTo>
                  <a:cubicBezTo>
                    <a:pt x="347" y="247"/>
                    <a:pt x="358" y="255"/>
                    <a:pt x="368" y="265"/>
                  </a:cubicBezTo>
                  <a:cubicBezTo>
                    <a:pt x="372" y="268"/>
                    <a:pt x="372" y="268"/>
                    <a:pt x="372" y="268"/>
                  </a:cubicBezTo>
                  <a:cubicBezTo>
                    <a:pt x="389" y="285"/>
                    <a:pt x="399" y="307"/>
                    <a:pt x="400" y="329"/>
                  </a:cubicBezTo>
                  <a:cubicBezTo>
                    <a:pt x="401" y="349"/>
                    <a:pt x="395" y="368"/>
                    <a:pt x="381" y="382"/>
                  </a:cubicBezTo>
                  <a:cubicBezTo>
                    <a:pt x="368" y="395"/>
                    <a:pt x="349" y="402"/>
                    <a:pt x="329" y="400"/>
                  </a:cubicBezTo>
                  <a:cubicBezTo>
                    <a:pt x="306" y="399"/>
                    <a:pt x="285" y="389"/>
                    <a:pt x="268" y="372"/>
                  </a:cubicBezTo>
                  <a:cubicBezTo>
                    <a:pt x="265" y="368"/>
                    <a:pt x="265" y="368"/>
                    <a:pt x="265" y="368"/>
                  </a:cubicBezTo>
                  <a:cubicBezTo>
                    <a:pt x="255" y="358"/>
                    <a:pt x="247" y="347"/>
                    <a:pt x="242" y="334"/>
                  </a:cubicBezTo>
                  <a:cubicBezTo>
                    <a:pt x="234" y="314"/>
                    <a:pt x="217" y="299"/>
                    <a:pt x="196" y="295"/>
                  </a:cubicBezTo>
                  <a:cubicBezTo>
                    <a:pt x="177" y="291"/>
                    <a:pt x="157" y="297"/>
                    <a:pt x="144" y="310"/>
                  </a:cubicBezTo>
                  <a:cubicBezTo>
                    <a:pt x="34" y="420"/>
                    <a:pt x="34" y="420"/>
                    <a:pt x="34" y="420"/>
                  </a:cubicBezTo>
                  <a:cubicBezTo>
                    <a:pt x="0" y="453"/>
                    <a:pt x="3" y="509"/>
                    <a:pt x="38" y="545"/>
                  </a:cubicBezTo>
                  <a:cubicBezTo>
                    <a:pt x="160" y="667"/>
                    <a:pt x="160" y="667"/>
                    <a:pt x="160" y="667"/>
                  </a:cubicBezTo>
                  <a:cubicBezTo>
                    <a:pt x="140" y="673"/>
                    <a:pt x="123" y="684"/>
                    <a:pt x="108" y="698"/>
                  </a:cubicBezTo>
                  <a:cubicBezTo>
                    <a:pt x="105" y="701"/>
                    <a:pt x="105" y="701"/>
                    <a:pt x="105" y="701"/>
                  </a:cubicBezTo>
                  <a:cubicBezTo>
                    <a:pt x="52" y="755"/>
                    <a:pt x="56" y="846"/>
                    <a:pt x="115" y="905"/>
                  </a:cubicBezTo>
                  <a:cubicBezTo>
                    <a:pt x="146" y="936"/>
                    <a:pt x="186" y="952"/>
                    <a:pt x="225" y="952"/>
                  </a:cubicBezTo>
                  <a:cubicBezTo>
                    <a:pt x="260" y="952"/>
                    <a:pt x="293" y="940"/>
                    <a:pt x="319" y="915"/>
                  </a:cubicBezTo>
                  <a:cubicBezTo>
                    <a:pt x="322" y="911"/>
                    <a:pt x="322" y="911"/>
                    <a:pt x="322" y="911"/>
                  </a:cubicBezTo>
                  <a:cubicBezTo>
                    <a:pt x="336" y="897"/>
                    <a:pt x="347" y="879"/>
                    <a:pt x="353" y="860"/>
                  </a:cubicBezTo>
                  <a:cubicBezTo>
                    <a:pt x="475" y="981"/>
                    <a:pt x="475" y="981"/>
                    <a:pt x="475" y="981"/>
                  </a:cubicBezTo>
                  <a:cubicBezTo>
                    <a:pt x="491" y="998"/>
                    <a:pt x="513" y="1008"/>
                    <a:pt x="536" y="1010"/>
                  </a:cubicBezTo>
                  <a:cubicBezTo>
                    <a:pt x="538" y="1010"/>
                    <a:pt x="540" y="1010"/>
                    <a:pt x="541" y="1010"/>
                  </a:cubicBezTo>
                  <a:cubicBezTo>
                    <a:pt x="564" y="1010"/>
                    <a:pt x="584" y="1001"/>
                    <a:pt x="600" y="986"/>
                  </a:cubicBezTo>
                  <a:cubicBezTo>
                    <a:pt x="704" y="881"/>
                    <a:pt x="704" y="881"/>
                    <a:pt x="704" y="881"/>
                  </a:cubicBezTo>
                  <a:cubicBezTo>
                    <a:pt x="713" y="901"/>
                    <a:pt x="725" y="919"/>
                    <a:pt x="740" y="934"/>
                  </a:cubicBezTo>
                  <a:cubicBezTo>
                    <a:pt x="744" y="938"/>
                    <a:pt x="744" y="938"/>
                    <a:pt x="744" y="938"/>
                  </a:cubicBezTo>
                  <a:cubicBezTo>
                    <a:pt x="802" y="997"/>
                    <a:pt x="894" y="1001"/>
                    <a:pt x="947" y="948"/>
                  </a:cubicBezTo>
                  <a:cubicBezTo>
                    <a:pt x="1001" y="894"/>
                    <a:pt x="997" y="803"/>
                    <a:pt x="938" y="744"/>
                  </a:cubicBezTo>
                  <a:cubicBezTo>
                    <a:pt x="934" y="740"/>
                    <a:pt x="934" y="740"/>
                    <a:pt x="934" y="740"/>
                  </a:cubicBezTo>
                  <a:cubicBezTo>
                    <a:pt x="919" y="725"/>
                    <a:pt x="901" y="713"/>
                    <a:pt x="881" y="705"/>
                  </a:cubicBezTo>
                  <a:cubicBezTo>
                    <a:pt x="986" y="600"/>
                    <a:pt x="986" y="600"/>
                    <a:pt x="986" y="600"/>
                  </a:cubicBezTo>
                  <a:cubicBezTo>
                    <a:pt x="1002" y="583"/>
                    <a:pt x="1011" y="560"/>
                    <a:pt x="1010" y="536"/>
                  </a:cubicBezTo>
                  <a:close/>
                  <a:moveTo>
                    <a:pt x="941" y="554"/>
                  </a:moveTo>
                  <a:cubicBezTo>
                    <a:pt x="831" y="665"/>
                    <a:pt x="831" y="665"/>
                    <a:pt x="831" y="665"/>
                  </a:cubicBezTo>
                  <a:cubicBezTo>
                    <a:pt x="817" y="678"/>
                    <a:pt x="812" y="698"/>
                    <a:pt x="816" y="717"/>
                  </a:cubicBezTo>
                  <a:cubicBezTo>
                    <a:pt x="820" y="738"/>
                    <a:pt x="835" y="755"/>
                    <a:pt x="855" y="763"/>
                  </a:cubicBezTo>
                  <a:cubicBezTo>
                    <a:pt x="868" y="768"/>
                    <a:pt x="879" y="775"/>
                    <a:pt x="889" y="785"/>
                  </a:cubicBezTo>
                  <a:cubicBezTo>
                    <a:pt x="893" y="789"/>
                    <a:pt x="893" y="789"/>
                    <a:pt x="893" y="789"/>
                  </a:cubicBezTo>
                  <a:cubicBezTo>
                    <a:pt x="926" y="823"/>
                    <a:pt x="931" y="874"/>
                    <a:pt x="902" y="902"/>
                  </a:cubicBezTo>
                  <a:cubicBezTo>
                    <a:pt x="874" y="931"/>
                    <a:pt x="823" y="927"/>
                    <a:pt x="789" y="893"/>
                  </a:cubicBezTo>
                  <a:cubicBezTo>
                    <a:pt x="785" y="889"/>
                    <a:pt x="785" y="889"/>
                    <a:pt x="785" y="889"/>
                  </a:cubicBezTo>
                  <a:cubicBezTo>
                    <a:pt x="775" y="879"/>
                    <a:pt x="768" y="868"/>
                    <a:pt x="763" y="855"/>
                  </a:cubicBezTo>
                  <a:cubicBezTo>
                    <a:pt x="755" y="835"/>
                    <a:pt x="738" y="820"/>
                    <a:pt x="717" y="816"/>
                  </a:cubicBezTo>
                  <a:cubicBezTo>
                    <a:pt x="698" y="812"/>
                    <a:pt x="678" y="817"/>
                    <a:pt x="664" y="831"/>
                  </a:cubicBezTo>
                  <a:cubicBezTo>
                    <a:pt x="554" y="941"/>
                    <a:pt x="554" y="941"/>
                    <a:pt x="554" y="941"/>
                  </a:cubicBezTo>
                  <a:cubicBezTo>
                    <a:pt x="550" y="945"/>
                    <a:pt x="544" y="946"/>
                    <a:pt x="540" y="946"/>
                  </a:cubicBezTo>
                  <a:cubicBezTo>
                    <a:pt x="533" y="945"/>
                    <a:pt x="525" y="942"/>
                    <a:pt x="520" y="936"/>
                  </a:cubicBezTo>
                  <a:cubicBezTo>
                    <a:pt x="471" y="887"/>
                    <a:pt x="471" y="887"/>
                    <a:pt x="471" y="887"/>
                  </a:cubicBezTo>
                  <a:cubicBezTo>
                    <a:pt x="577" y="781"/>
                    <a:pt x="577" y="781"/>
                    <a:pt x="577" y="781"/>
                  </a:cubicBezTo>
                  <a:cubicBezTo>
                    <a:pt x="590" y="769"/>
                    <a:pt x="590" y="748"/>
                    <a:pt x="577" y="736"/>
                  </a:cubicBezTo>
                  <a:cubicBezTo>
                    <a:pt x="565" y="723"/>
                    <a:pt x="544" y="723"/>
                    <a:pt x="532" y="736"/>
                  </a:cubicBezTo>
                  <a:cubicBezTo>
                    <a:pt x="426" y="842"/>
                    <a:pt x="426" y="842"/>
                    <a:pt x="426" y="842"/>
                  </a:cubicBezTo>
                  <a:cubicBezTo>
                    <a:pt x="393" y="809"/>
                    <a:pt x="393" y="809"/>
                    <a:pt x="393" y="809"/>
                  </a:cubicBezTo>
                  <a:cubicBezTo>
                    <a:pt x="381" y="797"/>
                    <a:pt x="365" y="790"/>
                    <a:pt x="348" y="790"/>
                  </a:cubicBezTo>
                  <a:cubicBezTo>
                    <a:pt x="343" y="790"/>
                    <a:pt x="337" y="791"/>
                    <a:pt x="332" y="793"/>
                  </a:cubicBezTo>
                  <a:cubicBezTo>
                    <a:pt x="312" y="798"/>
                    <a:pt x="298" y="814"/>
                    <a:pt x="294" y="834"/>
                  </a:cubicBezTo>
                  <a:cubicBezTo>
                    <a:pt x="291" y="847"/>
                    <a:pt x="285" y="857"/>
                    <a:pt x="276" y="866"/>
                  </a:cubicBezTo>
                  <a:cubicBezTo>
                    <a:pt x="273" y="869"/>
                    <a:pt x="273" y="869"/>
                    <a:pt x="273" y="869"/>
                  </a:cubicBezTo>
                  <a:cubicBezTo>
                    <a:pt x="245" y="898"/>
                    <a:pt x="194" y="894"/>
                    <a:pt x="160" y="860"/>
                  </a:cubicBezTo>
                  <a:cubicBezTo>
                    <a:pt x="126" y="826"/>
                    <a:pt x="122" y="775"/>
                    <a:pt x="150" y="746"/>
                  </a:cubicBezTo>
                  <a:cubicBezTo>
                    <a:pt x="153" y="743"/>
                    <a:pt x="153" y="743"/>
                    <a:pt x="153" y="743"/>
                  </a:cubicBezTo>
                  <a:cubicBezTo>
                    <a:pt x="162" y="735"/>
                    <a:pt x="173" y="729"/>
                    <a:pt x="186" y="726"/>
                  </a:cubicBezTo>
                  <a:cubicBezTo>
                    <a:pt x="206" y="722"/>
                    <a:pt x="221" y="707"/>
                    <a:pt x="227" y="688"/>
                  </a:cubicBezTo>
                  <a:cubicBezTo>
                    <a:pt x="233" y="667"/>
                    <a:pt x="227" y="643"/>
                    <a:pt x="211" y="627"/>
                  </a:cubicBezTo>
                  <a:cubicBezTo>
                    <a:pt x="84" y="500"/>
                    <a:pt x="84" y="500"/>
                    <a:pt x="84" y="500"/>
                  </a:cubicBezTo>
                  <a:cubicBezTo>
                    <a:pt x="78" y="494"/>
                    <a:pt x="74" y="487"/>
                    <a:pt x="74" y="480"/>
                  </a:cubicBezTo>
                  <a:cubicBezTo>
                    <a:pt x="74" y="476"/>
                    <a:pt x="74" y="470"/>
                    <a:pt x="79" y="465"/>
                  </a:cubicBezTo>
                  <a:cubicBezTo>
                    <a:pt x="184" y="360"/>
                    <a:pt x="184" y="360"/>
                    <a:pt x="184" y="360"/>
                  </a:cubicBezTo>
                  <a:cubicBezTo>
                    <a:pt x="192" y="380"/>
                    <a:pt x="204" y="398"/>
                    <a:pt x="219" y="414"/>
                  </a:cubicBezTo>
                  <a:cubicBezTo>
                    <a:pt x="223" y="417"/>
                    <a:pt x="223" y="417"/>
                    <a:pt x="223" y="417"/>
                  </a:cubicBezTo>
                  <a:cubicBezTo>
                    <a:pt x="282" y="476"/>
                    <a:pt x="373" y="480"/>
                    <a:pt x="427" y="427"/>
                  </a:cubicBezTo>
                  <a:cubicBezTo>
                    <a:pt x="480" y="373"/>
                    <a:pt x="476" y="282"/>
                    <a:pt x="417" y="223"/>
                  </a:cubicBezTo>
                  <a:cubicBezTo>
                    <a:pt x="414" y="219"/>
                    <a:pt x="414" y="219"/>
                    <a:pt x="414" y="219"/>
                  </a:cubicBezTo>
                  <a:cubicBezTo>
                    <a:pt x="398" y="204"/>
                    <a:pt x="380" y="192"/>
                    <a:pt x="360" y="184"/>
                  </a:cubicBezTo>
                  <a:cubicBezTo>
                    <a:pt x="465" y="79"/>
                    <a:pt x="465" y="79"/>
                    <a:pt x="465" y="79"/>
                  </a:cubicBezTo>
                  <a:cubicBezTo>
                    <a:pt x="473" y="71"/>
                    <a:pt x="489" y="73"/>
                    <a:pt x="500" y="84"/>
                  </a:cubicBezTo>
                  <a:cubicBezTo>
                    <a:pt x="627" y="211"/>
                    <a:pt x="627" y="211"/>
                    <a:pt x="627" y="211"/>
                  </a:cubicBezTo>
                  <a:cubicBezTo>
                    <a:pt x="643" y="227"/>
                    <a:pt x="667" y="233"/>
                    <a:pt x="688" y="227"/>
                  </a:cubicBezTo>
                  <a:cubicBezTo>
                    <a:pt x="707" y="221"/>
                    <a:pt x="722" y="206"/>
                    <a:pt x="726" y="186"/>
                  </a:cubicBezTo>
                  <a:cubicBezTo>
                    <a:pt x="729" y="173"/>
                    <a:pt x="735" y="162"/>
                    <a:pt x="743" y="153"/>
                  </a:cubicBezTo>
                  <a:cubicBezTo>
                    <a:pt x="746" y="150"/>
                    <a:pt x="746" y="150"/>
                    <a:pt x="746" y="150"/>
                  </a:cubicBezTo>
                  <a:cubicBezTo>
                    <a:pt x="760" y="137"/>
                    <a:pt x="778" y="130"/>
                    <a:pt x="799" y="132"/>
                  </a:cubicBezTo>
                  <a:cubicBezTo>
                    <a:pt x="821" y="133"/>
                    <a:pt x="843" y="143"/>
                    <a:pt x="860" y="160"/>
                  </a:cubicBezTo>
                  <a:cubicBezTo>
                    <a:pt x="894" y="194"/>
                    <a:pt x="898" y="245"/>
                    <a:pt x="869" y="273"/>
                  </a:cubicBezTo>
                  <a:cubicBezTo>
                    <a:pt x="866" y="276"/>
                    <a:pt x="866" y="276"/>
                    <a:pt x="866" y="276"/>
                  </a:cubicBezTo>
                  <a:cubicBezTo>
                    <a:pt x="857" y="285"/>
                    <a:pt x="847" y="291"/>
                    <a:pt x="834" y="294"/>
                  </a:cubicBezTo>
                  <a:cubicBezTo>
                    <a:pt x="814" y="298"/>
                    <a:pt x="798" y="312"/>
                    <a:pt x="793" y="332"/>
                  </a:cubicBezTo>
                  <a:cubicBezTo>
                    <a:pt x="786" y="353"/>
                    <a:pt x="793" y="376"/>
                    <a:pt x="809" y="393"/>
                  </a:cubicBezTo>
                  <a:cubicBezTo>
                    <a:pt x="936" y="520"/>
                    <a:pt x="936" y="520"/>
                    <a:pt x="936" y="520"/>
                  </a:cubicBezTo>
                  <a:cubicBezTo>
                    <a:pt x="942" y="525"/>
                    <a:pt x="945" y="533"/>
                    <a:pt x="946" y="540"/>
                  </a:cubicBezTo>
                  <a:cubicBezTo>
                    <a:pt x="946" y="544"/>
                    <a:pt x="945" y="550"/>
                    <a:pt x="941" y="554"/>
                  </a:cubicBezTo>
                  <a:close/>
                  <a:moveTo>
                    <a:pt x="941" y="554"/>
                  </a:moveTo>
                  <a:cubicBezTo>
                    <a:pt x="941" y="554"/>
                    <a:pt x="941" y="554"/>
                    <a:pt x="941" y="5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36">
              <a:extLst>
                <a:ext uri="{FF2B5EF4-FFF2-40B4-BE49-F238E27FC236}">
                  <a16:creationId xmlns:a16="http://schemas.microsoft.com/office/drawing/2014/main" id="{C1E1F507-AE34-9843-B23B-1A0960023126}"/>
                </a:ext>
              </a:extLst>
            </p:cNvPr>
            <p:cNvSpPr>
              <a:spLocks noEditPoints="1"/>
            </p:cNvSpPr>
            <p:nvPr/>
          </p:nvSpPr>
          <p:spPr bwMode="auto">
            <a:xfrm>
              <a:off x="5936" y="3472"/>
              <a:ext cx="121" cy="122"/>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37">
              <a:extLst>
                <a:ext uri="{FF2B5EF4-FFF2-40B4-BE49-F238E27FC236}">
                  <a16:creationId xmlns:a16="http://schemas.microsoft.com/office/drawing/2014/main" id="{225B3772-311A-2149-9577-A4B5BFF4542D}"/>
                </a:ext>
              </a:extLst>
            </p:cNvPr>
            <p:cNvSpPr>
              <a:spLocks noEditPoints="1"/>
            </p:cNvSpPr>
            <p:nvPr/>
          </p:nvSpPr>
          <p:spPr bwMode="auto">
            <a:xfrm>
              <a:off x="7221" y="1814"/>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38">
              <a:extLst>
                <a:ext uri="{FF2B5EF4-FFF2-40B4-BE49-F238E27FC236}">
                  <a16:creationId xmlns:a16="http://schemas.microsoft.com/office/drawing/2014/main" id="{A0900959-8FAE-B645-B606-2605EDD502BD}"/>
                </a:ext>
              </a:extLst>
            </p:cNvPr>
            <p:cNvSpPr>
              <a:spLocks noEditPoints="1"/>
            </p:cNvSpPr>
            <p:nvPr/>
          </p:nvSpPr>
          <p:spPr bwMode="auto">
            <a:xfrm>
              <a:off x="6000" y="1045"/>
              <a:ext cx="1914" cy="1910"/>
            </a:xfrm>
            <a:custGeom>
              <a:avLst/>
              <a:gdLst>
                <a:gd name="T0" fmla="*/ 878 w 1011"/>
                <a:gd name="T1" fmla="*/ 706 h 1009"/>
                <a:gd name="T2" fmla="*/ 1009 w 1011"/>
                <a:gd name="T3" fmla="*/ 535 h 1009"/>
                <a:gd name="T4" fmla="*/ 862 w 1011"/>
                <a:gd name="T5" fmla="*/ 355 h 1009"/>
                <a:gd name="T6" fmla="*/ 910 w 1011"/>
                <a:gd name="T7" fmla="*/ 323 h 1009"/>
                <a:gd name="T8" fmla="*/ 696 w 1011"/>
                <a:gd name="T9" fmla="*/ 109 h 1009"/>
                <a:gd name="T10" fmla="*/ 664 w 1011"/>
                <a:gd name="T11" fmla="*/ 157 h 1009"/>
                <a:gd name="T12" fmla="*/ 420 w 1011"/>
                <a:gd name="T13" fmla="*/ 33 h 1009"/>
                <a:gd name="T14" fmla="*/ 274 w 1011"/>
                <a:gd name="T15" fmla="*/ 79 h 1009"/>
                <a:gd name="T16" fmla="*/ 66 w 1011"/>
                <a:gd name="T17" fmla="*/ 66 h 1009"/>
                <a:gd name="T18" fmla="*/ 80 w 1011"/>
                <a:gd name="T19" fmla="*/ 273 h 1009"/>
                <a:gd name="T20" fmla="*/ 33 w 1011"/>
                <a:gd name="T21" fmla="*/ 419 h 1009"/>
                <a:gd name="T22" fmla="*/ 165 w 1011"/>
                <a:gd name="T23" fmla="*/ 672 h 1009"/>
                <a:gd name="T24" fmla="*/ 264 w 1011"/>
                <a:gd name="T25" fmla="*/ 646 h 1009"/>
                <a:gd name="T26" fmla="*/ 285 w 1011"/>
                <a:gd name="T27" fmla="*/ 611 h 1009"/>
                <a:gd name="T28" fmla="*/ 398 w 1011"/>
                <a:gd name="T29" fmla="*/ 621 h 1009"/>
                <a:gd name="T30" fmla="*/ 408 w 1011"/>
                <a:gd name="T31" fmla="*/ 734 h 1009"/>
                <a:gd name="T32" fmla="*/ 372 w 1011"/>
                <a:gd name="T33" fmla="*/ 754 h 1009"/>
                <a:gd name="T34" fmla="*/ 347 w 1011"/>
                <a:gd name="T35" fmla="*/ 853 h 1009"/>
                <a:gd name="T36" fmla="*/ 541 w 1011"/>
                <a:gd name="T37" fmla="*/ 1009 h 1009"/>
                <a:gd name="T38" fmla="*/ 707 w 1011"/>
                <a:gd name="T39" fmla="*/ 878 h 1009"/>
                <a:gd name="T40" fmla="*/ 749 w 1011"/>
                <a:gd name="T41" fmla="*/ 943 h 1009"/>
                <a:gd name="T42" fmla="*/ 943 w 1011"/>
                <a:gd name="T43" fmla="*/ 748 h 1009"/>
                <a:gd name="T44" fmla="*/ 907 w 1011"/>
                <a:gd name="T45" fmla="*/ 907 h 1009"/>
                <a:gd name="T46" fmla="*/ 790 w 1011"/>
                <a:gd name="T47" fmla="*/ 894 h 1009"/>
                <a:gd name="T48" fmla="*/ 721 w 1011"/>
                <a:gd name="T49" fmla="*/ 813 h 1009"/>
                <a:gd name="T50" fmla="*/ 554 w 1011"/>
                <a:gd name="T51" fmla="*/ 940 h 1009"/>
                <a:gd name="T52" fmla="*/ 519 w 1011"/>
                <a:gd name="T53" fmla="*/ 935 h 1009"/>
                <a:gd name="T54" fmla="*/ 450 w 1011"/>
                <a:gd name="T55" fmla="*/ 782 h 1009"/>
                <a:gd name="T56" fmla="*/ 490 w 1011"/>
                <a:gd name="T57" fmla="*/ 677 h 1009"/>
                <a:gd name="T58" fmla="*/ 341 w 1011"/>
                <a:gd name="T59" fmla="*/ 528 h 1009"/>
                <a:gd name="T60" fmla="*/ 236 w 1011"/>
                <a:gd name="T61" fmla="*/ 569 h 1009"/>
                <a:gd name="T62" fmla="*/ 83 w 1011"/>
                <a:gd name="T63" fmla="*/ 499 h 1009"/>
                <a:gd name="T64" fmla="*/ 79 w 1011"/>
                <a:gd name="T65" fmla="*/ 464 h 1009"/>
                <a:gd name="T66" fmla="*/ 206 w 1011"/>
                <a:gd name="T67" fmla="*/ 298 h 1009"/>
                <a:gd name="T68" fmla="*/ 125 w 1011"/>
                <a:gd name="T69" fmla="*/ 228 h 1009"/>
                <a:gd name="T70" fmla="*/ 112 w 1011"/>
                <a:gd name="T71" fmla="*/ 111 h 1009"/>
                <a:gd name="T72" fmla="*/ 229 w 1011"/>
                <a:gd name="T73" fmla="*/ 124 h 1009"/>
                <a:gd name="T74" fmla="*/ 298 w 1011"/>
                <a:gd name="T75" fmla="*/ 205 h 1009"/>
                <a:gd name="T76" fmla="*/ 465 w 1011"/>
                <a:gd name="T77" fmla="*/ 78 h 1009"/>
                <a:gd name="T78" fmla="*/ 624 w 1011"/>
                <a:gd name="T79" fmla="*/ 207 h 1009"/>
                <a:gd name="T80" fmla="*/ 722 w 1011"/>
                <a:gd name="T81" fmla="*/ 186 h 1009"/>
                <a:gd name="T82" fmla="*/ 741 w 1011"/>
                <a:gd name="T83" fmla="*/ 154 h 1009"/>
                <a:gd name="T84" fmla="*/ 864 w 1011"/>
                <a:gd name="T85" fmla="*/ 277 h 1009"/>
                <a:gd name="T86" fmla="*/ 833 w 1011"/>
                <a:gd name="T87" fmla="*/ 297 h 1009"/>
                <a:gd name="T88" fmla="*/ 811 w 1011"/>
                <a:gd name="T89" fmla="*/ 395 h 1009"/>
                <a:gd name="T90" fmla="*/ 945 w 1011"/>
                <a:gd name="T91" fmla="*/ 539 h 1009"/>
                <a:gd name="T92" fmla="*/ 889 w 1011"/>
                <a:gd name="T93" fmla="*/ 605 h 1009"/>
                <a:gd name="T94" fmla="*/ 738 w 1011"/>
                <a:gd name="T95" fmla="*/ 499 h 1009"/>
                <a:gd name="T96" fmla="*/ 844 w 1011"/>
                <a:gd name="T97" fmla="*/ 650 h 1009"/>
                <a:gd name="T98" fmla="*/ 813 w 1011"/>
                <a:gd name="T99" fmla="*/ 720 h 1009"/>
                <a:gd name="T100" fmla="*/ 894 w 1011"/>
                <a:gd name="T101" fmla="*/ 790 h 1009"/>
                <a:gd name="T102" fmla="*/ 907 w 1011"/>
                <a:gd name="T103" fmla="*/ 907 h 1009"/>
                <a:gd name="T104" fmla="*/ 907 w 1011"/>
                <a:gd name="T105" fmla="*/ 907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1" h="1009">
                  <a:moveTo>
                    <a:pt x="939" y="745"/>
                  </a:moveTo>
                  <a:cubicBezTo>
                    <a:pt x="922" y="727"/>
                    <a:pt x="901" y="714"/>
                    <a:pt x="878" y="706"/>
                  </a:cubicBezTo>
                  <a:cubicBezTo>
                    <a:pt x="986" y="599"/>
                    <a:pt x="986" y="599"/>
                    <a:pt x="986" y="599"/>
                  </a:cubicBezTo>
                  <a:cubicBezTo>
                    <a:pt x="1002" y="582"/>
                    <a:pt x="1011" y="559"/>
                    <a:pt x="1009" y="535"/>
                  </a:cubicBezTo>
                  <a:cubicBezTo>
                    <a:pt x="1008" y="512"/>
                    <a:pt x="998" y="491"/>
                    <a:pt x="981" y="474"/>
                  </a:cubicBezTo>
                  <a:cubicBezTo>
                    <a:pt x="862" y="355"/>
                    <a:pt x="862" y="355"/>
                    <a:pt x="862" y="355"/>
                  </a:cubicBezTo>
                  <a:cubicBezTo>
                    <a:pt x="879" y="348"/>
                    <a:pt x="894" y="338"/>
                    <a:pt x="906" y="326"/>
                  </a:cubicBezTo>
                  <a:cubicBezTo>
                    <a:pt x="910" y="323"/>
                    <a:pt x="910" y="323"/>
                    <a:pt x="910" y="323"/>
                  </a:cubicBezTo>
                  <a:cubicBezTo>
                    <a:pt x="963" y="269"/>
                    <a:pt x="959" y="178"/>
                    <a:pt x="900" y="119"/>
                  </a:cubicBezTo>
                  <a:cubicBezTo>
                    <a:pt x="841" y="60"/>
                    <a:pt x="750" y="56"/>
                    <a:pt x="696" y="109"/>
                  </a:cubicBezTo>
                  <a:cubicBezTo>
                    <a:pt x="693" y="112"/>
                    <a:pt x="693" y="112"/>
                    <a:pt x="693" y="112"/>
                  </a:cubicBezTo>
                  <a:cubicBezTo>
                    <a:pt x="680" y="125"/>
                    <a:pt x="671" y="140"/>
                    <a:pt x="664" y="157"/>
                  </a:cubicBezTo>
                  <a:cubicBezTo>
                    <a:pt x="545" y="38"/>
                    <a:pt x="545" y="38"/>
                    <a:pt x="545" y="38"/>
                  </a:cubicBezTo>
                  <a:cubicBezTo>
                    <a:pt x="509" y="2"/>
                    <a:pt x="453" y="0"/>
                    <a:pt x="420" y="33"/>
                  </a:cubicBezTo>
                  <a:cubicBezTo>
                    <a:pt x="312" y="140"/>
                    <a:pt x="312" y="140"/>
                    <a:pt x="312" y="140"/>
                  </a:cubicBezTo>
                  <a:cubicBezTo>
                    <a:pt x="304" y="117"/>
                    <a:pt x="291" y="96"/>
                    <a:pt x="274" y="79"/>
                  </a:cubicBezTo>
                  <a:cubicBezTo>
                    <a:pt x="270" y="76"/>
                    <a:pt x="270" y="76"/>
                    <a:pt x="270" y="76"/>
                  </a:cubicBezTo>
                  <a:cubicBezTo>
                    <a:pt x="211" y="17"/>
                    <a:pt x="120" y="12"/>
                    <a:pt x="66" y="66"/>
                  </a:cubicBezTo>
                  <a:cubicBezTo>
                    <a:pt x="13" y="120"/>
                    <a:pt x="17" y="211"/>
                    <a:pt x="76" y="270"/>
                  </a:cubicBezTo>
                  <a:cubicBezTo>
                    <a:pt x="80" y="273"/>
                    <a:pt x="80" y="273"/>
                    <a:pt x="80" y="273"/>
                  </a:cubicBezTo>
                  <a:cubicBezTo>
                    <a:pt x="97" y="291"/>
                    <a:pt x="118" y="304"/>
                    <a:pt x="141" y="312"/>
                  </a:cubicBezTo>
                  <a:cubicBezTo>
                    <a:pt x="33" y="419"/>
                    <a:pt x="33" y="419"/>
                    <a:pt x="33" y="419"/>
                  </a:cubicBezTo>
                  <a:cubicBezTo>
                    <a:pt x="0" y="452"/>
                    <a:pt x="2" y="509"/>
                    <a:pt x="38" y="544"/>
                  </a:cubicBezTo>
                  <a:cubicBezTo>
                    <a:pt x="165" y="672"/>
                    <a:pt x="165" y="672"/>
                    <a:pt x="165" y="672"/>
                  </a:cubicBezTo>
                  <a:cubicBezTo>
                    <a:pt x="182" y="688"/>
                    <a:pt x="205" y="694"/>
                    <a:pt x="226" y="688"/>
                  </a:cubicBezTo>
                  <a:cubicBezTo>
                    <a:pt x="246" y="682"/>
                    <a:pt x="260" y="666"/>
                    <a:pt x="264" y="646"/>
                  </a:cubicBezTo>
                  <a:cubicBezTo>
                    <a:pt x="267" y="634"/>
                    <a:pt x="273" y="623"/>
                    <a:pt x="282" y="614"/>
                  </a:cubicBezTo>
                  <a:cubicBezTo>
                    <a:pt x="285" y="611"/>
                    <a:pt x="285" y="611"/>
                    <a:pt x="285" y="611"/>
                  </a:cubicBezTo>
                  <a:cubicBezTo>
                    <a:pt x="298" y="598"/>
                    <a:pt x="317" y="591"/>
                    <a:pt x="337" y="592"/>
                  </a:cubicBezTo>
                  <a:cubicBezTo>
                    <a:pt x="360" y="594"/>
                    <a:pt x="381" y="604"/>
                    <a:pt x="398" y="621"/>
                  </a:cubicBezTo>
                  <a:cubicBezTo>
                    <a:pt x="415" y="638"/>
                    <a:pt x="425" y="659"/>
                    <a:pt x="426" y="681"/>
                  </a:cubicBezTo>
                  <a:cubicBezTo>
                    <a:pt x="428" y="702"/>
                    <a:pt x="421" y="721"/>
                    <a:pt x="408" y="734"/>
                  </a:cubicBezTo>
                  <a:cubicBezTo>
                    <a:pt x="405" y="737"/>
                    <a:pt x="405" y="737"/>
                    <a:pt x="405" y="737"/>
                  </a:cubicBezTo>
                  <a:cubicBezTo>
                    <a:pt x="396" y="746"/>
                    <a:pt x="385" y="752"/>
                    <a:pt x="372" y="754"/>
                  </a:cubicBezTo>
                  <a:cubicBezTo>
                    <a:pt x="352" y="759"/>
                    <a:pt x="337" y="773"/>
                    <a:pt x="331" y="793"/>
                  </a:cubicBezTo>
                  <a:cubicBezTo>
                    <a:pt x="325" y="814"/>
                    <a:pt x="331" y="837"/>
                    <a:pt x="347" y="853"/>
                  </a:cubicBezTo>
                  <a:cubicBezTo>
                    <a:pt x="474" y="980"/>
                    <a:pt x="474" y="980"/>
                    <a:pt x="474" y="980"/>
                  </a:cubicBezTo>
                  <a:cubicBezTo>
                    <a:pt x="493" y="999"/>
                    <a:pt x="517" y="1009"/>
                    <a:pt x="541" y="1009"/>
                  </a:cubicBezTo>
                  <a:cubicBezTo>
                    <a:pt x="563" y="1009"/>
                    <a:pt x="584" y="1001"/>
                    <a:pt x="599" y="985"/>
                  </a:cubicBezTo>
                  <a:cubicBezTo>
                    <a:pt x="707" y="878"/>
                    <a:pt x="707" y="878"/>
                    <a:pt x="707" y="878"/>
                  </a:cubicBezTo>
                  <a:cubicBezTo>
                    <a:pt x="715" y="901"/>
                    <a:pt x="728" y="922"/>
                    <a:pt x="745" y="939"/>
                  </a:cubicBezTo>
                  <a:cubicBezTo>
                    <a:pt x="749" y="943"/>
                    <a:pt x="749" y="943"/>
                    <a:pt x="749" y="943"/>
                  </a:cubicBezTo>
                  <a:cubicBezTo>
                    <a:pt x="808" y="1001"/>
                    <a:pt x="899" y="1006"/>
                    <a:pt x="953" y="952"/>
                  </a:cubicBezTo>
                  <a:cubicBezTo>
                    <a:pt x="1006" y="899"/>
                    <a:pt x="1002" y="807"/>
                    <a:pt x="943" y="748"/>
                  </a:cubicBezTo>
                  <a:lnTo>
                    <a:pt x="939" y="745"/>
                  </a:lnTo>
                  <a:close/>
                  <a:moveTo>
                    <a:pt x="907" y="907"/>
                  </a:moveTo>
                  <a:cubicBezTo>
                    <a:pt x="879" y="935"/>
                    <a:pt x="828" y="931"/>
                    <a:pt x="794" y="897"/>
                  </a:cubicBezTo>
                  <a:cubicBezTo>
                    <a:pt x="790" y="894"/>
                    <a:pt x="790" y="894"/>
                    <a:pt x="790" y="894"/>
                  </a:cubicBezTo>
                  <a:cubicBezTo>
                    <a:pt x="779" y="883"/>
                    <a:pt x="771" y="869"/>
                    <a:pt x="766" y="855"/>
                  </a:cubicBezTo>
                  <a:cubicBezTo>
                    <a:pt x="760" y="834"/>
                    <a:pt x="742" y="818"/>
                    <a:pt x="721" y="813"/>
                  </a:cubicBezTo>
                  <a:cubicBezTo>
                    <a:pt x="701" y="808"/>
                    <a:pt x="681" y="813"/>
                    <a:pt x="667" y="827"/>
                  </a:cubicBezTo>
                  <a:cubicBezTo>
                    <a:pt x="554" y="940"/>
                    <a:pt x="554" y="940"/>
                    <a:pt x="554" y="940"/>
                  </a:cubicBezTo>
                  <a:cubicBezTo>
                    <a:pt x="550" y="944"/>
                    <a:pt x="544" y="945"/>
                    <a:pt x="540" y="945"/>
                  </a:cubicBezTo>
                  <a:cubicBezTo>
                    <a:pt x="533" y="944"/>
                    <a:pt x="525" y="941"/>
                    <a:pt x="519" y="935"/>
                  </a:cubicBezTo>
                  <a:cubicBezTo>
                    <a:pt x="398" y="814"/>
                    <a:pt x="398" y="814"/>
                    <a:pt x="398" y="814"/>
                  </a:cubicBezTo>
                  <a:cubicBezTo>
                    <a:pt x="418" y="807"/>
                    <a:pt x="435" y="797"/>
                    <a:pt x="450" y="782"/>
                  </a:cubicBezTo>
                  <a:cubicBezTo>
                    <a:pt x="453" y="779"/>
                    <a:pt x="453" y="779"/>
                    <a:pt x="453" y="779"/>
                  </a:cubicBezTo>
                  <a:cubicBezTo>
                    <a:pt x="479" y="753"/>
                    <a:pt x="493" y="717"/>
                    <a:pt x="490" y="677"/>
                  </a:cubicBezTo>
                  <a:cubicBezTo>
                    <a:pt x="488" y="640"/>
                    <a:pt x="471" y="603"/>
                    <a:pt x="443" y="575"/>
                  </a:cubicBezTo>
                  <a:cubicBezTo>
                    <a:pt x="415" y="547"/>
                    <a:pt x="379" y="531"/>
                    <a:pt x="341" y="528"/>
                  </a:cubicBezTo>
                  <a:cubicBezTo>
                    <a:pt x="302" y="526"/>
                    <a:pt x="266" y="539"/>
                    <a:pt x="239" y="566"/>
                  </a:cubicBezTo>
                  <a:cubicBezTo>
                    <a:pt x="236" y="569"/>
                    <a:pt x="236" y="569"/>
                    <a:pt x="236" y="569"/>
                  </a:cubicBezTo>
                  <a:cubicBezTo>
                    <a:pt x="222" y="583"/>
                    <a:pt x="211" y="601"/>
                    <a:pt x="205" y="621"/>
                  </a:cubicBezTo>
                  <a:cubicBezTo>
                    <a:pt x="83" y="499"/>
                    <a:pt x="83" y="499"/>
                    <a:pt x="83" y="499"/>
                  </a:cubicBezTo>
                  <a:cubicBezTo>
                    <a:pt x="78" y="493"/>
                    <a:pt x="74" y="486"/>
                    <a:pt x="74" y="479"/>
                  </a:cubicBezTo>
                  <a:cubicBezTo>
                    <a:pt x="73" y="475"/>
                    <a:pt x="74" y="469"/>
                    <a:pt x="79" y="464"/>
                  </a:cubicBezTo>
                  <a:cubicBezTo>
                    <a:pt x="191" y="352"/>
                    <a:pt x="191" y="352"/>
                    <a:pt x="191" y="352"/>
                  </a:cubicBezTo>
                  <a:cubicBezTo>
                    <a:pt x="205" y="338"/>
                    <a:pt x="211" y="318"/>
                    <a:pt x="206" y="298"/>
                  </a:cubicBezTo>
                  <a:cubicBezTo>
                    <a:pt x="201" y="276"/>
                    <a:pt x="185" y="259"/>
                    <a:pt x="164" y="252"/>
                  </a:cubicBezTo>
                  <a:cubicBezTo>
                    <a:pt x="149" y="248"/>
                    <a:pt x="136" y="239"/>
                    <a:pt x="125" y="228"/>
                  </a:cubicBezTo>
                  <a:cubicBezTo>
                    <a:pt x="121" y="225"/>
                    <a:pt x="121" y="225"/>
                    <a:pt x="121" y="225"/>
                  </a:cubicBezTo>
                  <a:cubicBezTo>
                    <a:pt x="87" y="191"/>
                    <a:pt x="83" y="140"/>
                    <a:pt x="112" y="111"/>
                  </a:cubicBezTo>
                  <a:cubicBezTo>
                    <a:pt x="140" y="83"/>
                    <a:pt x="191" y="87"/>
                    <a:pt x="225" y="121"/>
                  </a:cubicBezTo>
                  <a:cubicBezTo>
                    <a:pt x="229" y="124"/>
                    <a:pt x="229" y="124"/>
                    <a:pt x="229" y="124"/>
                  </a:cubicBezTo>
                  <a:cubicBezTo>
                    <a:pt x="240" y="135"/>
                    <a:pt x="248" y="149"/>
                    <a:pt x="253" y="163"/>
                  </a:cubicBezTo>
                  <a:cubicBezTo>
                    <a:pt x="259" y="184"/>
                    <a:pt x="277" y="200"/>
                    <a:pt x="298" y="205"/>
                  </a:cubicBezTo>
                  <a:cubicBezTo>
                    <a:pt x="318" y="210"/>
                    <a:pt x="338" y="205"/>
                    <a:pt x="352" y="191"/>
                  </a:cubicBezTo>
                  <a:cubicBezTo>
                    <a:pt x="465" y="78"/>
                    <a:pt x="465" y="78"/>
                    <a:pt x="465" y="78"/>
                  </a:cubicBezTo>
                  <a:cubicBezTo>
                    <a:pt x="473" y="70"/>
                    <a:pt x="489" y="72"/>
                    <a:pt x="500" y="83"/>
                  </a:cubicBezTo>
                  <a:cubicBezTo>
                    <a:pt x="624" y="207"/>
                    <a:pt x="624" y="207"/>
                    <a:pt x="624" y="207"/>
                  </a:cubicBezTo>
                  <a:cubicBezTo>
                    <a:pt x="640" y="223"/>
                    <a:pt x="662" y="229"/>
                    <a:pt x="683" y="224"/>
                  </a:cubicBezTo>
                  <a:cubicBezTo>
                    <a:pt x="702" y="219"/>
                    <a:pt x="717" y="205"/>
                    <a:pt x="722" y="186"/>
                  </a:cubicBezTo>
                  <a:cubicBezTo>
                    <a:pt x="725" y="175"/>
                    <a:pt x="731" y="165"/>
                    <a:pt x="738" y="157"/>
                  </a:cubicBezTo>
                  <a:cubicBezTo>
                    <a:pt x="741" y="154"/>
                    <a:pt x="741" y="154"/>
                    <a:pt x="741" y="154"/>
                  </a:cubicBezTo>
                  <a:cubicBezTo>
                    <a:pt x="770" y="126"/>
                    <a:pt x="821" y="130"/>
                    <a:pt x="855" y="164"/>
                  </a:cubicBezTo>
                  <a:cubicBezTo>
                    <a:pt x="889" y="198"/>
                    <a:pt x="893" y="249"/>
                    <a:pt x="864" y="277"/>
                  </a:cubicBezTo>
                  <a:cubicBezTo>
                    <a:pt x="861" y="280"/>
                    <a:pt x="861" y="280"/>
                    <a:pt x="861" y="280"/>
                  </a:cubicBezTo>
                  <a:cubicBezTo>
                    <a:pt x="853" y="288"/>
                    <a:pt x="844" y="294"/>
                    <a:pt x="833" y="297"/>
                  </a:cubicBezTo>
                  <a:cubicBezTo>
                    <a:pt x="814" y="302"/>
                    <a:pt x="800" y="317"/>
                    <a:pt x="795" y="336"/>
                  </a:cubicBezTo>
                  <a:cubicBezTo>
                    <a:pt x="789" y="356"/>
                    <a:pt x="796" y="379"/>
                    <a:pt x="811" y="395"/>
                  </a:cubicBezTo>
                  <a:cubicBezTo>
                    <a:pt x="936" y="519"/>
                    <a:pt x="936" y="519"/>
                    <a:pt x="936" y="519"/>
                  </a:cubicBezTo>
                  <a:cubicBezTo>
                    <a:pt x="941" y="525"/>
                    <a:pt x="945" y="532"/>
                    <a:pt x="945" y="539"/>
                  </a:cubicBezTo>
                  <a:cubicBezTo>
                    <a:pt x="946" y="543"/>
                    <a:pt x="945" y="549"/>
                    <a:pt x="940" y="554"/>
                  </a:cubicBezTo>
                  <a:cubicBezTo>
                    <a:pt x="889" y="605"/>
                    <a:pt x="889" y="605"/>
                    <a:pt x="889" y="605"/>
                  </a:cubicBezTo>
                  <a:cubicBezTo>
                    <a:pt x="783" y="499"/>
                    <a:pt x="783" y="499"/>
                    <a:pt x="783" y="499"/>
                  </a:cubicBezTo>
                  <a:cubicBezTo>
                    <a:pt x="771" y="486"/>
                    <a:pt x="750" y="486"/>
                    <a:pt x="738" y="499"/>
                  </a:cubicBezTo>
                  <a:cubicBezTo>
                    <a:pt x="725" y="511"/>
                    <a:pt x="725" y="532"/>
                    <a:pt x="738" y="544"/>
                  </a:cubicBezTo>
                  <a:cubicBezTo>
                    <a:pt x="844" y="650"/>
                    <a:pt x="844" y="650"/>
                    <a:pt x="844" y="650"/>
                  </a:cubicBezTo>
                  <a:cubicBezTo>
                    <a:pt x="828" y="666"/>
                    <a:pt x="828" y="666"/>
                    <a:pt x="828" y="666"/>
                  </a:cubicBezTo>
                  <a:cubicBezTo>
                    <a:pt x="814" y="680"/>
                    <a:pt x="808" y="700"/>
                    <a:pt x="813" y="720"/>
                  </a:cubicBezTo>
                  <a:cubicBezTo>
                    <a:pt x="818" y="742"/>
                    <a:pt x="834" y="759"/>
                    <a:pt x="855" y="766"/>
                  </a:cubicBezTo>
                  <a:cubicBezTo>
                    <a:pt x="870" y="770"/>
                    <a:pt x="883" y="779"/>
                    <a:pt x="894" y="790"/>
                  </a:cubicBezTo>
                  <a:cubicBezTo>
                    <a:pt x="898" y="793"/>
                    <a:pt x="898" y="793"/>
                    <a:pt x="898" y="793"/>
                  </a:cubicBezTo>
                  <a:cubicBezTo>
                    <a:pt x="932" y="827"/>
                    <a:pt x="936" y="878"/>
                    <a:pt x="907" y="907"/>
                  </a:cubicBezTo>
                  <a:close/>
                  <a:moveTo>
                    <a:pt x="907" y="907"/>
                  </a:moveTo>
                  <a:cubicBezTo>
                    <a:pt x="907" y="907"/>
                    <a:pt x="907" y="907"/>
                    <a:pt x="907" y="90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7" name="Group 35">
            <a:extLst>
              <a:ext uri="{FF2B5EF4-FFF2-40B4-BE49-F238E27FC236}">
                <a16:creationId xmlns:a16="http://schemas.microsoft.com/office/drawing/2014/main" id="{6C6DE88D-4B4F-0443-AA20-E151B117D199}"/>
              </a:ext>
            </a:extLst>
          </p:cNvPr>
          <p:cNvGrpSpPr>
            <a:grpSpLocks noChangeAspect="1"/>
          </p:cNvGrpSpPr>
          <p:nvPr/>
        </p:nvGrpSpPr>
        <p:grpSpPr bwMode="auto">
          <a:xfrm>
            <a:off x="4345252" y="4165754"/>
            <a:ext cx="601321" cy="668938"/>
            <a:chOff x="7679" y="1885"/>
            <a:chExt cx="3326" cy="3700"/>
          </a:xfrm>
          <a:solidFill>
            <a:schemeClr val="bg1"/>
          </a:solidFill>
        </p:grpSpPr>
        <p:sp>
          <p:nvSpPr>
            <p:cNvPr id="128" name="Freeform 36">
              <a:extLst>
                <a:ext uri="{FF2B5EF4-FFF2-40B4-BE49-F238E27FC236}">
                  <a16:creationId xmlns:a16="http://schemas.microsoft.com/office/drawing/2014/main" id="{6F200F4F-8113-8C45-B4D7-00DA7C9D77F8}"/>
                </a:ext>
              </a:extLst>
            </p:cNvPr>
            <p:cNvSpPr>
              <a:spLocks noEditPoints="1"/>
            </p:cNvSpPr>
            <p:nvPr/>
          </p:nvSpPr>
          <p:spPr bwMode="auto">
            <a:xfrm>
              <a:off x="7679" y="1885"/>
              <a:ext cx="3326" cy="3700"/>
            </a:xfrm>
            <a:custGeom>
              <a:avLst/>
              <a:gdLst>
                <a:gd name="T0" fmla="*/ 1 w 1757"/>
                <a:gd name="T1" fmla="*/ 1099 h 1955"/>
                <a:gd name="T2" fmla="*/ 1727 w 1757"/>
                <a:gd name="T3" fmla="*/ 1026 h 1955"/>
                <a:gd name="T4" fmla="*/ 1506 w 1757"/>
                <a:gd name="T5" fmla="*/ 270 h 1955"/>
                <a:gd name="T6" fmla="*/ 1325 w 1757"/>
                <a:gd name="T7" fmla="*/ 24 h 1955"/>
                <a:gd name="T8" fmla="*/ 965 w 1757"/>
                <a:gd name="T9" fmla="*/ 204 h 1955"/>
                <a:gd name="T10" fmla="*/ 0 w 1757"/>
                <a:gd name="T11" fmla="*/ 1062 h 1955"/>
                <a:gd name="T12" fmla="*/ 213 w 1757"/>
                <a:gd name="T13" fmla="*/ 599 h 1955"/>
                <a:gd name="T14" fmla="*/ 288 w 1757"/>
                <a:gd name="T15" fmla="*/ 710 h 1955"/>
                <a:gd name="T16" fmla="*/ 479 w 1757"/>
                <a:gd name="T17" fmla="*/ 812 h 1955"/>
                <a:gd name="T18" fmla="*/ 271 w 1757"/>
                <a:gd name="T19" fmla="*/ 1152 h 1955"/>
                <a:gd name="T20" fmla="*/ 146 w 1757"/>
                <a:gd name="T21" fmla="*/ 1001 h 1955"/>
                <a:gd name="T22" fmla="*/ 213 w 1757"/>
                <a:gd name="T23" fmla="*/ 599 h 1955"/>
                <a:gd name="T24" fmla="*/ 1303 w 1757"/>
                <a:gd name="T25" fmla="*/ 84 h 1955"/>
                <a:gd name="T26" fmla="*/ 1442 w 1757"/>
                <a:gd name="T27" fmla="*/ 270 h 1955"/>
                <a:gd name="T28" fmla="*/ 1232 w 1757"/>
                <a:gd name="T29" fmla="*/ 654 h 1955"/>
                <a:gd name="T30" fmla="*/ 1021 w 1757"/>
                <a:gd name="T31" fmla="*/ 270 h 1955"/>
                <a:gd name="T32" fmla="*/ 1023 w 1757"/>
                <a:gd name="T33" fmla="*/ 247 h 1955"/>
                <a:gd name="T34" fmla="*/ 1023 w 1757"/>
                <a:gd name="T35" fmla="*/ 238 h 1955"/>
                <a:gd name="T36" fmla="*/ 957 w 1757"/>
                <a:gd name="T37" fmla="*/ 268 h 1955"/>
                <a:gd name="T38" fmla="*/ 1015 w 1757"/>
                <a:gd name="T39" fmla="*/ 454 h 1955"/>
                <a:gd name="T40" fmla="*/ 1250 w 1757"/>
                <a:gd name="T41" fmla="*/ 736 h 1955"/>
                <a:gd name="T42" fmla="*/ 1423 w 1757"/>
                <a:gd name="T43" fmla="*/ 490 h 1955"/>
                <a:gd name="T44" fmla="*/ 1541 w 1757"/>
                <a:gd name="T45" fmla="*/ 852 h 1955"/>
                <a:gd name="T46" fmla="*/ 1481 w 1757"/>
                <a:gd name="T47" fmla="*/ 1168 h 1955"/>
                <a:gd name="T48" fmla="*/ 1472 w 1757"/>
                <a:gd name="T49" fmla="*/ 971 h 1955"/>
                <a:gd name="T50" fmla="*/ 1292 w 1757"/>
                <a:gd name="T51" fmla="*/ 872 h 1955"/>
                <a:gd name="T52" fmla="*/ 1120 w 1757"/>
                <a:gd name="T53" fmla="*/ 870 h 1955"/>
                <a:gd name="T54" fmla="*/ 979 w 1757"/>
                <a:gd name="T55" fmla="*/ 998 h 1955"/>
                <a:gd name="T56" fmla="*/ 737 w 1757"/>
                <a:gd name="T57" fmla="*/ 771 h 1955"/>
                <a:gd name="T58" fmla="*/ 799 w 1757"/>
                <a:gd name="T59" fmla="*/ 494 h 1955"/>
                <a:gd name="T60" fmla="*/ 614 w 1757"/>
                <a:gd name="T61" fmla="*/ 401 h 1955"/>
                <a:gd name="T62" fmla="*/ 639 w 1757"/>
                <a:gd name="T63" fmla="*/ 294 h 1955"/>
                <a:gd name="T64" fmla="*/ 957 w 1757"/>
                <a:gd name="T65" fmla="*/ 268 h 1955"/>
                <a:gd name="T66" fmla="*/ 545 w 1757"/>
                <a:gd name="T67" fmla="*/ 414 h 1955"/>
                <a:gd name="T68" fmla="*/ 730 w 1757"/>
                <a:gd name="T69" fmla="*/ 507 h 1955"/>
                <a:gd name="T70" fmla="*/ 673 w 1757"/>
                <a:gd name="T71" fmla="*/ 768 h 1955"/>
                <a:gd name="T72" fmla="*/ 770 w 1757"/>
                <a:gd name="T73" fmla="*/ 1041 h 1955"/>
                <a:gd name="T74" fmla="*/ 992 w 1757"/>
                <a:gd name="T75" fmla="*/ 1062 h 1955"/>
                <a:gd name="T76" fmla="*/ 1133 w 1757"/>
                <a:gd name="T77" fmla="*/ 934 h 1955"/>
                <a:gd name="T78" fmla="*/ 1404 w 1757"/>
                <a:gd name="T79" fmla="*/ 986 h 1955"/>
                <a:gd name="T80" fmla="*/ 1390 w 1757"/>
                <a:gd name="T81" fmla="*/ 1185 h 1955"/>
                <a:gd name="T82" fmla="*/ 1531 w 1757"/>
                <a:gd name="T83" fmla="*/ 1240 h 1955"/>
                <a:gd name="T84" fmla="*/ 1598 w 1757"/>
                <a:gd name="T85" fmla="*/ 882 h 1955"/>
                <a:gd name="T86" fmla="*/ 1092 w 1757"/>
                <a:gd name="T87" fmla="*/ 1829 h 1955"/>
                <a:gd name="T88" fmla="*/ 66 w 1757"/>
                <a:gd name="T89" fmla="*/ 1113 h 1955"/>
                <a:gd name="T90" fmla="*/ 229 w 1757"/>
                <a:gd name="T91" fmla="*/ 1206 h 1955"/>
                <a:gd name="T92" fmla="*/ 265 w 1757"/>
                <a:gd name="T93" fmla="*/ 1221 h 1955"/>
                <a:gd name="T94" fmla="*/ 512 w 1757"/>
                <a:gd name="T95" fmla="*/ 1129 h 1955"/>
                <a:gd name="T96" fmla="*/ 541 w 1757"/>
                <a:gd name="T97" fmla="*/ 792 h 1955"/>
                <a:gd name="T98" fmla="*/ 448 w 1757"/>
                <a:gd name="T99" fmla="*/ 646 h 1955"/>
                <a:gd name="T100" fmla="*/ 256 w 1757"/>
                <a:gd name="T101" fmla="*/ 543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7" h="1955">
                  <a:moveTo>
                    <a:pt x="1" y="1091"/>
                  </a:moveTo>
                  <a:cubicBezTo>
                    <a:pt x="0" y="1094"/>
                    <a:pt x="0" y="1096"/>
                    <a:pt x="1" y="1099"/>
                  </a:cubicBezTo>
                  <a:cubicBezTo>
                    <a:pt x="21" y="1576"/>
                    <a:pt x="424" y="1946"/>
                    <a:pt x="901" y="1926"/>
                  </a:cubicBezTo>
                  <a:cubicBezTo>
                    <a:pt x="1378" y="1905"/>
                    <a:pt x="1748" y="1502"/>
                    <a:pt x="1727" y="1026"/>
                  </a:cubicBezTo>
                  <a:cubicBezTo>
                    <a:pt x="1718" y="802"/>
                    <a:pt x="1622" y="591"/>
                    <a:pt x="1460" y="436"/>
                  </a:cubicBezTo>
                  <a:cubicBezTo>
                    <a:pt x="1490" y="386"/>
                    <a:pt x="1506" y="329"/>
                    <a:pt x="1506" y="270"/>
                  </a:cubicBezTo>
                  <a:cubicBezTo>
                    <a:pt x="1506" y="162"/>
                    <a:pt x="1438" y="66"/>
                    <a:pt x="1337" y="29"/>
                  </a:cubicBezTo>
                  <a:cubicBezTo>
                    <a:pt x="1325" y="24"/>
                    <a:pt x="1325" y="24"/>
                    <a:pt x="1325" y="24"/>
                  </a:cubicBezTo>
                  <a:cubicBezTo>
                    <a:pt x="1265" y="1"/>
                    <a:pt x="1199" y="0"/>
                    <a:pt x="1137" y="20"/>
                  </a:cubicBezTo>
                  <a:cubicBezTo>
                    <a:pt x="1052" y="48"/>
                    <a:pt x="988" y="118"/>
                    <a:pt x="965" y="204"/>
                  </a:cubicBezTo>
                  <a:cubicBezTo>
                    <a:pt x="932" y="200"/>
                    <a:pt x="898" y="198"/>
                    <a:pt x="864" y="198"/>
                  </a:cubicBezTo>
                  <a:cubicBezTo>
                    <a:pt x="387" y="199"/>
                    <a:pt x="1" y="585"/>
                    <a:pt x="0" y="1062"/>
                  </a:cubicBezTo>
                  <a:cubicBezTo>
                    <a:pt x="0" y="1072"/>
                    <a:pt x="0" y="1081"/>
                    <a:pt x="1" y="1091"/>
                  </a:cubicBezTo>
                  <a:close/>
                  <a:moveTo>
                    <a:pt x="213" y="599"/>
                  </a:moveTo>
                  <a:cubicBezTo>
                    <a:pt x="259" y="692"/>
                    <a:pt x="259" y="692"/>
                    <a:pt x="259" y="692"/>
                  </a:cubicBezTo>
                  <a:cubicBezTo>
                    <a:pt x="265" y="703"/>
                    <a:pt x="276" y="710"/>
                    <a:pt x="288" y="710"/>
                  </a:cubicBezTo>
                  <a:cubicBezTo>
                    <a:pt x="428" y="710"/>
                    <a:pt x="428" y="710"/>
                    <a:pt x="428" y="710"/>
                  </a:cubicBezTo>
                  <a:cubicBezTo>
                    <a:pt x="479" y="812"/>
                    <a:pt x="479" y="812"/>
                    <a:pt x="479" y="812"/>
                  </a:cubicBezTo>
                  <a:cubicBezTo>
                    <a:pt x="450" y="1101"/>
                    <a:pt x="450" y="1101"/>
                    <a:pt x="450" y="1101"/>
                  </a:cubicBezTo>
                  <a:cubicBezTo>
                    <a:pt x="271" y="1152"/>
                    <a:pt x="271" y="1152"/>
                    <a:pt x="271" y="1152"/>
                  </a:cubicBezTo>
                  <a:cubicBezTo>
                    <a:pt x="187" y="1013"/>
                    <a:pt x="187" y="1013"/>
                    <a:pt x="187" y="1013"/>
                  </a:cubicBezTo>
                  <a:cubicBezTo>
                    <a:pt x="179" y="999"/>
                    <a:pt x="161" y="994"/>
                    <a:pt x="146" y="1001"/>
                  </a:cubicBezTo>
                  <a:cubicBezTo>
                    <a:pt x="65" y="1042"/>
                    <a:pt x="65" y="1042"/>
                    <a:pt x="65" y="1042"/>
                  </a:cubicBezTo>
                  <a:cubicBezTo>
                    <a:pt x="68" y="883"/>
                    <a:pt x="120" y="728"/>
                    <a:pt x="213" y="599"/>
                  </a:cubicBezTo>
                  <a:close/>
                  <a:moveTo>
                    <a:pt x="1158" y="81"/>
                  </a:moveTo>
                  <a:cubicBezTo>
                    <a:pt x="1205" y="65"/>
                    <a:pt x="1256" y="66"/>
                    <a:pt x="1303" y="84"/>
                  </a:cubicBezTo>
                  <a:cubicBezTo>
                    <a:pt x="1314" y="88"/>
                    <a:pt x="1314" y="88"/>
                    <a:pt x="1314" y="88"/>
                  </a:cubicBezTo>
                  <a:cubicBezTo>
                    <a:pt x="1390" y="116"/>
                    <a:pt x="1441" y="189"/>
                    <a:pt x="1442" y="270"/>
                  </a:cubicBezTo>
                  <a:cubicBezTo>
                    <a:pt x="1442" y="323"/>
                    <a:pt x="1426" y="374"/>
                    <a:pt x="1396" y="418"/>
                  </a:cubicBezTo>
                  <a:cubicBezTo>
                    <a:pt x="1232" y="654"/>
                    <a:pt x="1232" y="654"/>
                    <a:pt x="1232" y="654"/>
                  </a:cubicBezTo>
                  <a:cubicBezTo>
                    <a:pt x="1068" y="418"/>
                    <a:pt x="1068" y="418"/>
                    <a:pt x="1068" y="418"/>
                  </a:cubicBezTo>
                  <a:cubicBezTo>
                    <a:pt x="1037" y="374"/>
                    <a:pt x="1021" y="323"/>
                    <a:pt x="1021" y="270"/>
                  </a:cubicBezTo>
                  <a:cubicBezTo>
                    <a:pt x="1021" y="266"/>
                    <a:pt x="1021" y="266"/>
                    <a:pt x="1021" y="266"/>
                  </a:cubicBezTo>
                  <a:cubicBezTo>
                    <a:pt x="1021" y="260"/>
                    <a:pt x="1022" y="254"/>
                    <a:pt x="1023" y="247"/>
                  </a:cubicBezTo>
                  <a:cubicBezTo>
                    <a:pt x="1023" y="247"/>
                    <a:pt x="1023" y="246"/>
                    <a:pt x="1024" y="245"/>
                  </a:cubicBezTo>
                  <a:cubicBezTo>
                    <a:pt x="1024" y="243"/>
                    <a:pt x="1024" y="241"/>
                    <a:pt x="1023" y="238"/>
                  </a:cubicBezTo>
                  <a:cubicBezTo>
                    <a:pt x="1035" y="165"/>
                    <a:pt x="1087" y="104"/>
                    <a:pt x="1158" y="81"/>
                  </a:cubicBezTo>
                  <a:close/>
                  <a:moveTo>
                    <a:pt x="957" y="268"/>
                  </a:moveTo>
                  <a:cubicBezTo>
                    <a:pt x="957" y="270"/>
                    <a:pt x="957" y="270"/>
                    <a:pt x="957" y="270"/>
                  </a:cubicBezTo>
                  <a:cubicBezTo>
                    <a:pt x="957" y="336"/>
                    <a:pt x="977" y="400"/>
                    <a:pt x="1015" y="454"/>
                  </a:cubicBezTo>
                  <a:cubicBezTo>
                    <a:pt x="1205" y="728"/>
                    <a:pt x="1205" y="728"/>
                    <a:pt x="1205" y="728"/>
                  </a:cubicBezTo>
                  <a:cubicBezTo>
                    <a:pt x="1215" y="743"/>
                    <a:pt x="1235" y="746"/>
                    <a:pt x="1250" y="736"/>
                  </a:cubicBezTo>
                  <a:cubicBezTo>
                    <a:pt x="1253" y="734"/>
                    <a:pt x="1256" y="731"/>
                    <a:pt x="1258" y="728"/>
                  </a:cubicBezTo>
                  <a:cubicBezTo>
                    <a:pt x="1423" y="490"/>
                    <a:pt x="1423" y="490"/>
                    <a:pt x="1423" y="490"/>
                  </a:cubicBezTo>
                  <a:cubicBezTo>
                    <a:pt x="1501" y="566"/>
                    <a:pt x="1562" y="658"/>
                    <a:pt x="1604" y="759"/>
                  </a:cubicBezTo>
                  <a:cubicBezTo>
                    <a:pt x="1541" y="852"/>
                    <a:pt x="1541" y="852"/>
                    <a:pt x="1541" y="852"/>
                  </a:cubicBezTo>
                  <a:cubicBezTo>
                    <a:pt x="1539" y="856"/>
                    <a:pt x="1537" y="860"/>
                    <a:pt x="1537" y="864"/>
                  </a:cubicBezTo>
                  <a:cubicBezTo>
                    <a:pt x="1481" y="1168"/>
                    <a:pt x="1481" y="1168"/>
                    <a:pt x="1481" y="1168"/>
                  </a:cubicBezTo>
                  <a:cubicBezTo>
                    <a:pt x="1443" y="1143"/>
                    <a:pt x="1443" y="1143"/>
                    <a:pt x="1443" y="1143"/>
                  </a:cubicBezTo>
                  <a:cubicBezTo>
                    <a:pt x="1472" y="971"/>
                    <a:pt x="1472" y="971"/>
                    <a:pt x="1472" y="971"/>
                  </a:cubicBezTo>
                  <a:cubicBezTo>
                    <a:pt x="1474" y="956"/>
                    <a:pt x="1466" y="942"/>
                    <a:pt x="1452" y="936"/>
                  </a:cubicBezTo>
                  <a:cubicBezTo>
                    <a:pt x="1292" y="872"/>
                    <a:pt x="1292" y="872"/>
                    <a:pt x="1292" y="872"/>
                  </a:cubicBezTo>
                  <a:cubicBezTo>
                    <a:pt x="1288" y="871"/>
                    <a:pt x="1284" y="870"/>
                    <a:pt x="1280" y="870"/>
                  </a:cubicBezTo>
                  <a:cubicBezTo>
                    <a:pt x="1120" y="870"/>
                    <a:pt x="1120" y="870"/>
                    <a:pt x="1120" y="870"/>
                  </a:cubicBezTo>
                  <a:cubicBezTo>
                    <a:pt x="1112" y="870"/>
                    <a:pt x="1103" y="873"/>
                    <a:pt x="1097" y="879"/>
                  </a:cubicBezTo>
                  <a:cubicBezTo>
                    <a:pt x="979" y="998"/>
                    <a:pt x="979" y="998"/>
                    <a:pt x="979" y="998"/>
                  </a:cubicBezTo>
                  <a:cubicBezTo>
                    <a:pt x="822" y="998"/>
                    <a:pt x="822" y="998"/>
                    <a:pt x="822" y="998"/>
                  </a:cubicBezTo>
                  <a:cubicBezTo>
                    <a:pt x="737" y="771"/>
                    <a:pt x="737" y="771"/>
                    <a:pt x="737" y="771"/>
                  </a:cubicBezTo>
                  <a:cubicBezTo>
                    <a:pt x="767" y="622"/>
                    <a:pt x="767" y="622"/>
                    <a:pt x="767" y="622"/>
                  </a:cubicBezTo>
                  <a:cubicBezTo>
                    <a:pt x="799" y="494"/>
                    <a:pt x="799" y="494"/>
                    <a:pt x="799" y="494"/>
                  </a:cubicBezTo>
                  <a:cubicBezTo>
                    <a:pt x="803" y="478"/>
                    <a:pt x="794" y="461"/>
                    <a:pt x="778" y="456"/>
                  </a:cubicBezTo>
                  <a:cubicBezTo>
                    <a:pt x="614" y="401"/>
                    <a:pt x="614" y="401"/>
                    <a:pt x="614" y="401"/>
                  </a:cubicBezTo>
                  <a:cubicBezTo>
                    <a:pt x="639" y="302"/>
                    <a:pt x="639" y="302"/>
                    <a:pt x="639" y="302"/>
                  </a:cubicBezTo>
                  <a:cubicBezTo>
                    <a:pt x="639" y="299"/>
                    <a:pt x="640" y="297"/>
                    <a:pt x="639" y="294"/>
                  </a:cubicBezTo>
                  <a:cubicBezTo>
                    <a:pt x="712" y="273"/>
                    <a:pt x="788" y="262"/>
                    <a:pt x="864" y="262"/>
                  </a:cubicBezTo>
                  <a:cubicBezTo>
                    <a:pt x="895" y="262"/>
                    <a:pt x="926" y="264"/>
                    <a:pt x="957" y="268"/>
                  </a:cubicBezTo>
                  <a:close/>
                  <a:moveTo>
                    <a:pt x="569" y="319"/>
                  </a:moveTo>
                  <a:cubicBezTo>
                    <a:pt x="545" y="414"/>
                    <a:pt x="545" y="414"/>
                    <a:pt x="545" y="414"/>
                  </a:cubicBezTo>
                  <a:cubicBezTo>
                    <a:pt x="541" y="430"/>
                    <a:pt x="550" y="447"/>
                    <a:pt x="566" y="452"/>
                  </a:cubicBezTo>
                  <a:cubicBezTo>
                    <a:pt x="730" y="507"/>
                    <a:pt x="730" y="507"/>
                    <a:pt x="730" y="507"/>
                  </a:cubicBezTo>
                  <a:cubicBezTo>
                    <a:pt x="705" y="608"/>
                    <a:pt x="705" y="608"/>
                    <a:pt x="705" y="608"/>
                  </a:cubicBezTo>
                  <a:cubicBezTo>
                    <a:pt x="673" y="768"/>
                    <a:pt x="673" y="768"/>
                    <a:pt x="673" y="768"/>
                  </a:cubicBezTo>
                  <a:cubicBezTo>
                    <a:pt x="671" y="773"/>
                    <a:pt x="672" y="780"/>
                    <a:pt x="674" y="785"/>
                  </a:cubicBezTo>
                  <a:cubicBezTo>
                    <a:pt x="770" y="1041"/>
                    <a:pt x="770" y="1041"/>
                    <a:pt x="770" y="1041"/>
                  </a:cubicBezTo>
                  <a:cubicBezTo>
                    <a:pt x="775" y="1054"/>
                    <a:pt x="787" y="1062"/>
                    <a:pt x="800" y="1062"/>
                  </a:cubicBezTo>
                  <a:cubicBezTo>
                    <a:pt x="992" y="1062"/>
                    <a:pt x="992" y="1062"/>
                    <a:pt x="992" y="1062"/>
                  </a:cubicBezTo>
                  <a:cubicBezTo>
                    <a:pt x="1000" y="1062"/>
                    <a:pt x="1009" y="1059"/>
                    <a:pt x="1015" y="1053"/>
                  </a:cubicBezTo>
                  <a:cubicBezTo>
                    <a:pt x="1133" y="934"/>
                    <a:pt x="1133" y="934"/>
                    <a:pt x="1133" y="934"/>
                  </a:cubicBezTo>
                  <a:cubicBezTo>
                    <a:pt x="1274" y="934"/>
                    <a:pt x="1274" y="934"/>
                    <a:pt x="1274" y="934"/>
                  </a:cubicBezTo>
                  <a:cubicBezTo>
                    <a:pt x="1404" y="986"/>
                    <a:pt x="1404" y="986"/>
                    <a:pt x="1404" y="986"/>
                  </a:cubicBezTo>
                  <a:cubicBezTo>
                    <a:pt x="1376" y="1153"/>
                    <a:pt x="1376" y="1153"/>
                    <a:pt x="1376" y="1153"/>
                  </a:cubicBezTo>
                  <a:cubicBezTo>
                    <a:pt x="1374" y="1165"/>
                    <a:pt x="1380" y="1178"/>
                    <a:pt x="1390" y="1185"/>
                  </a:cubicBezTo>
                  <a:cubicBezTo>
                    <a:pt x="1486" y="1249"/>
                    <a:pt x="1486" y="1249"/>
                    <a:pt x="1486" y="1249"/>
                  </a:cubicBezTo>
                  <a:cubicBezTo>
                    <a:pt x="1501" y="1259"/>
                    <a:pt x="1521" y="1255"/>
                    <a:pt x="1531" y="1240"/>
                  </a:cubicBezTo>
                  <a:cubicBezTo>
                    <a:pt x="1533" y="1236"/>
                    <a:pt x="1535" y="1232"/>
                    <a:pt x="1535" y="1228"/>
                  </a:cubicBezTo>
                  <a:cubicBezTo>
                    <a:pt x="1598" y="882"/>
                    <a:pt x="1598" y="882"/>
                    <a:pt x="1598" y="882"/>
                  </a:cubicBezTo>
                  <a:cubicBezTo>
                    <a:pt x="1630" y="834"/>
                    <a:pt x="1630" y="834"/>
                    <a:pt x="1630" y="834"/>
                  </a:cubicBezTo>
                  <a:cubicBezTo>
                    <a:pt x="1757" y="1258"/>
                    <a:pt x="1516" y="1703"/>
                    <a:pt x="1092" y="1829"/>
                  </a:cubicBezTo>
                  <a:cubicBezTo>
                    <a:pt x="669" y="1955"/>
                    <a:pt x="224" y="1715"/>
                    <a:pt x="98" y="1291"/>
                  </a:cubicBezTo>
                  <a:cubicBezTo>
                    <a:pt x="80" y="1233"/>
                    <a:pt x="70" y="1173"/>
                    <a:pt x="66" y="1113"/>
                  </a:cubicBezTo>
                  <a:cubicBezTo>
                    <a:pt x="148" y="1072"/>
                    <a:pt x="148" y="1072"/>
                    <a:pt x="148" y="1072"/>
                  </a:cubicBezTo>
                  <a:cubicBezTo>
                    <a:pt x="229" y="1206"/>
                    <a:pt x="229" y="1206"/>
                    <a:pt x="229" y="1206"/>
                  </a:cubicBezTo>
                  <a:cubicBezTo>
                    <a:pt x="234" y="1216"/>
                    <a:pt x="245" y="1222"/>
                    <a:pt x="256" y="1222"/>
                  </a:cubicBezTo>
                  <a:cubicBezTo>
                    <a:pt x="259" y="1222"/>
                    <a:pt x="262" y="1222"/>
                    <a:pt x="265" y="1221"/>
                  </a:cubicBezTo>
                  <a:cubicBezTo>
                    <a:pt x="489" y="1157"/>
                    <a:pt x="489" y="1157"/>
                    <a:pt x="489" y="1157"/>
                  </a:cubicBezTo>
                  <a:cubicBezTo>
                    <a:pt x="501" y="1153"/>
                    <a:pt x="511" y="1142"/>
                    <a:pt x="512" y="1129"/>
                  </a:cubicBezTo>
                  <a:cubicBezTo>
                    <a:pt x="544" y="809"/>
                    <a:pt x="544" y="809"/>
                    <a:pt x="544" y="809"/>
                  </a:cubicBezTo>
                  <a:cubicBezTo>
                    <a:pt x="545" y="803"/>
                    <a:pt x="544" y="797"/>
                    <a:pt x="541" y="792"/>
                  </a:cubicBezTo>
                  <a:cubicBezTo>
                    <a:pt x="477" y="664"/>
                    <a:pt x="477" y="664"/>
                    <a:pt x="477" y="664"/>
                  </a:cubicBezTo>
                  <a:cubicBezTo>
                    <a:pt x="471" y="653"/>
                    <a:pt x="460" y="646"/>
                    <a:pt x="448" y="646"/>
                  </a:cubicBezTo>
                  <a:cubicBezTo>
                    <a:pt x="308" y="646"/>
                    <a:pt x="308" y="646"/>
                    <a:pt x="308" y="646"/>
                  </a:cubicBezTo>
                  <a:cubicBezTo>
                    <a:pt x="256" y="543"/>
                    <a:pt x="256" y="543"/>
                    <a:pt x="256" y="543"/>
                  </a:cubicBezTo>
                  <a:cubicBezTo>
                    <a:pt x="341" y="444"/>
                    <a:pt x="448" y="367"/>
                    <a:pt x="569"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7">
              <a:extLst>
                <a:ext uri="{FF2B5EF4-FFF2-40B4-BE49-F238E27FC236}">
                  <a16:creationId xmlns:a16="http://schemas.microsoft.com/office/drawing/2014/main" id="{11561635-F09F-3949-B1A2-34EA42B0E2A2}"/>
                </a:ext>
              </a:extLst>
            </p:cNvPr>
            <p:cNvSpPr>
              <a:spLocks noEditPoints="1"/>
            </p:cNvSpPr>
            <p:nvPr/>
          </p:nvSpPr>
          <p:spPr bwMode="auto">
            <a:xfrm>
              <a:off x="9771" y="2146"/>
              <a:ext cx="479" cy="477"/>
            </a:xfrm>
            <a:custGeom>
              <a:avLst/>
              <a:gdLst>
                <a:gd name="T0" fmla="*/ 127 w 253"/>
                <a:gd name="T1" fmla="*/ 252 h 252"/>
                <a:gd name="T2" fmla="*/ 253 w 253"/>
                <a:gd name="T3" fmla="*/ 126 h 252"/>
                <a:gd name="T4" fmla="*/ 127 w 253"/>
                <a:gd name="T5" fmla="*/ 0 h 252"/>
                <a:gd name="T6" fmla="*/ 0 w 253"/>
                <a:gd name="T7" fmla="*/ 126 h 252"/>
                <a:gd name="T8" fmla="*/ 127 w 253"/>
                <a:gd name="T9" fmla="*/ 252 h 252"/>
                <a:gd name="T10" fmla="*/ 127 w 253"/>
                <a:gd name="T11" fmla="*/ 64 h 252"/>
                <a:gd name="T12" fmla="*/ 189 w 253"/>
                <a:gd name="T13" fmla="*/ 126 h 252"/>
                <a:gd name="T14" fmla="*/ 127 w 253"/>
                <a:gd name="T15" fmla="*/ 188 h 252"/>
                <a:gd name="T16" fmla="*/ 64 w 253"/>
                <a:gd name="T17" fmla="*/ 126 h 252"/>
                <a:gd name="T18" fmla="*/ 127 w 253"/>
                <a:gd name="T19" fmla="*/ 6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252">
                  <a:moveTo>
                    <a:pt x="127" y="252"/>
                  </a:moveTo>
                  <a:cubicBezTo>
                    <a:pt x="196" y="252"/>
                    <a:pt x="253" y="196"/>
                    <a:pt x="253" y="126"/>
                  </a:cubicBezTo>
                  <a:cubicBezTo>
                    <a:pt x="253" y="56"/>
                    <a:pt x="196" y="0"/>
                    <a:pt x="127" y="0"/>
                  </a:cubicBezTo>
                  <a:cubicBezTo>
                    <a:pt x="57" y="0"/>
                    <a:pt x="0" y="56"/>
                    <a:pt x="0" y="126"/>
                  </a:cubicBezTo>
                  <a:cubicBezTo>
                    <a:pt x="1" y="195"/>
                    <a:pt x="57" y="252"/>
                    <a:pt x="127" y="252"/>
                  </a:cubicBezTo>
                  <a:close/>
                  <a:moveTo>
                    <a:pt x="127" y="64"/>
                  </a:moveTo>
                  <a:cubicBezTo>
                    <a:pt x="161" y="64"/>
                    <a:pt x="189" y="92"/>
                    <a:pt x="189" y="126"/>
                  </a:cubicBezTo>
                  <a:cubicBezTo>
                    <a:pt x="189" y="160"/>
                    <a:pt x="161" y="188"/>
                    <a:pt x="127" y="188"/>
                  </a:cubicBezTo>
                  <a:cubicBezTo>
                    <a:pt x="92" y="188"/>
                    <a:pt x="64" y="160"/>
                    <a:pt x="64" y="126"/>
                  </a:cubicBezTo>
                  <a:cubicBezTo>
                    <a:pt x="65" y="92"/>
                    <a:pt x="92" y="64"/>
                    <a:pt x="12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8">
              <a:extLst>
                <a:ext uri="{FF2B5EF4-FFF2-40B4-BE49-F238E27FC236}">
                  <a16:creationId xmlns:a16="http://schemas.microsoft.com/office/drawing/2014/main" id="{B553D8DB-1A7B-6341-A81D-58574F06CEFF}"/>
                </a:ext>
              </a:extLst>
            </p:cNvPr>
            <p:cNvSpPr>
              <a:spLocks noEditPoints="1"/>
            </p:cNvSpPr>
            <p:nvPr/>
          </p:nvSpPr>
          <p:spPr bwMode="auto">
            <a:xfrm>
              <a:off x="8648" y="4008"/>
              <a:ext cx="731" cy="1219"/>
            </a:xfrm>
            <a:custGeom>
              <a:avLst/>
              <a:gdLst>
                <a:gd name="T0" fmla="*/ 36 w 386"/>
                <a:gd name="T1" fmla="*/ 279 h 644"/>
                <a:gd name="T2" fmla="*/ 71 w 386"/>
                <a:gd name="T3" fmla="*/ 337 h 644"/>
                <a:gd name="T4" fmla="*/ 66 w 386"/>
                <a:gd name="T5" fmla="*/ 346 h 644"/>
                <a:gd name="T6" fmla="*/ 34 w 386"/>
                <a:gd name="T7" fmla="*/ 442 h 644"/>
                <a:gd name="T8" fmla="*/ 37 w 386"/>
                <a:gd name="T9" fmla="*/ 468 h 644"/>
                <a:gd name="T10" fmla="*/ 133 w 386"/>
                <a:gd name="T11" fmla="*/ 628 h 644"/>
                <a:gd name="T12" fmla="*/ 160 w 386"/>
                <a:gd name="T13" fmla="*/ 644 h 644"/>
                <a:gd name="T14" fmla="*/ 192 w 386"/>
                <a:gd name="T15" fmla="*/ 644 h 644"/>
                <a:gd name="T16" fmla="*/ 215 w 386"/>
                <a:gd name="T17" fmla="*/ 635 h 644"/>
                <a:gd name="T18" fmla="*/ 311 w 386"/>
                <a:gd name="T19" fmla="*/ 539 h 644"/>
                <a:gd name="T20" fmla="*/ 318 w 386"/>
                <a:gd name="T21" fmla="*/ 528 h 644"/>
                <a:gd name="T22" fmla="*/ 382 w 386"/>
                <a:gd name="T23" fmla="*/ 368 h 644"/>
                <a:gd name="T24" fmla="*/ 375 w 386"/>
                <a:gd name="T25" fmla="*/ 333 h 644"/>
                <a:gd name="T26" fmla="*/ 318 w 386"/>
                <a:gd name="T27" fmla="*/ 276 h 644"/>
                <a:gd name="T28" fmla="*/ 352 w 386"/>
                <a:gd name="T29" fmla="*/ 168 h 644"/>
                <a:gd name="T30" fmla="*/ 243 w 386"/>
                <a:gd name="T31" fmla="*/ 18 h 644"/>
                <a:gd name="T32" fmla="*/ 236 w 386"/>
                <a:gd name="T33" fmla="*/ 15 h 644"/>
                <a:gd name="T34" fmla="*/ 117 w 386"/>
                <a:gd name="T35" fmla="*/ 13 h 644"/>
                <a:gd name="T36" fmla="*/ 0 w 386"/>
                <a:gd name="T37" fmla="*/ 168 h 644"/>
                <a:gd name="T38" fmla="*/ 36 w 386"/>
                <a:gd name="T39" fmla="*/ 279 h 644"/>
                <a:gd name="T40" fmla="*/ 261 w 386"/>
                <a:gd name="T41" fmla="*/ 498 h 644"/>
                <a:gd name="T42" fmla="*/ 179 w 386"/>
                <a:gd name="T43" fmla="*/ 580 h 644"/>
                <a:gd name="T44" fmla="*/ 99 w 386"/>
                <a:gd name="T45" fmla="*/ 448 h 644"/>
                <a:gd name="T46" fmla="*/ 112 w 386"/>
                <a:gd name="T47" fmla="*/ 408 h 644"/>
                <a:gd name="T48" fmla="*/ 148 w 386"/>
                <a:gd name="T49" fmla="*/ 469 h 644"/>
                <a:gd name="T50" fmla="*/ 192 w 386"/>
                <a:gd name="T51" fmla="*/ 480 h 644"/>
                <a:gd name="T52" fmla="*/ 204 w 386"/>
                <a:gd name="T53" fmla="*/ 469 h 644"/>
                <a:gd name="T54" fmla="*/ 284 w 386"/>
                <a:gd name="T55" fmla="*/ 333 h 644"/>
                <a:gd name="T56" fmla="*/ 314 w 386"/>
                <a:gd name="T57" fmla="*/ 364 h 644"/>
                <a:gd name="T58" fmla="*/ 261 w 386"/>
                <a:gd name="T59" fmla="*/ 498 h 644"/>
                <a:gd name="T60" fmla="*/ 136 w 386"/>
                <a:gd name="T61" fmla="*/ 74 h 644"/>
                <a:gd name="T62" fmla="*/ 214 w 386"/>
                <a:gd name="T63" fmla="*/ 75 h 644"/>
                <a:gd name="T64" fmla="*/ 220 w 386"/>
                <a:gd name="T65" fmla="*/ 78 h 644"/>
                <a:gd name="T66" fmla="*/ 288 w 386"/>
                <a:gd name="T67" fmla="*/ 168 h 644"/>
                <a:gd name="T68" fmla="*/ 261 w 386"/>
                <a:gd name="T69" fmla="*/ 245 h 644"/>
                <a:gd name="T70" fmla="*/ 176 w 386"/>
                <a:gd name="T71" fmla="*/ 389 h 644"/>
                <a:gd name="T72" fmla="*/ 91 w 386"/>
                <a:gd name="T73" fmla="*/ 245 h 644"/>
                <a:gd name="T74" fmla="*/ 89 w 386"/>
                <a:gd name="T75" fmla="*/ 243 h 644"/>
                <a:gd name="T76" fmla="*/ 64 w 386"/>
                <a:gd name="T77" fmla="*/ 165 h 644"/>
                <a:gd name="T78" fmla="*/ 136 w 386"/>
                <a:gd name="T79" fmla="*/ 7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6" h="644">
                  <a:moveTo>
                    <a:pt x="36" y="279"/>
                  </a:moveTo>
                  <a:cubicBezTo>
                    <a:pt x="71" y="337"/>
                    <a:pt x="71" y="337"/>
                    <a:pt x="71" y="337"/>
                  </a:cubicBezTo>
                  <a:cubicBezTo>
                    <a:pt x="69" y="340"/>
                    <a:pt x="67" y="343"/>
                    <a:pt x="66" y="346"/>
                  </a:cubicBezTo>
                  <a:cubicBezTo>
                    <a:pt x="34" y="442"/>
                    <a:pt x="34" y="442"/>
                    <a:pt x="34" y="442"/>
                  </a:cubicBezTo>
                  <a:cubicBezTo>
                    <a:pt x="31" y="451"/>
                    <a:pt x="32" y="460"/>
                    <a:pt x="37" y="468"/>
                  </a:cubicBezTo>
                  <a:cubicBezTo>
                    <a:pt x="133" y="628"/>
                    <a:pt x="133" y="628"/>
                    <a:pt x="133" y="628"/>
                  </a:cubicBezTo>
                  <a:cubicBezTo>
                    <a:pt x="138" y="638"/>
                    <a:pt x="149" y="644"/>
                    <a:pt x="160" y="644"/>
                  </a:cubicBezTo>
                  <a:cubicBezTo>
                    <a:pt x="192" y="644"/>
                    <a:pt x="192" y="644"/>
                    <a:pt x="192" y="644"/>
                  </a:cubicBezTo>
                  <a:cubicBezTo>
                    <a:pt x="200" y="644"/>
                    <a:pt x="209" y="641"/>
                    <a:pt x="215" y="635"/>
                  </a:cubicBezTo>
                  <a:cubicBezTo>
                    <a:pt x="311" y="539"/>
                    <a:pt x="311" y="539"/>
                    <a:pt x="311" y="539"/>
                  </a:cubicBezTo>
                  <a:cubicBezTo>
                    <a:pt x="314" y="536"/>
                    <a:pt x="316" y="532"/>
                    <a:pt x="318" y="528"/>
                  </a:cubicBezTo>
                  <a:cubicBezTo>
                    <a:pt x="382" y="368"/>
                    <a:pt x="382" y="368"/>
                    <a:pt x="382" y="368"/>
                  </a:cubicBezTo>
                  <a:cubicBezTo>
                    <a:pt x="386" y="356"/>
                    <a:pt x="384" y="342"/>
                    <a:pt x="375" y="333"/>
                  </a:cubicBezTo>
                  <a:cubicBezTo>
                    <a:pt x="318" y="276"/>
                    <a:pt x="318" y="276"/>
                    <a:pt x="318" y="276"/>
                  </a:cubicBezTo>
                  <a:cubicBezTo>
                    <a:pt x="340" y="244"/>
                    <a:pt x="352" y="207"/>
                    <a:pt x="352" y="168"/>
                  </a:cubicBezTo>
                  <a:cubicBezTo>
                    <a:pt x="351" y="99"/>
                    <a:pt x="307" y="39"/>
                    <a:pt x="243" y="18"/>
                  </a:cubicBezTo>
                  <a:cubicBezTo>
                    <a:pt x="236" y="15"/>
                    <a:pt x="236" y="15"/>
                    <a:pt x="236" y="15"/>
                  </a:cubicBezTo>
                  <a:cubicBezTo>
                    <a:pt x="198" y="1"/>
                    <a:pt x="156" y="0"/>
                    <a:pt x="117" y="13"/>
                  </a:cubicBezTo>
                  <a:cubicBezTo>
                    <a:pt x="48" y="33"/>
                    <a:pt x="1" y="96"/>
                    <a:pt x="0" y="168"/>
                  </a:cubicBezTo>
                  <a:cubicBezTo>
                    <a:pt x="0" y="208"/>
                    <a:pt x="13" y="247"/>
                    <a:pt x="36" y="279"/>
                  </a:cubicBezTo>
                  <a:close/>
                  <a:moveTo>
                    <a:pt x="261" y="498"/>
                  </a:moveTo>
                  <a:cubicBezTo>
                    <a:pt x="179" y="580"/>
                    <a:pt x="179" y="580"/>
                    <a:pt x="179" y="580"/>
                  </a:cubicBezTo>
                  <a:cubicBezTo>
                    <a:pt x="99" y="448"/>
                    <a:pt x="99" y="448"/>
                    <a:pt x="99" y="448"/>
                  </a:cubicBezTo>
                  <a:cubicBezTo>
                    <a:pt x="112" y="408"/>
                    <a:pt x="112" y="408"/>
                    <a:pt x="112" y="408"/>
                  </a:cubicBezTo>
                  <a:cubicBezTo>
                    <a:pt x="148" y="469"/>
                    <a:pt x="148" y="469"/>
                    <a:pt x="148" y="469"/>
                  </a:cubicBezTo>
                  <a:cubicBezTo>
                    <a:pt x="157" y="484"/>
                    <a:pt x="177" y="489"/>
                    <a:pt x="192" y="480"/>
                  </a:cubicBezTo>
                  <a:cubicBezTo>
                    <a:pt x="197" y="477"/>
                    <a:pt x="201" y="473"/>
                    <a:pt x="204" y="469"/>
                  </a:cubicBezTo>
                  <a:cubicBezTo>
                    <a:pt x="284" y="333"/>
                    <a:pt x="284" y="333"/>
                    <a:pt x="284" y="333"/>
                  </a:cubicBezTo>
                  <a:cubicBezTo>
                    <a:pt x="314" y="364"/>
                    <a:pt x="314" y="364"/>
                    <a:pt x="314" y="364"/>
                  </a:cubicBezTo>
                  <a:lnTo>
                    <a:pt x="261" y="498"/>
                  </a:lnTo>
                  <a:close/>
                  <a:moveTo>
                    <a:pt x="136" y="74"/>
                  </a:moveTo>
                  <a:cubicBezTo>
                    <a:pt x="161" y="65"/>
                    <a:pt x="189" y="66"/>
                    <a:pt x="214" y="75"/>
                  </a:cubicBezTo>
                  <a:cubicBezTo>
                    <a:pt x="220" y="78"/>
                    <a:pt x="220" y="78"/>
                    <a:pt x="220" y="78"/>
                  </a:cubicBezTo>
                  <a:cubicBezTo>
                    <a:pt x="260" y="90"/>
                    <a:pt x="287" y="126"/>
                    <a:pt x="288" y="168"/>
                  </a:cubicBezTo>
                  <a:cubicBezTo>
                    <a:pt x="288" y="196"/>
                    <a:pt x="278" y="223"/>
                    <a:pt x="261" y="245"/>
                  </a:cubicBezTo>
                  <a:cubicBezTo>
                    <a:pt x="176" y="389"/>
                    <a:pt x="176" y="389"/>
                    <a:pt x="176" y="389"/>
                  </a:cubicBezTo>
                  <a:cubicBezTo>
                    <a:pt x="91" y="245"/>
                    <a:pt x="91" y="245"/>
                    <a:pt x="91" y="245"/>
                  </a:cubicBezTo>
                  <a:cubicBezTo>
                    <a:pt x="90" y="245"/>
                    <a:pt x="90" y="244"/>
                    <a:pt x="89" y="243"/>
                  </a:cubicBezTo>
                  <a:cubicBezTo>
                    <a:pt x="72" y="220"/>
                    <a:pt x="64" y="193"/>
                    <a:pt x="64" y="165"/>
                  </a:cubicBezTo>
                  <a:cubicBezTo>
                    <a:pt x="66" y="122"/>
                    <a:pt x="95" y="85"/>
                    <a:pt x="136"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9">
              <a:extLst>
                <a:ext uri="{FF2B5EF4-FFF2-40B4-BE49-F238E27FC236}">
                  <a16:creationId xmlns:a16="http://schemas.microsoft.com/office/drawing/2014/main" id="{98634561-436E-F145-A061-750835206627}"/>
                </a:ext>
              </a:extLst>
            </p:cNvPr>
            <p:cNvSpPr>
              <a:spLocks noEditPoints="1"/>
            </p:cNvSpPr>
            <p:nvPr/>
          </p:nvSpPr>
          <p:spPr bwMode="auto">
            <a:xfrm>
              <a:off x="8830" y="4198"/>
              <a:ext cx="303" cy="302"/>
            </a:xfrm>
            <a:custGeom>
              <a:avLst/>
              <a:gdLst>
                <a:gd name="T0" fmla="*/ 80 w 160"/>
                <a:gd name="T1" fmla="*/ 160 h 160"/>
                <a:gd name="T2" fmla="*/ 160 w 160"/>
                <a:gd name="T3" fmla="*/ 80 h 160"/>
                <a:gd name="T4" fmla="*/ 80 w 160"/>
                <a:gd name="T5" fmla="*/ 0 h 160"/>
                <a:gd name="T6" fmla="*/ 0 w 160"/>
                <a:gd name="T7" fmla="*/ 80 h 160"/>
                <a:gd name="T8" fmla="*/ 80 w 160"/>
                <a:gd name="T9" fmla="*/ 160 h 160"/>
                <a:gd name="T10" fmla="*/ 80 w 160"/>
                <a:gd name="T11" fmla="*/ 64 h 160"/>
                <a:gd name="T12" fmla="*/ 96 w 160"/>
                <a:gd name="T13" fmla="*/ 80 h 160"/>
                <a:gd name="T14" fmla="*/ 80 w 160"/>
                <a:gd name="T15" fmla="*/ 96 h 160"/>
                <a:gd name="T16" fmla="*/ 64 w 160"/>
                <a:gd name="T17" fmla="*/ 80 h 160"/>
                <a:gd name="T18" fmla="*/ 80 w 160"/>
                <a:gd name="T19"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124" y="160"/>
                    <a:pt x="160" y="124"/>
                    <a:pt x="160" y="80"/>
                  </a:cubicBezTo>
                  <a:cubicBezTo>
                    <a:pt x="160" y="36"/>
                    <a:pt x="124" y="0"/>
                    <a:pt x="80" y="0"/>
                  </a:cubicBezTo>
                  <a:cubicBezTo>
                    <a:pt x="36" y="0"/>
                    <a:pt x="0" y="36"/>
                    <a:pt x="0" y="80"/>
                  </a:cubicBezTo>
                  <a:cubicBezTo>
                    <a:pt x="0" y="124"/>
                    <a:pt x="36" y="160"/>
                    <a:pt x="80" y="160"/>
                  </a:cubicBezTo>
                  <a:close/>
                  <a:moveTo>
                    <a:pt x="80" y="64"/>
                  </a:moveTo>
                  <a:cubicBezTo>
                    <a:pt x="89" y="64"/>
                    <a:pt x="96" y="71"/>
                    <a:pt x="96" y="80"/>
                  </a:cubicBezTo>
                  <a:cubicBezTo>
                    <a:pt x="96" y="89"/>
                    <a:pt x="89" y="96"/>
                    <a:pt x="80" y="96"/>
                  </a:cubicBezTo>
                  <a:cubicBezTo>
                    <a:pt x="71" y="96"/>
                    <a:pt x="64" y="89"/>
                    <a:pt x="64" y="80"/>
                  </a:cubicBezTo>
                  <a:cubicBezTo>
                    <a:pt x="64" y="71"/>
                    <a:pt x="71" y="64"/>
                    <a:pt x="8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0124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6107596" y="4464425"/>
            <a:ext cx="5817704" cy="14594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Placeholder 8"/>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a:fillRect/>
          </a:stretch>
        </p:blipFill>
        <p:spPr/>
      </p:pic>
      <p:sp>
        <p:nvSpPr>
          <p:cNvPr id="4" name="Rectangle 3">
            <a:extLst>
              <a:ext uri="{FF2B5EF4-FFF2-40B4-BE49-F238E27FC236}">
                <a16:creationId xmlns:a16="http://schemas.microsoft.com/office/drawing/2014/main" id="{737B14CA-1570-46D8-AAE0-49ABE08BBD4D}"/>
              </a:ext>
            </a:extLst>
          </p:cNvPr>
          <p:cNvSpPr>
            <a:spLocks/>
          </p:cNvSpPr>
          <p:nvPr/>
        </p:nvSpPr>
        <p:spPr bwMode="auto">
          <a:xfrm>
            <a:off x="3971900" y="5831371"/>
            <a:ext cx="2071090" cy="572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nchor="ctr"/>
          <a:lstStyle>
            <a:lvl1pPr>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1pPr>
            <a:lvl2pPr marL="37931725" indent="-37474525">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2pPr>
            <a:lvl3pPr marL="11430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3pPr>
            <a:lvl4pPr marL="16002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4pPr>
            <a:lvl5pPr marL="20574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5pPr>
            <a:lvl6pPr marL="25146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6pPr>
            <a:lvl7pPr marL="29718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7pPr>
            <a:lvl8pPr marL="34290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8pPr>
            <a:lvl9pPr marL="38862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9pPr>
          </a:lstStyle>
          <a:p>
            <a:pPr defTabSz="1219200" eaLnBrk="0" fontAlgn="base" hangingPunct="0">
              <a:lnSpc>
                <a:spcPct val="100000"/>
              </a:lnSpc>
              <a:spcBef>
                <a:spcPct val="0"/>
              </a:spcBef>
              <a:spcAft>
                <a:spcPct val="0"/>
              </a:spcAft>
            </a:pPr>
            <a:r>
              <a:rPr lang="en-US" altLang="en-US" sz="2000" b="1" dirty="0">
                <a:solidFill>
                  <a:schemeClr val="tx1"/>
                </a:solidFill>
                <a:latin typeface="+mj-lt"/>
                <a:sym typeface="Arial" panose="020B0604020202020204" pitchFamily="34" charset="0"/>
              </a:rPr>
              <a:t>Mobile Backhaul</a:t>
            </a:r>
          </a:p>
        </p:txBody>
      </p:sp>
      <p:graphicFrame>
        <p:nvGraphicFramePr>
          <p:cNvPr id="5" name="Group 21">
            <a:extLst>
              <a:ext uri="{FF2B5EF4-FFF2-40B4-BE49-F238E27FC236}">
                <a16:creationId xmlns:a16="http://schemas.microsoft.com/office/drawing/2014/main" id="{FB957E7C-9881-4BB0-926A-E241A2C774EC}"/>
              </a:ext>
            </a:extLst>
          </p:cNvPr>
          <p:cNvGraphicFramePr>
            <a:graphicFrameLocks noGrp="1"/>
          </p:cNvGraphicFramePr>
          <p:nvPr>
            <p:extLst>
              <p:ext uri="{D42A27DB-BD31-4B8C-83A1-F6EECF244321}">
                <p14:modId xmlns:p14="http://schemas.microsoft.com/office/powerpoint/2010/main" val="3256490622"/>
              </p:ext>
            </p:extLst>
          </p:nvPr>
        </p:nvGraphicFramePr>
        <p:xfrm>
          <a:off x="190499" y="1136650"/>
          <a:ext cx="5852491" cy="4787239"/>
        </p:xfrm>
        <a:graphic>
          <a:graphicData uri="http://schemas.openxmlformats.org/drawingml/2006/table">
            <a:tbl>
              <a:tblPr/>
              <a:tblGrid>
                <a:gridCol w="3246898">
                  <a:extLst>
                    <a:ext uri="{9D8B030D-6E8A-4147-A177-3AD203B41FA5}">
                      <a16:colId xmlns:a16="http://schemas.microsoft.com/office/drawing/2014/main" val="20000"/>
                    </a:ext>
                  </a:extLst>
                </a:gridCol>
                <a:gridCol w="2605593">
                  <a:extLst>
                    <a:ext uri="{9D8B030D-6E8A-4147-A177-3AD203B41FA5}">
                      <a16:colId xmlns:a16="http://schemas.microsoft.com/office/drawing/2014/main" val="20001"/>
                    </a:ext>
                  </a:extLst>
                </a:gridCol>
              </a:tblGrid>
              <a:tr h="473489">
                <a:tc>
                  <a:txBody>
                    <a:bodyPr/>
                    <a:lstStyle>
                      <a:lvl1pPr>
                        <a:lnSpc>
                          <a:spcPct val="115000"/>
                        </a:lnSpc>
                        <a:spcBef>
                          <a:spcPts val="4200"/>
                        </a:spcBef>
                        <a:defRPr sz="3200">
                          <a:solidFill>
                            <a:srgbClr val="595959"/>
                          </a:solidFill>
                          <a:latin typeface="Arial" pitchFamily="34" charset="0"/>
                          <a:ea typeface="Lato Regular"/>
                          <a:cs typeface="Lato Regular"/>
                          <a:sym typeface="Lato Regular"/>
                        </a:defRPr>
                      </a:lvl1pPr>
                      <a:lvl2pPr marL="37931725" indent="-37474525">
                        <a:lnSpc>
                          <a:spcPct val="115000"/>
                        </a:lnSpc>
                        <a:spcBef>
                          <a:spcPts val="4200"/>
                        </a:spcBef>
                        <a:defRPr sz="3200">
                          <a:solidFill>
                            <a:srgbClr val="595959"/>
                          </a:solidFill>
                          <a:latin typeface="Arial" pitchFamily="34" charset="0"/>
                          <a:ea typeface="Lato Regular"/>
                          <a:cs typeface="Lato Regular"/>
                          <a:sym typeface="Lato Regular"/>
                        </a:defRPr>
                      </a:lvl2pPr>
                      <a:lvl3pPr>
                        <a:lnSpc>
                          <a:spcPct val="115000"/>
                        </a:lnSpc>
                        <a:spcBef>
                          <a:spcPts val="4200"/>
                        </a:spcBef>
                        <a:defRPr sz="3200">
                          <a:solidFill>
                            <a:srgbClr val="595959"/>
                          </a:solidFill>
                          <a:latin typeface="Arial" pitchFamily="34" charset="0"/>
                          <a:ea typeface="Lato Regular"/>
                          <a:cs typeface="Lato Regular"/>
                          <a:sym typeface="Lato Regular"/>
                        </a:defRPr>
                      </a:lvl3pPr>
                      <a:lvl4pPr>
                        <a:lnSpc>
                          <a:spcPct val="115000"/>
                        </a:lnSpc>
                        <a:spcBef>
                          <a:spcPts val="4200"/>
                        </a:spcBef>
                        <a:defRPr sz="3200">
                          <a:solidFill>
                            <a:srgbClr val="595959"/>
                          </a:solidFill>
                          <a:latin typeface="Arial" pitchFamily="34" charset="0"/>
                          <a:ea typeface="Lato Regular"/>
                          <a:cs typeface="Lato Regular"/>
                          <a:sym typeface="Lato Regular"/>
                        </a:defRPr>
                      </a:lvl4pPr>
                      <a:lvl5pPr>
                        <a:lnSpc>
                          <a:spcPct val="115000"/>
                        </a:lnSpc>
                        <a:spcBef>
                          <a:spcPts val="4200"/>
                        </a:spcBef>
                        <a:defRPr sz="3200">
                          <a:solidFill>
                            <a:srgbClr val="595959"/>
                          </a:solidFill>
                          <a:latin typeface="Arial" pitchFamily="34" charset="0"/>
                          <a:ea typeface="Lato Regular"/>
                          <a:cs typeface="Lato Regular"/>
                          <a:sym typeface="Lato Regular"/>
                        </a:defRPr>
                      </a:lvl5pPr>
                      <a:lvl6pPr marL="4572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6pPr>
                      <a:lvl7pPr marL="9144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7pPr>
                      <a:lvl8pPr marL="13716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8pPr>
                      <a:lvl9pPr marL="18288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2000" b="1" i="0" u="none" strike="noStrike" cap="none" normalizeH="0" baseline="0" dirty="0">
                          <a:ln>
                            <a:noFill/>
                          </a:ln>
                          <a:solidFill>
                            <a:schemeClr val="bg1"/>
                          </a:solidFill>
                          <a:effectLst/>
                          <a:latin typeface="+mj-lt"/>
                          <a:ea typeface="SimSun" pitchFamily="2" charset="-122"/>
                          <a:cs typeface="Lato Regular"/>
                          <a:sym typeface="Arial" pitchFamily="34" charset="0"/>
                        </a:rPr>
                        <a:t>Challenge</a:t>
                      </a:r>
                    </a:p>
                  </a:txBody>
                  <a:tcPr marL="182880" marR="45720" marT="22860" marB="22860" anchor="ctr" horzOverflow="overflow">
                    <a:lnL w="28575"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a:lnSpc>
                          <a:spcPct val="115000"/>
                        </a:lnSpc>
                        <a:spcBef>
                          <a:spcPts val="4200"/>
                        </a:spcBef>
                        <a:defRPr sz="3200">
                          <a:solidFill>
                            <a:srgbClr val="595959"/>
                          </a:solidFill>
                          <a:latin typeface="Arial" pitchFamily="34" charset="0"/>
                          <a:ea typeface="Lato Regular"/>
                          <a:cs typeface="Lato Regular"/>
                          <a:sym typeface="Lato Regular"/>
                        </a:defRPr>
                      </a:lvl1pPr>
                      <a:lvl2pPr marL="37931725" indent="-37474525">
                        <a:lnSpc>
                          <a:spcPct val="115000"/>
                        </a:lnSpc>
                        <a:spcBef>
                          <a:spcPts val="4200"/>
                        </a:spcBef>
                        <a:defRPr sz="3200">
                          <a:solidFill>
                            <a:srgbClr val="595959"/>
                          </a:solidFill>
                          <a:latin typeface="Arial" pitchFamily="34" charset="0"/>
                          <a:ea typeface="Lato Regular"/>
                          <a:cs typeface="Lato Regular"/>
                          <a:sym typeface="Lato Regular"/>
                        </a:defRPr>
                      </a:lvl2pPr>
                      <a:lvl3pPr>
                        <a:lnSpc>
                          <a:spcPct val="115000"/>
                        </a:lnSpc>
                        <a:spcBef>
                          <a:spcPts val="4200"/>
                        </a:spcBef>
                        <a:defRPr sz="3200">
                          <a:solidFill>
                            <a:srgbClr val="595959"/>
                          </a:solidFill>
                          <a:latin typeface="Arial" pitchFamily="34" charset="0"/>
                          <a:ea typeface="Lato Regular"/>
                          <a:cs typeface="Lato Regular"/>
                          <a:sym typeface="Lato Regular"/>
                        </a:defRPr>
                      </a:lvl3pPr>
                      <a:lvl4pPr>
                        <a:lnSpc>
                          <a:spcPct val="115000"/>
                        </a:lnSpc>
                        <a:spcBef>
                          <a:spcPts val="4200"/>
                        </a:spcBef>
                        <a:defRPr sz="3200">
                          <a:solidFill>
                            <a:srgbClr val="595959"/>
                          </a:solidFill>
                          <a:latin typeface="Arial" pitchFamily="34" charset="0"/>
                          <a:ea typeface="Lato Regular"/>
                          <a:cs typeface="Lato Regular"/>
                          <a:sym typeface="Lato Regular"/>
                        </a:defRPr>
                      </a:lvl4pPr>
                      <a:lvl5pPr>
                        <a:lnSpc>
                          <a:spcPct val="115000"/>
                        </a:lnSpc>
                        <a:spcBef>
                          <a:spcPts val="4200"/>
                        </a:spcBef>
                        <a:defRPr sz="3200">
                          <a:solidFill>
                            <a:srgbClr val="595959"/>
                          </a:solidFill>
                          <a:latin typeface="Arial" pitchFamily="34" charset="0"/>
                          <a:ea typeface="Lato Regular"/>
                          <a:cs typeface="Lato Regular"/>
                          <a:sym typeface="Lato Regular"/>
                        </a:defRPr>
                      </a:lvl5pPr>
                      <a:lvl6pPr marL="4572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6pPr>
                      <a:lvl7pPr marL="9144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7pPr>
                      <a:lvl8pPr marL="13716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8pPr>
                      <a:lvl9pPr marL="18288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2000" b="1" i="0" u="none" strike="noStrike" cap="none" normalizeH="0" baseline="0" dirty="0">
                          <a:ln>
                            <a:noFill/>
                          </a:ln>
                          <a:solidFill>
                            <a:schemeClr val="bg1"/>
                          </a:solidFill>
                          <a:effectLst/>
                          <a:latin typeface="+mj-lt"/>
                          <a:ea typeface="SimSun" pitchFamily="2" charset="-122"/>
                          <a:cs typeface="Lato Regular"/>
                          <a:sym typeface="Arial" pitchFamily="34" charset="0"/>
                        </a:rPr>
                        <a:t>Results</a:t>
                      </a:r>
                    </a:p>
                  </a:txBody>
                  <a:tcPr marL="182880" marR="45720" marT="22860" marB="22860" anchor="ctr" horzOverflow="overflow">
                    <a:lnL w="762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r h="2207607">
                <a:tc>
                  <a:txBody>
                    <a:bodyPr/>
                    <a:lstStyle>
                      <a:lvl1pPr marL="231775" indent="-231775" defTabSz="457200">
                        <a:lnSpc>
                          <a:spcPct val="115000"/>
                        </a:lnSpc>
                        <a:spcBef>
                          <a:spcPts val="4200"/>
                        </a:spcBef>
                        <a:defRPr sz="3200">
                          <a:solidFill>
                            <a:srgbClr val="595959"/>
                          </a:solidFill>
                          <a:latin typeface="Arial" pitchFamily="34" charset="0"/>
                          <a:ea typeface="Lato Regular"/>
                          <a:cs typeface="Lato Regular"/>
                          <a:sym typeface="Lato Regular"/>
                        </a:defRPr>
                      </a:lvl1pPr>
                      <a:lvl2pPr marL="37931725" indent="-37474525" defTabSz="457200">
                        <a:lnSpc>
                          <a:spcPct val="115000"/>
                        </a:lnSpc>
                        <a:spcBef>
                          <a:spcPts val="4200"/>
                        </a:spcBef>
                        <a:defRPr sz="3200">
                          <a:solidFill>
                            <a:srgbClr val="595959"/>
                          </a:solidFill>
                          <a:latin typeface="Arial" pitchFamily="34" charset="0"/>
                          <a:ea typeface="Lato Regular"/>
                          <a:cs typeface="Lato Regular"/>
                          <a:sym typeface="Lato Regular"/>
                        </a:defRPr>
                      </a:lvl2pPr>
                      <a:lvl3pPr>
                        <a:lnSpc>
                          <a:spcPct val="115000"/>
                        </a:lnSpc>
                        <a:spcBef>
                          <a:spcPts val="4200"/>
                        </a:spcBef>
                        <a:defRPr sz="3200">
                          <a:solidFill>
                            <a:srgbClr val="595959"/>
                          </a:solidFill>
                          <a:latin typeface="Arial" pitchFamily="34" charset="0"/>
                          <a:ea typeface="Lato Regular"/>
                          <a:cs typeface="Lato Regular"/>
                          <a:sym typeface="Lato Regular"/>
                        </a:defRPr>
                      </a:lvl3pPr>
                      <a:lvl4pPr>
                        <a:lnSpc>
                          <a:spcPct val="115000"/>
                        </a:lnSpc>
                        <a:spcBef>
                          <a:spcPts val="4200"/>
                        </a:spcBef>
                        <a:defRPr sz="3200">
                          <a:solidFill>
                            <a:srgbClr val="595959"/>
                          </a:solidFill>
                          <a:latin typeface="Arial" pitchFamily="34" charset="0"/>
                          <a:ea typeface="Lato Regular"/>
                          <a:cs typeface="Lato Regular"/>
                          <a:sym typeface="Lato Regular"/>
                        </a:defRPr>
                      </a:lvl4pPr>
                      <a:lvl5pPr>
                        <a:lnSpc>
                          <a:spcPct val="115000"/>
                        </a:lnSpc>
                        <a:spcBef>
                          <a:spcPts val="4200"/>
                        </a:spcBef>
                        <a:defRPr sz="3200">
                          <a:solidFill>
                            <a:srgbClr val="595959"/>
                          </a:solidFill>
                          <a:latin typeface="Arial" pitchFamily="34" charset="0"/>
                          <a:ea typeface="Lato Regular"/>
                          <a:cs typeface="Lato Regular"/>
                          <a:sym typeface="Lato Regular"/>
                        </a:defRPr>
                      </a:lvl5pPr>
                      <a:lvl6pPr marL="4572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6pPr>
                      <a:lvl7pPr marL="9144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7pPr>
                      <a:lvl8pPr marL="13716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8pPr>
                      <a:lvl9pPr marL="18288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9pPr>
                    </a:lstStyle>
                    <a:p>
                      <a:pPr marL="228600" marR="0" lvl="0" indent="-228600" algn="l" defTabSz="457200" rtl="0" eaLnBrk="0" fontAlgn="base" latinLnBrk="0" hangingPunct="0">
                        <a:lnSpc>
                          <a:spcPct val="100000"/>
                        </a:lnSpc>
                        <a:spcBef>
                          <a:spcPct val="20000"/>
                        </a:spcBef>
                        <a:spcAft>
                          <a:spcPct val="0"/>
                        </a:spcAft>
                        <a:buClr>
                          <a:schemeClr val="bg1"/>
                        </a:buClr>
                        <a:buSzTx/>
                        <a:buFont typeface="Wingdings" panose="05000000000000000000" pitchFamily="2" charset="2"/>
                        <a:buChar char="§"/>
                        <a:tabLst/>
                      </a:pPr>
                      <a:r>
                        <a:rPr kumimoji="0" lang="en-US" altLang="en-US" sz="1400" b="0" i="0" u="none" strike="noStrike" cap="none" normalizeH="0" baseline="0" dirty="0">
                          <a:ln>
                            <a:noFill/>
                          </a:ln>
                          <a:solidFill>
                            <a:schemeClr val="bg1"/>
                          </a:solidFill>
                          <a:effectLst/>
                          <a:latin typeface="+mj-lt"/>
                          <a:ea typeface="SimSun" pitchFamily="2" charset="-122"/>
                          <a:cs typeface="Lato Regular"/>
                          <a:sym typeface="Arial" pitchFamily="34" charset="0"/>
                        </a:rPr>
                        <a:t>Upgrade mobile backhaul network prepared for 3G / LTE with existing ATM network</a:t>
                      </a:r>
                    </a:p>
                    <a:p>
                      <a:pPr marL="228600" marR="0" lvl="0" indent="-228600" algn="l" defTabSz="457200" rtl="0" eaLnBrk="0" fontAlgn="base" latinLnBrk="0" hangingPunct="0">
                        <a:lnSpc>
                          <a:spcPct val="100000"/>
                        </a:lnSpc>
                        <a:spcBef>
                          <a:spcPct val="20000"/>
                        </a:spcBef>
                        <a:spcAft>
                          <a:spcPct val="0"/>
                        </a:spcAft>
                        <a:buClr>
                          <a:schemeClr val="bg1"/>
                        </a:buClr>
                        <a:buSzTx/>
                        <a:buFont typeface="Wingdings" panose="05000000000000000000" pitchFamily="2" charset="2"/>
                        <a:buChar char="§"/>
                        <a:tabLst/>
                      </a:pPr>
                      <a:r>
                        <a:rPr kumimoji="0" lang="en-US" altLang="en-US" sz="1400" b="0" i="0" u="none" strike="noStrike" cap="none" normalizeH="0" baseline="0" dirty="0">
                          <a:ln>
                            <a:noFill/>
                          </a:ln>
                          <a:solidFill>
                            <a:schemeClr val="bg1"/>
                          </a:solidFill>
                          <a:effectLst/>
                          <a:latin typeface="+mj-lt"/>
                          <a:ea typeface="SimSun" pitchFamily="2" charset="-122"/>
                          <a:cs typeface="Lato Regular"/>
                          <a:sym typeface="Arial" pitchFamily="34" charset="0"/>
                        </a:rPr>
                        <a:t>Limited fiber availability due to leasing fibers from incumbent carriers</a:t>
                      </a:r>
                    </a:p>
                    <a:p>
                      <a:pPr marL="231775" marR="0" lvl="0" indent="-231775" algn="l" defTabSz="457200" rtl="0" eaLnBrk="0" fontAlgn="base" latinLnBrk="0" hangingPunct="0">
                        <a:lnSpc>
                          <a:spcPct val="100000"/>
                        </a:lnSpc>
                        <a:spcBef>
                          <a:spcPct val="20000"/>
                        </a:spcBef>
                        <a:spcAft>
                          <a:spcPct val="0"/>
                        </a:spcAft>
                        <a:buClr>
                          <a:schemeClr val="tx2"/>
                        </a:buClr>
                        <a:buSzTx/>
                        <a:buFontTx/>
                        <a:buNone/>
                        <a:tabLst/>
                      </a:pPr>
                      <a:endParaRPr kumimoji="0" lang="en-US" altLang="en-US" sz="1400" b="0" i="0" u="none" strike="noStrike" cap="none" normalizeH="0" baseline="0" dirty="0">
                        <a:ln>
                          <a:noFill/>
                        </a:ln>
                        <a:solidFill>
                          <a:schemeClr val="tx1"/>
                        </a:solidFill>
                        <a:effectLst/>
                        <a:latin typeface="+mj-lt"/>
                        <a:ea typeface="SimSun" pitchFamily="2" charset="-122"/>
                        <a:cs typeface="Lato Regular"/>
                        <a:sym typeface="Arial" pitchFamily="34" charset="0"/>
                      </a:endParaRPr>
                    </a:p>
                  </a:txBody>
                  <a:tcPr marL="137160" marR="45720" marT="22860" marB="22860" anchor="ctr" horzOverflow="overflow">
                    <a:lnL w="28575"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solidFill>
                  </a:tcPr>
                </a:tc>
                <a:tc rowSpan="3">
                  <a:txBody>
                    <a:bodyPr/>
                    <a:lstStyle>
                      <a:lvl1pPr marL="228600" indent="-228600" defTabSz="457200">
                        <a:lnSpc>
                          <a:spcPct val="115000"/>
                        </a:lnSpc>
                        <a:spcBef>
                          <a:spcPts val="4200"/>
                        </a:spcBef>
                        <a:defRPr sz="3200">
                          <a:solidFill>
                            <a:srgbClr val="595959"/>
                          </a:solidFill>
                          <a:latin typeface="Arial" pitchFamily="34" charset="0"/>
                          <a:ea typeface="Lato Regular"/>
                          <a:cs typeface="Lato Regular"/>
                          <a:sym typeface="Lato Regular"/>
                        </a:defRPr>
                      </a:lvl1pPr>
                      <a:lvl2pPr marL="37931725" indent="-37474525" defTabSz="457200">
                        <a:lnSpc>
                          <a:spcPct val="115000"/>
                        </a:lnSpc>
                        <a:spcBef>
                          <a:spcPts val="4200"/>
                        </a:spcBef>
                        <a:defRPr sz="3200">
                          <a:solidFill>
                            <a:srgbClr val="595959"/>
                          </a:solidFill>
                          <a:latin typeface="Arial" pitchFamily="34" charset="0"/>
                          <a:ea typeface="Lato Regular"/>
                          <a:cs typeface="Lato Regular"/>
                          <a:sym typeface="Lato Regular"/>
                        </a:defRPr>
                      </a:lvl2pPr>
                      <a:lvl3pPr>
                        <a:lnSpc>
                          <a:spcPct val="115000"/>
                        </a:lnSpc>
                        <a:spcBef>
                          <a:spcPts val="4200"/>
                        </a:spcBef>
                        <a:defRPr sz="3200">
                          <a:solidFill>
                            <a:srgbClr val="595959"/>
                          </a:solidFill>
                          <a:latin typeface="Arial" pitchFamily="34" charset="0"/>
                          <a:ea typeface="Lato Regular"/>
                          <a:cs typeface="Lato Regular"/>
                          <a:sym typeface="Lato Regular"/>
                        </a:defRPr>
                      </a:lvl3pPr>
                      <a:lvl4pPr>
                        <a:lnSpc>
                          <a:spcPct val="115000"/>
                        </a:lnSpc>
                        <a:spcBef>
                          <a:spcPts val="4200"/>
                        </a:spcBef>
                        <a:defRPr sz="3200">
                          <a:solidFill>
                            <a:srgbClr val="595959"/>
                          </a:solidFill>
                          <a:latin typeface="Arial" pitchFamily="34" charset="0"/>
                          <a:ea typeface="Lato Regular"/>
                          <a:cs typeface="Lato Regular"/>
                          <a:sym typeface="Lato Regular"/>
                        </a:defRPr>
                      </a:lvl4pPr>
                      <a:lvl5pPr>
                        <a:lnSpc>
                          <a:spcPct val="115000"/>
                        </a:lnSpc>
                        <a:spcBef>
                          <a:spcPts val="4200"/>
                        </a:spcBef>
                        <a:defRPr sz="3200">
                          <a:solidFill>
                            <a:srgbClr val="595959"/>
                          </a:solidFill>
                          <a:latin typeface="Arial" pitchFamily="34" charset="0"/>
                          <a:ea typeface="Lato Regular"/>
                          <a:cs typeface="Lato Regular"/>
                          <a:sym typeface="Lato Regular"/>
                        </a:defRPr>
                      </a:lvl5pPr>
                      <a:lvl6pPr marL="4572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6pPr>
                      <a:lvl7pPr marL="9144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7pPr>
                      <a:lvl8pPr marL="13716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8pPr>
                      <a:lvl9pPr marL="18288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9pPr>
                    </a:lstStyle>
                    <a:p>
                      <a:pPr marL="228600" marR="0" lvl="0" indent="-228600" algn="l" defTabSz="457200" rtl="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en-US" altLang="en-US" sz="1400" b="0" i="0" u="none" strike="noStrike" cap="none" normalizeH="0" baseline="0" dirty="0">
                          <a:ln>
                            <a:noFill/>
                          </a:ln>
                          <a:solidFill>
                            <a:schemeClr val="bg1"/>
                          </a:solidFill>
                          <a:effectLst/>
                          <a:latin typeface="+mj-lt"/>
                          <a:ea typeface="SimSun" pitchFamily="2" charset="-122"/>
                          <a:cs typeface="Lato Regular"/>
                          <a:sym typeface="Arial" pitchFamily="34" charset="0"/>
                        </a:rPr>
                        <a:t>Softbank mobile business has grown dramatically becoming No. 3 to No. 1 in Japan. </a:t>
                      </a:r>
                    </a:p>
                    <a:p>
                      <a:pPr marL="228600" marR="0" lvl="0" indent="-228600" algn="l" defTabSz="457200" rtl="0" eaLnBrk="1" fontAlgn="base" latinLnBrk="0" hangingPunct="1">
                        <a:lnSpc>
                          <a:spcPct val="100000"/>
                        </a:lnSpc>
                        <a:spcBef>
                          <a:spcPct val="0"/>
                        </a:spcBef>
                        <a:spcAft>
                          <a:spcPct val="0"/>
                        </a:spcAft>
                        <a:buClrTx/>
                        <a:buSzTx/>
                        <a:buFont typeface="Wingdings" panose="05000000000000000000" pitchFamily="2" charset="2"/>
                        <a:buChar char="§"/>
                        <a:tabLst/>
                      </a:pPr>
                      <a:endParaRPr kumimoji="0" lang="en-US" altLang="en-US" sz="1400" b="0" i="0" u="none" strike="noStrike" cap="none" normalizeH="0" baseline="0" dirty="0">
                        <a:ln>
                          <a:noFill/>
                        </a:ln>
                        <a:solidFill>
                          <a:schemeClr val="bg1"/>
                        </a:solidFill>
                        <a:effectLst/>
                        <a:latin typeface="+mj-lt"/>
                        <a:ea typeface="SimSun" pitchFamily="2" charset="-122"/>
                        <a:cs typeface="Lato Regular"/>
                        <a:sym typeface="Arial" pitchFamily="34" charset="0"/>
                      </a:endParaRPr>
                    </a:p>
                    <a:p>
                      <a:pPr marL="228600" marR="0" lvl="0" indent="-228600" algn="l" defTabSz="457200" rtl="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en-US" altLang="en-US" sz="1400" b="0" i="0" u="none" strike="noStrike" cap="none" normalizeH="0" baseline="0" dirty="0">
                          <a:ln>
                            <a:noFill/>
                          </a:ln>
                          <a:solidFill>
                            <a:schemeClr val="bg1"/>
                          </a:solidFill>
                          <a:effectLst/>
                          <a:latin typeface="+mj-lt"/>
                          <a:ea typeface="SimSun" pitchFamily="2" charset="-122"/>
                          <a:cs typeface="Lato Regular"/>
                          <a:sym typeface="Arial" pitchFamily="34" charset="0"/>
                        </a:rPr>
                        <a:t>DZS’s mobile backhaul is one of the success factor of Softbank’s excellence</a:t>
                      </a:r>
                    </a:p>
                    <a:p>
                      <a:pPr marL="228600" marR="0" lvl="0" indent="-228600" algn="l" defTabSz="457200" rtl="0" eaLnBrk="1" fontAlgn="base" latinLnBrk="0" hangingPunct="1">
                        <a:lnSpc>
                          <a:spcPct val="100000"/>
                        </a:lnSpc>
                        <a:spcBef>
                          <a:spcPct val="0"/>
                        </a:spcBef>
                        <a:spcAft>
                          <a:spcPct val="0"/>
                        </a:spcAft>
                        <a:buClrTx/>
                        <a:buSzTx/>
                        <a:buFont typeface="Wingdings" panose="05000000000000000000" pitchFamily="2" charset="2"/>
                        <a:buChar char="§"/>
                        <a:tabLst/>
                      </a:pPr>
                      <a:endParaRPr kumimoji="0" lang="en-US" altLang="en-US" sz="1400" b="0" i="0" u="none" strike="noStrike" cap="none" normalizeH="0" baseline="0" dirty="0">
                        <a:ln>
                          <a:noFill/>
                        </a:ln>
                        <a:solidFill>
                          <a:schemeClr val="bg1"/>
                        </a:solidFill>
                        <a:effectLst/>
                        <a:latin typeface="+mj-lt"/>
                        <a:ea typeface="SimSun" pitchFamily="2" charset="-122"/>
                        <a:cs typeface="Lato Regular"/>
                        <a:sym typeface="Arial" pitchFamily="34" charset="0"/>
                      </a:endParaRPr>
                    </a:p>
                    <a:p>
                      <a:pPr marL="228600" marR="0" lvl="0" indent="-228600" algn="l" defTabSz="457200" rtl="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en-US" altLang="en-US" sz="1400" b="0" i="0" u="none" strike="noStrike" cap="none" normalizeH="0" baseline="0" dirty="0">
                          <a:ln>
                            <a:noFill/>
                          </a:ln>
                          <a:solidFill>
                            <a:schemeClr val="bg1"/>
                          </a:solidFill>
                          <a:effectLst/>
                          <a:latin typeface="+mj-lt"/>
                          <a:ea typeface="SimSun" pitchFamily="2" charset="-122"/>
                          <a:cs typeface="Lato Regular"/>
                          <a:sym typeface="Arial" pitchFamily="34" charset="0"/>
                        </a:rPr>
                        <a:t>FTTH based mobile backhaul architecture demonstrated it’s viability with this reference</a:t>
                      </a:r>
                    </a:p>
                  </a:txBody>
                  <a:tcPr marL="137160" marR="45720" marT="22860" marB="22860" anchor="ctr" horzOverflow="overflow">
                    <a:lnL w="762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1"/>
                  </a:ext>
                </a:extLst>
              </a:tr>
              <a:tr h="456080">
                <a:tc>
                  <a:txBody>
                    <a:bodyPr/>
                    <a:lstStyle>
                      <a:lvl1pPr marL="231775" indent="-231775">
                        <a:lnSpc>
                          <a:spcPct val="115000"/>
                        </a:lnSpc>
                        <a:spcBef>
                          <a:spcPts val="4200"/>
                        </a:spcBef>
                        <a:defRPr sz="3200">
                          <a:solidFill>
                            <a:srgbClr val="595959"/>
                          </a:solidFill>
                          <a:latin typeface="Arial" pitchFamily="34" charset="0"/>
                          <a:ea typeface="Lato Regular"/>
                          <a:cs typeface="Lato Regular"/>
                          <a:sym typeface="Lato Regular"/>
                        </a:defRPr>
                      </a:lvl1pPr>
                      <a:lvl2pPr marL="37931725" indent="-37474525">
                        <a:lnSpc>
                          <a:spcPct val="115000"/>
                        </a:lnSpc>
                        <a:spcBef>
                          <a:spcPts val="4200"/>
                        </a:spcBef>
                        <a:defRPr sz="3200">
                          <a:solidFill>
                            <a:srgbClr val="595959"/>
                          </a:solidFill>
                          <a:latin typeface="Arial" pitchFamily="34" charset="0"/>
                          <a:ea typeface="Lato Regular"/>
                          <a:cs typeface="Lato Regular"/>
                          <a:sym typeface="Lato Regular"/>
                        </a:defRPr>
                      </a:lvl2pPr>
                      <a:lvl3pPr>
                        <a:lnSpc>
                          <a:spcPct val="115000"/>
                        </a:lnSpc>
                        <a:spcBef>
                          <a:spcPts val="4200"/>
                        </a:spcBef>
                        <a:defRPr sz="3200">
                          <a:solidFill>
                            <a:srgbClr val="595959"/>
                          </a:solidFill>
                          <a:latin typeface="Arial" pitchFamily="34" charset="0"/>
                          <a:ea typeface="Lato Regular"/>
                          <a:cs typeface="Lato Regular"/>
                          <a:sym typeface="Lato Regular"/>
                        </a:defRPr>
                      </a:lvl3pPr>
                      <a:lvl4pPr>
                        <a:lnSpc>
                          <a:spcPct val="115000"/>
                        </a:lnSpc>
                        <a:spcBef>
                          <a:spcPts val="4200"/>
                        </a:spcBef>
                        <a:defRPr sz="3200">
                          <a:solidFill>
                            <a:srgbClr val="595959"/>
                          </a:solidFill>
                          <a:latin typeface="Arial" pitchFamily="34" charset="0"/>
                          <a:ea typeface="Lato Regular"/>
                          <a:cs typeface="Lato Regular"/>
                          <a:sym typeface="Lato Regular"/>
                        </a:defRPr>
                      </a:lvl4pPr>
                      <a:lvl5pPr>
                        <a:lnSpc>
                          <a:spcPct val="115000"/>
                        </a:lnSpc>
                        <a:spcBef>
                          <a:spcPts val="4200"/>
                        </a:spcBef>
                        <a:defRPr sz="3200">
                          <a:solidFill>
                            <a:srgbClr val="595959"/>
                          </a:solidFill>
                          <a:latin typeface="Arial" pitchFamily="34" charset="0"/>
                          <a:ea typeface="Lato Regular"/>
                          <a:cs typeface="Lato Regular"/>
                          <a:sym typeface="Lato Regular"/>
                        </a:defRPr>
                      </a:lvl5pPr>
                      <a:lvl6pPr marL="4572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6pPr>
                      <a:lvl7pPr marL="9144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7pPr>
                      <a:lvl8pPr marL="13716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8pPr>
                      <a:lvl9pPr marL="18288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9pPr>
                    </a:lstStyle>
                    <a:p>
                      <a:pPr marL="0" marR="0" lvl="0" indent="0" algn="l" defTabSz="914400" rtl="0" eaLnBrk="0" fontAlgn="base" latinLnBrk="0" hangingPunct="0">
                        <a:lnSpc>
                          <a:spcPct val="100000"/>
                        </a:lnSpc>
                        <a:spcBef>
                          <a:spcPct val="20000"/>
                        </a:spcBef>
                        <a:spcAft>
                          <a:spcPct val="0"/>
                        </a:spcAft>
                        <a:buClr>
                          <a:schemeClr val="bg1"/>
                        </a:buClr>
                        <a:buSzTx/>
                        <a:buFont typeface="Wingdings" panose="05000000000000000000" pitchFamily="2" charset="2"/>
                        <a:buNone/>
                        <a:tabLst/>
                      </a:pPr>
                      <a:r>
                        <a:rPr kumimoji="0" lang="en-US" altLang="en-US" sz="2000" b="1" i="0" u="none" strike="noStrike" cap="none" normalizeH="0" baseline="0" dirty="0">
                          <a:ln>
                            <a:noFill/>
                          </a:ln>
                          <a:solidFill>
                            <a:schemeClr val="bg1"/>
                          </a:solidFill>
                          <a:effectLst/>
                          <a:latin typeface="+mj-lt"/>
                          <a:ea typeface="SimSun" pitchFamily="2" charset="-122"/>
                          <a:cs typeface="Lato Regular"/>
                          <a:sym typeface="Arial" pitchFamily="34" charset="0"/>
                        </a:rPr>
                        <a:t>Solution</a:t>
                      </a:r>
                    </a:p>
                  </a:txBody>
                  <a:tcPr marL="182880" marR="45720" marT="22860" marB="22860" anchor="ctr" horzOverflow="overflow">
                    <a:lnL w="28575"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solidFill>
                  </a:tcPr>
                </a:tc>
                <a:tc vMerge="1">
                  <a:txBody>
                    <a:bodyPr/>
                    <a:lstStyle/>
                    <a:p>
                      <a:endParaRPr lang="en-US"/>
                    </a:p>
                  </a:txBody>
                  <a:tcPr/>
                </a:tc>
                <a:extLst>
                  <a:ext uri="{0D108BD9-81ED-4DB2-BD59-A6C34878D82A}">
                    <a16:rowId xmlns:a16="http://schemas.microsoft.com/office/drawing/2014/main" val="10002"/>
                  </a:ext>
                </a:extLst>
              </a:tr>
              <a:tr h="1650063">
                <a:tc>
                  <a:txBody>
                    <a:bodyPr/>
                    <a:lstStyle>
                      <a:lvl1pPr marL="231775" indent="-231775">
                        <a:lnSpc>
                          <a:spcPct val="115000"/>
                        </a:lnSpc>
                        <a:spcBef>
                          <a:spcPts val="4200"/>
                        </a:spcBef>
                        <a:defRPr sz="3200">
                          <a:solidFill>
                            <a:srgbClr val="595959"/>
                          </a:solidFill>
                          <a:latin typeface="Arial" pitchFamily="34" charset="0"/>
                          <a:ea typeface="Lato Regular"/>
                          <a:cs typeface="Lato Regular"/>
                          <a:sym typeface="Lato Regular"/>
                        </a:defRPr>
                      </a:lvl1pPr>
                      <a:lvl2pPr marL="37931725" indent="-37474525">
                        <a:lnSpc>
                          <a:spcPct val="115000"/>
                        </a:lnSpc>
                        <a:spcBef>
                          <a:spcPts val="4200"/>
                        </a:spcBef>
                        <a:defRPr sz="3200">
                          <a:solidFill>
                            <a:srgbClr val="595959"/>
                          </a:solidFill>
                          <a:latin typeface="Arial" pitchFamily="34" charset="0"/>
                          <a:ea typeface="Lato Regular"/>
                          <a:cs typeface="Lato Regular"/>
                          <a:sym typeface="Lato Regular"/>
                        </a:defRPr>
                      </a:lvl2pPr>
                      <a:lvl3pPr>
                        <a:lnSpc>
                          <a:spcPct val="115000"/>
                        </a:lnSpc>
                        <a:spcBef>
                          <a:spcPts val="4200"/>
                        </a:spcBef>
                        <a:defRPr sz="3200">
                          <a:solidFill>
                            <a:srgbClr val="595959"/>
                          </a:solidFill>
                          <a:latin typeface="Arial" pitchFamily="34" charset="0"/>
                          <a:ea typeface="Lato Regular"/>
                          <a:cs typeface="Lato Regular"/>
                          <a:sym typeface="Lato Regular"/>
                        </a:defRPr>
                      </a:lvl3pPr>
                      <a:lvl4pPr>
                        <a:lnSpc>
                          <a:spcPct val="115000"/>
                        </a:lnSpc>
                        <a:spcBef>
                          <a:spcPts val="4200"/>
                        </a:spcBef>
                        <a:defRPr sz="3200">
                          <a:solidFill>
                            <a:srgbClr val="595959"/>
                          </a:solidFill>
                          <a:latin typeface="Arial" pitchFamily="34" charset="0"/>
                          <a:ea typeface="Lato Regular"/>
                          <a:cs typeface="Lato Regular"/>
                          <a:sym typeface="Lato Regular"/>
                        </a:defRPr>
                      </a:lvl4pPr>
                      <a:lvl5pPr>
                        <a:lnSpc>
                          <a:spcPct val="115000"/>
                        </a:lnSpc>
                        <a:spcBef>
                          <a:spcPts val="4200"/>
                        </a:spcBef>
                        <a:defRPr sz="3200">
                          <a:solidFill>
                            <a:srgbClr val="595959"/>
                          </a:solidFill>
                          <a:latin typeface="Arial" pitchFamily="34" charset="0"/>
                          <a:ea typeface="Lato Regular"/>
                          <a:cs typeface="Lato Regular"/>
                          <a:sym typeface="Lato Regular"/>
                        </a:defRPr>
                      </a:lvl5pPr>
                      <a:lvl6pPr marL="4572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6pPr>
                      <a:lvl7pPr marL="9144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7pPr>
                      <a:lvl8pPr marL="13716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8pPr>
                      <a:lvl9pPr marL="1828800" eaLnBrk="0" fontAlgn="base" hangingPunct="0">
                        <a:lnSpc>
                          <a:spcPct val="115000"/>
                        </a:lnSpc>
                        <a:spcBef>
                          <a:spcPts val="4200"/>
                        </a:spcBef>
                        <a:spcAft>
                          <a:spcPct val="0"/>
                        </a:spcAft>
                        <a:defRPr sz="3200">
                          <a:solidFill>
                            <a:srgbClr val="595959"/>
                          </a:solidFill>
                          <a:latin typeface="Arial" pitchFamily="34" charset="0"/>
                          <a:ea typeface="Lato Regular"/>
                          <a:cs typeface="Lato Regular"/>
                          <a:sym typeface="Lato Regular"/>
                        </a:defRPr>
                      </a:lvl9pPr>
                    </a:lstStyle>
                    <a:p>
                      <a:pPr marL="228600" marR="0" lvl="0" indent="-228600" algn="l" defTabSz="914400" rtl="0" eaLnBrk="0" fontAlgn="base" latinLnBrk="0" hangingPunct="0">
                        <a:lnSpc>
                          <a:spcPct val="100000"/>
                        </a:lnSpc>
                        <a:spcBef>
                          <a:spcPct val="20000"/>
                        </a:spcBef>
                        <a:spcAft>
                          <a:spcPct val="0"/>
                        </a:spcAft>
                        <a:buClr>
                          <a:schemeClr val="bg1"/>
                        </a:buClr>
                        <a:buSzTx/>
                        <a:buFont typeface="Wingdings" panose="05000000000000000000" pitchFamily="2" charset="2"/>
                        <a:buChar char="§"/>
                        <a:tabLst/>
                      </a:pPr>
                      <a:r>
                        <a:rPr kumimoji="0" lang="en-US" altLang="en-US" sz="1400" b="0" i="0" u="none" strike="noStrike" cap="none" normalizeH="0" baseline="0" dirty="0">
                          <a:ln>
                            <a:noFill/>
                          </a:ln>
                          <a:solidFill>
                            <a:schemeClr val="bg1"/>
                          </a:solidFill>
                          <a:effectLst/>
                          <a:latin typeface="+mj-lt"/>
                          <a:ea typeface="SimSun" pitchFamily="2" charset="-122"/>
                          <a:cs typeface="Lato Regular"/>
                          <a:sym typeface="Arial" pitchFamily="34" charset="0"/>
                        </a:rPr>
                        <a:t>DZS’ G-PON based mobile backhaul solution has provided excellent performance on cost, reliability, and future readiness</a:t>
                      </a:r>
                    </a:p>
                    <a:p>
                      <a:pPr marL="228600" marR="0" lvl="0" indent="-228600" algn="l" defTabSz="914400" rtl="0" eaLnBrk="0" fontAlgn="base" latinLnBrk="0" hangingPunct="0">
                        <a:lnSpc>
                          <a:spcPct val="100000"/>
                        </a:lnSpc>
                        <a:spcBef>
                          <a:spcPct val="20000"/>
                        </a:spcBef>
                        <a:spcAft>
                          <a:spcPct val="0"/>
                        </a:spcAft>
                        <a:buClr>
                          <a:schemeClr val="bg1"/>
                        </a:buClr>
                        <a:buSzTx/>
                        <a:buFont typeface="Wingdings" panose="05000000000000000000" pitchFamily="2" charset="2"/>
                        <a:buChar char="§"/>
                        <a:tabLst/>
                      </a:pPr>
                      <a:r>
                        <a:rPr kumimoji="0" lang="en-US" altLang="en-US" sz="1400" b="0" i="0" u="none" strike="noStrike" cap="none" normalizeH="0" baseline="0" dirty="0">
                          <a:ln>
                            <a:noFill/>
                          </a:ln>
                          <a:solidFill>
                            <a:schemeClr val="bg1"/>
                          </a:solidFill>
                          <a:effectLst/>
                          <a:latin typeface="+mj-lt"/>
                          <a:ea typeface="SimSun" pitchFamily="2" charset="-122"/>
                          <a:cs typeface="Lato Regular"/>
                          <a:sym typeface="Arial" pitchFamily="34" charset="0"/>
                        </a:rPr>
                        <a:t>Sole supplier for whole country coverage with thousands of OLTs</a:t>
                      </a:r>
                    </a:p>
                  </a:txBody>
                  <a:tcPr marL="137160" marR="45720" marT="22860" marB="22860" anchor="ctr" horzOverflow="overflow">
                    <a:lnL w="28575"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accent1"/>
                    </a:solidFill>
                  </a:tcPr>
                </a:tc>
                <a:tc vMerge="1">
                  <a:txBody>
                    <a:bodyPr/>
                    <a:lstStyle/>
                    <a:p>
                      <a:endParaRPr lang="en-US"/>
                    </a:p>
                  </a:txBody>
                  <a:tcPr/>
                </a:tc>
                <a:extLst>
                  <a:ext uri="{0D108BD9-81ED-4DB2-BD59-A6C34878D82A}">
                    <a16:rowId xmlns:a16="http://schemas.microsoft.com/office/drawing/2014/main" val="10003"/>
                  </a:ext>
                </a:extLst>
              </a:tr>
            </a:tbl>
          </a:graphicData>
        </a:graphic>
      </p:graphicFrame>
      <p:grpSp>
        <p:nvGrpSpPr>
          <p:cNvPr id="13" name="Group 12"/>
          <p:cNvGrpSpPr/>
          <p:nvPr/>
        </p:nvGrpSpPr>
        <p:grpSpPr>
          <a:xfrm>
            <a:off x="6347011" y="4697118"/>
            <a:ext cx="3810000" cy="994079"/>
            <a:chOff x="6347011" y="4599879"/>
            <a:chExt cx="3810000" cy="994079"/>
          </a:xfrm>
        </p:grpSpPr>
        <p:sp>
          <p:nvSpPr>
            <p:cNvPr id="10" name="Rectangle 142">
              <a:extLst>
                <a:ext uri="{FF2B5EF4-FFF2-40B4-BE49-F238E27FC236}">
                  <a16:creationId xmlns:a16="http://schemas.microsoft.com/office/drawing/2014/main" id="{115CC728-64C3-4C8B-B3CA-9F360783BAB3}"/>
                </a:ext>
              </a:extLst>
            </p:cNvPr>
            <p:cNvSpPr>
              <a:spLocks noChangeArrowheads="1"/>
            </p:cNvSpPr>
            <p:nvPr/>
          </p:nvSpPr>
          <p:spPr bwMode="auto">
            <a:xfrm>
              <a:off x="6347011" y="4947627"/>
              <a:ext cx="3810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rgbClr val="000000"/>
                  </a:solidFill>
                  <a:latin typeface="Arial" panose="020B0604020202020204" pitchFamily="34" charset="0"/>
                  <a:ea typeface="Lato Regular"/>
                  <a:cs typeface="Lato Regular"/>
                  <a:sym typeface="Arial" panose="020B0604020202020204" pitchFamily="34" charset="0"/>
                </a:defRPr>
              </a:lvl1pPr>
              <a:lvl2pPr marL="37931725" indent="-37474525">
                <a:defRPr sz="3600">
                  <a:solidFill>
                    <a:srgbClr val="000000"/>
                  </a:solidFill>
                  <a:latin typeface="Arial" panose="020B0604020202020204" pitchFamily="34" charset="0"/>
                  <a:ea typeface="Lato Regular"/>
                  <a:cs typeface="Lato Regular"/>
                  <a:sym typeface="Arial" panose="020B0604020202020204" pitchFamily="34" charset="0"/>
                </a:defRPr>
              </a:lvl2pPr>
              <a:lvl3pPr marL="1143000" indent="-228600">
                <a:defRPr sz="3600">
                  <a:solidFill>
                    <a:srgbClr val="000000"/>
                  </a:solidFill>
                  <a:latin typeface="Arial" panose="020B0604020202020204" pitchFamily="34" charset="0"/>
                  <a:ea typeface="Lato Regular"/>
                  <a:cs typeface="Lato Regular"/>
                  <a:sym typeface="Arial" panose="020B0604020202020204" pitchFamily="34" charset="0"/>
                </a:defRPr>
              </a:lvl3pPr>
              <a:lvl4pPr marL="1600200" indent="-228600">
                <a:defRPr sz="3600">
                  <a:solidFill>
                    <a:srgbClr val="000000"/>
                  </a:solidFill>
                  <a:latin typeface="Arial" panose="020B0604020202020204" pitchFamily="34" charset="0"/>
                  <a:ea typeface="Lato Regular"/>
                  <a:cs typeface="Lato Regular"/>
                  <a:sym typeface="Arial" panose="020B0604020202020204" pitchFamily="34" charset="0"/>
                </a:defRPr>
              </a:lvl4pPr>
              <a:lvl5pPr marL="2057400" indent="-228600">
                <a:defRPr sz="3600">
                  <a:solidFill>
                    <a:srgbClr val="000000"/>
                  </a:solidFill>
                  <a:latin typeface="Arial" panose="020B0604020202020204" pitchFamily="34" charset="0"/>
                  <a:ea typeface="Lato Regular"/>
                  <a:cs typeface="Lato Regular"/>
                  <a:sym typeface="Arial" panose="020B0604020202020204" pitchFamily="34" charset="0"/>
                </a:defRPr>
              </a:lvl5pPr>
              <a:lvl6pPr marL="2514600" indent="-228600" defTabSz="2438400" eaLnBrk="0" fontAlgn="base" hangingPunct="0">
                <a:spcBef>
                  <a:spcPct val="0"/>
                </a:spcBef>
                <a:spcAft>
                  <a:spcPct val="0"/>
                </a:spcAft>
                <a:defRPr sz="3600">
                  <a:solidFill>
                    <a:srgbClr val="000000"/>
                  </a:solidFill>
                  <a:latin typeface="Arial" panose="020B0604020202020204" pitchFamily="34" charset="0"/>
                  <a:ea typeface="Lato Regular"/>
                  <a:cs typeface="Lato Regular"/>
                  <a:sym typeface="Arial" panose="020B0604020202020204" pitchFamily="34" charset="0"/>
                </a:defRPr>
              </a:lvl6pPr>
              <a:lvl7pPr marL="2971800" indent="-228600" defTabSz="2438400" eaLnBrk="0" fontAlgn="base" hangingPunct="0">
                <a:spcBef>
                  <a:spcPct val="0"/>
                </a:spcBef>
                <a:spcAft>
                  <a:spcPct val="0"/>
                </a:spcAft>
                <a:defRPr sz="3600">
                  <a:solidFill>
                    <a:srgbClr val="000000"/>
                  </a:solidFill>
                  <a:latin typeface="Arial" panose="020B0604020202020204" pitchFamily="34" charset="0"/>
                  <a:ea typeface="Lato Regular"/>
                  <a:cs typeface="Lato Regular"/>
                  <a:sym typeface="Arial" panose="020B0604020202020204" pitchFamily="34" charset="0"/>
                </a:defRPr>
              </a:lvl7pPr>
              <a:lvl8pPr marL="3429000" indent="-228600" defTabSz="2438400" eaLnBrk="0" fontAlgn="base" hangingPunct="0">
                <a:spcBef>
                  <a:spcPct val="0"/>
                </a:spcBef>
                <a:spcAft>
                  <a:spcPct val="0"/>
                </a:spcAft>
                <a:defRPr sz="3600">
                  <a:solidFill>
                    <a:srgbClr val="000000"/>
                  </a:solidFill>
                  <a:latin typeface="Arial" panose="020B0604020202020204" pitchFamily="34" charset="0"/>
                  <a:ea typeface="Lato Regular"/>
                  <a:cs typeface="Lato Regular"/>
                  <a:sym typeface="Arial" panose="020B0604020202020204" pitchFamily="34" charset="0"/>
                </a:defRPr>
              </a:lvl8pPr>
              <a:lvl9pPr marL="3886200" indent="-228600" defTabSz="2438400" eaLnBrk="0" fontAlgn="base" hangingPunct="0">
                <a:spcBef>
                  <a:spcPct val="0"/>
                </a:spcBef>
                <a:spcAft>
                  <a:spcPct val="0"/>
                </a:spcAft>
                <a:defRPr sz="3600">
                  <a:solidFill>
                    <a:srgbClr val="000000"/>
                  </a:solidFill>
                  <a:latin typeface="Arial" panose="020B0604020202020204" pitchFamily="34" charset="0"/>
                  <a:ea typeface="Lato Regular"/>
                  <a:cs typeface="Lato Regular"/>
                  <a:sym typeface="Arial" panose="020B0604020202020204" pitchFamily="34" charset="0"/>
                </a:defRPr>
              </a:lvl9pPr>
            </a:lstStyle>
            <a:p>
              <a:r>
                <a:rPr lang="en-US" altLang="en-US" sz="1800" dirty="0">
                  <a:solidFill>
                    <a:schemeClr val="bg1"/>
                  </a:solidFill>
                  <a:latin typeface="+mj-lt"/>
                </a:rPr>
                <a:t>OLT  :  V5848G </a:t>
              </a:r>
            </a:p>
            <a:p>
              <a:r>
                <a:rPr lang="en-US" altLang="en-US" sz="1800" dirty="0">
                  <a:solidFill>
                    <a:schemeClr val="bg1"/>
                  </a:solidFill>
                  <a:latin typeface="+mj-lt"/>
                </a:rPr>
                <a:t>ONT :   M1100, H650 Series</a:t>
              </a:r>
            </a:p>
          </p:txBody>
        </p:sp>
        <p:sp>
          <p:nvSpPr>
            <p:cNvPr id="11" name="TextBox 143">
              <a:extLst>
                <a:ext uri="{FF2B5EF4-FFF2-40B4-BE49-F238E27FC236}">
                  <a16:creationId xmlns:a16="http://schemas.microsoft.com/office/drawing/2014/main" id="{8F50325E-D59D-4FEC-A842-8E89CBF4824E}"/>
                </a:ext>
              </a:extLst>
            </p:cNvPr>
            <p:cNvSpPr txBox="1">
              <a:spLocks noChangeArrowheads="1"/>
            </p:cNvSpPr>
            <p:nvPr/>
          </p:nvSpPr>
          <p:spPr bwMode="auto">
            <a:xfrm>
              <a:off x="6347011" y="4599879"/>
              <a:ext cx="11657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rgbClr val="000000"/>
                  </a:solidFill>
                  <a:latin typeface="Arial" panose="020B0604020202020204" pitchFamily="34" charset="0"/>
                  <a:ea typeface="Lato Regular"/>
                  <a:cs typeface="Lato Regular"/>
                  <a:sym typeface="Arial" panose="020B0604020202020204" pitchFamily="34" charset="0"/>
                </a:defRPr>
              </a:lvl1pPr>
              <a:lvl2pPr marL="37931725" indent="-37474525">
                <a:defRPr sz="3600">
                  <a:solidFill>
                    <a:srgbClr val="000000"/>
                  </a:solidFill>
                  <a:latin typeface="Arial" panose="020B0604020202020204" pitchFamily="34" charset="0"/>
                  <a:ea typeface="Lato Regular"/>
                  <a:cs typeface="Lato Regular"/>
                  <a:sym typeface="Arial" panose="020B0604020202020204" pitchFamily="34" charset="0"/>
                </a:defRPr>
              </a:lvl2pPr>
              <a:lvl3pPr marL="1143000" indent="-228600">
                <a:defRPr sz="3600">
                  <a:solidFill>
                    <a:srgbClr val="000000"/>
                  </a:solidFill>
                  <a:latin typeface="Arial" panose="020B0604020202020204" pitchFamily="34" charset="0"/>
                  <a:ea typeface="Lato Regular"/>
                  <a:cs typeface="Lato Regular"/>
                  <a:sym typeface="Arial" panose="020B0604020202020204" pitchFamily="34" charset="0"/>
                </a:defRPr>
              </a:lvl3pPr>
              <a:lvl4pPr marL="1600200" indent="-228600">
                <a:defRPr sz="3600">
                  <a:solidFill>
                    <a:srgbClr val="000000"/>
                  </a:solidFill>
                  <a:latin typeface="Arial" panose="020B0604020202020204" pitchFamily="34" charset="0"/>
                  <a:ea typeface="Lato Regular"/>
                  <a:cs typeface="Lato Regular"/>
                  <a:sym typeface="Arial" panose="020B0604020202020204" pitchFamily="34" charset="0"/>
                </a:defRPr>
              </a:lvl4pPr>
              <a:lvl5pPr marL="2057400" indent="-228600">
                <a:defRPr sz="3600">
                  <a:solidFill>
                    <a:srgbClr val="000000"/>
                  </a:solidFill>
                  <a:latin typeface="Arial" panose="020B0604020202020204" pitchFamily="34" charset="0"/>
                  <a:ea typeface="Lato Regular"/>
                  <a:cs typeface="Lato Regular"/>
                  <a:sym typeface="Arial" panose="020B0604020202020204" pitchFamily="34" charset="0"/>
                </a:defRPr>
              </a:lvl5pPr>
              <a:lvl6pPr marL="2514600" indent="-228600" defTabSz="2438400" eaLnBrk="0" fontAlgn="base" hangingPunct="0">
                <a:spcBef>
                  <a:spcPct val="0"/>
                </a:spcBef>
                <a:spcAft>
                  <a:spcPct val="0"/>
                </a:spcAft>
                <a:defRPr sz="3600">
                  <a:solidFill>
                    <a:srgbClr val="000000"/>
                  </a:solidFill>
                  <a:latin typeface="Arial" panose="020B0604020202020204" pitchFamily="34" charset="0"/>
                  <a:ea typeface="Lato Regular"/>
                  <a:cs typeface="Lato Regular"/>
                  <a:sym typeface="Arial" panose="020B0604020202020204" pitchFamily="34" charset="0"/>
                </a:defRPr>
              </a:lvl6pPr>
              <a:lvl7pPr marL="2971800" indent="-228600" defTabSz="2438400" eaLnBrk="0" fontAlgn="base" hangingPunct="0">
                <a:spcBef>
                  <a:spcPct val="0"/>
                </a:spcBef>
                <a:spcAft>
                  <a:spcPct val="0"/>
                </a:spcAft>
                <a:defRPr sz="3600">
                  <a:solidFill>
                    <a:srgbClr val="000000"/>
                  </a:solidFill>
                  <a:latin typeface="Arial" panose="020B0604020202020204" pitchFamily="34" charset="0"/>
                  <a:ea typeface="Lato Regular"/>
                  <a:cs typeface="Lato Regular"/>
                  <a:sym typeface="Arial" panose="020B0604020202020204" pitchFamily="34" charset="0"/>
                </a:defRPr>
              </a:lvl7pPr>
              <a:lvl8pPr marL="3429000" indent="-228600" defTabSz="2438400" eaLnBrk="0" fontAlgn="base" hangingPunct="0">
                <a:spcBef>
                  <a:spcPct val="0"/>
                </a:spcBef>
                <a:spcAft>
                  <a:spcPct val="0"/>
                </a:spcAft>
                <a:defRPr sz="3600">
                  <a:solidFill>
                    <a:srgbClr val="000000"/>
                  </a:solidFill>
                  <a:latin typeface="Arial" panose="020B0604020202020204" pitchFamily="34" charset="0"/>
                  <a:ea typeface="Lato Regular"/>
                  <a:cs typeface="Lato Regular"/>
                  <a:sym typeface="Arial" panose="020B0604020202020204" pitchFamily="34" charset="0"/>
                </a:defRPr>
              </a:lvl8pPr>
              <a:lvl9pPr marL="3886200" indent="-228600" defTabSz="2438400" eaLnBrk="0" fontAlgn="base" hangingPunct="0">
                <a:spcBef>
                  <a:spcPct val="0"/>
                </a:spcBef>
                <a:spcAft>
                  <a:spcPct val="0"/>
                </a:spcAft>
                <a:defRPr sz="3600">
                  <a:solidFill>
                    <a:srgbClr val="000000"/>
                  </a:solidFill>
                  <a:latin typeface="Arial" panose="020B0604020202020204" pitchFamily="34" charset="0"/>
                  <a:ea typeface="Lato Regular"/>
                  <a:cs typeface="Lato Regular"/>
                  <a:sym typeface="Arial" panose="020B0604020202020204" pitchFamily="34" charset="0"/>
                </a:defRPr>
              </a:lvl9pPr>
            </a:lstStyle>
            <a:p>
              <a:r>
                <a:rPr lang="en-US" altLang="en-US" sz="1800" b="1" dirty="0">
                  <a:solidFill>
                    <a:schemeClr val="bg1"/>
                  </a:solidFill>
                  <a:latin typeface="+mj-lt"/>
                </a:rPr>
                <a:t>Products:</a:t>
              </a:r>
            </a:p>
          </p:txBody>
        </p:sp>
      </p:grpSp>
      <p:pic>
        <p:nvPicPr>
          <p:cNvPr id="15" name="Pictur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6896" y="246807"/>
            <a:ext cx="3508513" cy="601710"/>
          </a:xfrm>
          <a:prstGeom prst="rect">
            <a:avLst/>
          </a:prstGeom>
        </p:spPr>
      </p:pic>
      <p:sp>
        <p:nvSpPr>
          <p:cNvPr id="16" name="Text Placeholder 2">
            <a:extLst>
              <a:ext uri="{FF2B5EF4-FFF2-40B4-BE49-F238E27FC236}">
                <a16:creationId xmlns:a16="http://schemas.microsoft.com/office/drawing/2014/main" id="{7B4BC203-B80B-DA42-9E4A-BB1C4F91F8A7}"/>
              </a:ext>
            </a:extLst>
          </p:cNvPr>
          <p:cNvSpPr txBox="1">
            <a:spLocks/>
          </p:cNvSpPr>
          <p:nvPr/>
        </p:nvSpPr>
        <p:spPr>
          <a:xfrm>
            <a:off x="5520339" y="298425"/>
            <a:ext cx="5027920" cy="49847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t>Customer Example</a:t>
            </a:r>
          </a:p>
        </p:txBody>
      </p:sp>
    </p:spTree>
    <p:extLst>
      <p:ext uri="{BB962C8B-B14F-4D97-AF65-F5344CB8AC3E}">
        <p14:creationId xmlns:p14="http://schemas.microsoft.com/office/powerpoint/2010/main" val="19636919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6122502" y="1155916"/>
            <a:ext cx="3737115" cy="3786302"/>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0" name="Table 99"/>
          <p:cNvGraphicFramePr>
            <a:graphicFrameLocks noGrp="1"/>
          </p:cNvGraphicFramePr>
          <p:nvPr>
            <p:extLst/>
          </p:nvPr>
        </p:nvGraphicFramePr>
        <p:xfrm>
          <a:off x="9931951" y="1155918"/>
          <a:ext cx="1993348" cy="3786300"/>
        </p:xfrm>
        <a:graphic>
          <a:graphicData uri="http://schemas.openxmlformats.org/drawingml/2006/table">
            <a:tbl>
              <a:tblPr firstRow="1" bandRow="1">
                <a:tableStyleId>{5C22544A-7EE6-4342-B048-85BDC9FD1C3A}</a:tableStyleId>
              </a:tblPr>
              <a:tblGrid>
                <a:gridCol w="1993348">
                  <a:extLst>
                    <a:ext uri="{9D8B030D-6E8A-4147-A177-3AD203B41FA5}">
                      <a16:colId xmlns:a16="http://schemas.microsoft.com/office/drawing/2014/main" val="1234319099"/>
                    </a:ext>
                  </a:extLst>
                </a:gridCol>
              </a:tblGrid>
              <a:tr h="757260">
                <a:tc>
                  <a:txBody>
                    <a:bodyPr/>
                    <a:lstStyle/>
                    <a:p>
                      <a:endParaRPr lang="en-US"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1704924"/>
                  </a:ext>
                </a:extLst>
              </a:tr>
              <a:tr h="757260">
                <a:tc>
                  <a:txBody>
                    <a:bodyPr/>
                    <a:lstStyle/>
                    <a:p>
                      <a:endParaRPr lang="en-US"/>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2578356"/>
                  </a:ext>
                </a:extLst>
              </a:tr>
              <a:tr h="757260">
                <a:tc>
                  <a:txBody>
                    <a:bodyPr/>
                    <a:lstStyle/>
                    <a:p>
                      <a:endParaRPr lang="en-US"/>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4819427"/>
                  </a:ext>
                </a:extLst>
              </a:tr>
              <a:tr h="757260">
                <a:tc>
                  <a:txBody>
                    <a:bodyPr/>
                    <a:lstStyle/>
                    <a:p>
                      <a:endParaRPr lang="en-US"/>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5656691"/>
                  </a:ext>
                </a:extLst>
              </a:tr>
              <a:tr h="757260">
                <a:tc>
                  <a:txBody>
                    <a:bodyPr/>
                    <a:lstStyle/>
                    <a:p>
                      <a:endParaRPr lang="en-US"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0845373"/>
                  </a:ext>
                </a:extLst>
              </a:tr>
            </a:tbl>
          </a:graphicData>
        </a:graphic>
      </p:graphicFrame>
      <p:sp>
        <p:nvSpPr>
          <p:cNvPr id="59" name="Rectangle 58"/>
          <p:cNvSpPr>
            <a:spLocks noChangeAspect="1"/>
          </p:cNvSpPr>
          <p:nvPr/>
        </p:nvSpPr>
        <p:spPr>
          <a:xfrm>
            <a:off x="6122502" y="5018002"/>
            <a:ext cx="5802797" cy="9825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Placeholder 55"/>
          <p:cNvPicPr>
            <a:picLocks noGrp="1" noChangeAspect="1"/>
          </p:cNvPicPr>
          <p:nvPr>
            <p:ph type="pic" sz="quarter" idx="19"/>
          </p:nvPr>
        </p:nvPicPr>
        <p:blipFill rotWithShape="1">
          <a:blip r:embed="rId2" cstate="screen">
            <a:extLst>
              <a:ext uri="{28A0092B-C50C-407E-A947-70E740481C1C}">
                <a14:useLocalDpi xmlns:a14="http://schemas.microsoft.com/office/drawing/2010/main"/>
              </a:ext>
            </a:extLst>
          </a:blip>
          <a:srcRect/>
          <a:stretch/>
        </p:blipFill>
        <p:spPr>
          <a:xfrm>
            <a:off x="2234646" y="1155916"/>
            <a:ext cx="3823254" cy="4844648"/>
          </a:xfrm>
        </p:spPr>
      </p:pic>
      <p:pic>
        <p:nvPicPr>
          <p:cNvPr id="44" name="Picture Placeholder 43"/>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a:stretch>
            <a:fillRect/>
          </a:stretch>
        </p:blipFill>
        <p:spPr/>
      </p:pic>
      <p:pic>
        <p:nvPicPr>
          <p:cNvPr id="35" name="Picture Placeholder 34"/>
          <p:cNvPicPr>
            <a:picLocks noGrp="1" noChangeAspect="1"/>
          </p:cNvPicPr>
          <p:nvPr>
            <p:ph type="pic" sz="quarter" idx="14"/>
          </p:nvPr>
        </p:nvPicPr>
        <p:blipFill rotWithShape="1">
          <a:blip r:embed="rId4" cstate="screen">
            <a:extLst>
              <a:ext uri="{28A0092B-C50C-407E-A947-70E740481C1C}">
                <a14:useLocalDpi xmlns:a14="http://schemas.microsoft.com/office/drawing/2010/main"/>
              </a:ext>
            </a:extLst>
          </a:blip>
          <a:srcRect/>
          <a:stretch/>
        </p:blipFill>
        <p:spPr/>
      </p:pic>
      <p:pic>
        <p:nvPicPr>
          <p:cNvPr id="42" name="Picture Placeholder 41"/>
          <p:cNvPicPr>
            <a:picLocks noGrp="1" noChangeAspect="1"/>
          </p:cNvPicPr>
          <p:nvPr>
            <p:ph type="pic" sz="quarter" idx="15"/>
          </p:nvPr>
        </p:nvPicPr>
        <p:blipFill>
          <a:blip r:embed="rId5" cstate="screen">
            <a:extLst>
              <a:ext uri="{28A0092B-C50C-407E-A947-70E740481C1C}">
                <a14:useLocalDpi xmlns:a14="http://schemas.microsoft.com/office/drawing/2010/main"/>
              </a:ext>
            </a:extLst>
          </a:blip>
          <a:srcRect/>
          <a:stretch>
            <a:fillRect/>
          </a:stretch>
        </p:blipFill>
        <p:spPr/>
      </p:pic>
      <p:pic>
        <p:nvPicPr>
          <p:cNvPr id="46" name="Picture Placeholder 45"/>
          <p:cNvPicPr>
            <a:picLocks noGrp="1" noChangeAspect="1"/>
          </p:cNvPicPr>
          <p:nvPr>
            <p:ph type="pic" sz="quarter" idx="16"/>
          </p:nvPr>
        </p:nvPicPr>
        <p:blipFill rotWithShape="1">
          <a:blip r:embed="rId6" cstate="screen">
            <a:extLst>
              <a:ext uri="{28A0092B-C50C-407E-A947-70E740481C1C}">
                <a14:useLocalDpi xmlns:a14="http://schemas.microsoft.com/office/drawing/2010/main"/>
              </a:ext>
            </a:extLst>
          </a:blip>
          <a:srcRect/>
          <a:stretch/>
        </p:blipFill>
        <p:spPr/>
      </p:pic>
      <p:pic>
        <p:nvPicPr>
          <p:cNvPr id="38" name="Picture Placeholder 37"/>
          <p:cNvPicPr>
            <a:picLocks noGrp="1" noChangeAspect="1"/>
          </p:cNvPicPr>
          <p:nvPr>
            <p:ph type="pic" sz="quarter" idx="17"/>
          </p:nvPr>
        </p:nvPicPr>
        <p:blipFill rotWithShape="1">
          <a:blip r:embed="rId7" cstate="screen">
            <a:extLst>
              <a:ext uri="{28A0092B-C50C-407E-A947-70E740481C1C}">
                <a14:useLocalDpi xmlns:a14="http://schemas.microsoft.com/office/drawing/2010/main"/>
              </a:ext>
            </a:extLst>
          </a:blip>
          <a:srcRect/>
          <a:stretch/>
        </p:blipFill>
        <p:spPr/>
      </p:pic>
      <p:sp>
        <p:nvSpPr>
          <p:cNvPr id="3" name="Text Placeholder 2"/>
          <p:cNvSpPr>
            <a:spLocks noGrp="1"/>
          </p:cNvSpPr>
          <p:nvPr>
            <p:ph type="body" sz="quarter" idx="13"/>
          </p:nvPr>
        </p:nvSpPr>
        <p:spPr/>
        <p:txBody>
          <a:bodyPr/>
          <a:lstStyle/>
          <a:p>
            <a:r>
              <a:rPr lang="en-US" dirty="0"/>
              <a:t>Solution Example </a:t>
            </a:r>
            <a:r>
              <a:rPr lang="en-US" b="0" dirty="0"/>
              <a:t>(with min font size)</a:t>
            </a:r>
          </a:p>
        </p:txBody>
      </p:sp>
      <p:grpSp>
        <p:nvGrpSpPr>
          <p:cNvPr id="5" name="Group 4"/>
          <p:cNvGrpSpPr>
            <a:grpSpLocks noChangeAspect="1"/>
          </p:cNvGrpSpPr>
          <p:nvPr/>
        </p:nvGrpSpPr>
        <p:grpSpPr bwMode="auto">
          <a:xfrm>
            <a:off x="6347011" y="1155916"/>
            <a:ext cx="3319941" cy="3321878"/>
            <a:chOff x="4101" y="-2"/>
            <a:chExt cx="1714" cy="1715"/>
          </a:xfrm>
        </p:grpSpPr>
        <p:sp>
          <p:nvSpPr>
            <p:cNvPr id="7" name="Freeform 5"/>
            <p:cNvSpPr>
              <a:spLocks/>
            </p:cNvSpPr>
            <p:nvPr/>
          </p:nvSpPr>
          <p:spPr bwMode="auto">
            <a:xfrm>
              <a:off x="5004" y="0"/>
              <a:ext cx="811" cy="982"/>
            </a:xfrm>
            <a:custGeom>
              <a:avLst/>
              <a:gdLst>
                <a:gd name="T0" fmla="*/ 0 w 539"/>
                <a:gd name="T1" fmla="*/ 322 h 652"/>
                <a:gd name="T2" fmla="*/ 218 w 539"/>
                <a:gd name="T3" fmla="*/ 564 h 652"/>
                <a:gd name="T4" fmla="*/ 379 w 539"/>
                <a:gd name="T5" fmla="*/ 652 h 652"/>
                <a:gd name="T6" fmla="*/ 539 w 539"/>
                <a:gd name="T7" fmla="*/ 564 h 652"/>
                <a:gd name="T8" fmla="*/ 2 w 539"/>
                <a:gd name="T9" fmla="*/ 0 h 652"/>
                <a:gd name="T10" fmla="*/ 89 w 539"/>
                <a:gd name="T11" fmla="*/ 158 h 652"/>
                <a:gd name="T12" fmla="*/ 0 w 539"/>
                <a:gd name="T13" fmla="*/ 322 h 652"/>
              </a:gdLst>
              <a:ahLst/>
              <a:cxnLst>
                <a:cxn ang="0">
                  <a:pos x="T0" y="T1"/>
                </a:cxn>
                <a:cxn ang="0">
                  <a:pos x="T2" y="T3"/>
                </a:cxn>
                <a:cxn ang="0">
                  <a:pos x="T4" y="T5"/>
                </a:cxn>
                <a:cxn ang="0">
                  <a:pos x="T6" y="T7"/>
                </a:cxn>
                <a:cxn ang="0">
                  <a:pos x="T8" y="T9"/>
                </a:cxn>
                <a:cxn ang="0">
                  <a:pos x="T10" y="T11"/>
                </a:cxn>
                <a:cxn ang="0">
                  <a:pos x="T12" y="T13"/>
                </a:cxn>
              </a:cxnLst>
              <a:rect l="0" t="0" r="r" b="b"/>
              <a:pathLst>
                <a:path w="539" h="652">
                  <a:moveTo>
                    <a:pt x="0" y="322"/>
                  </a:moveTo>
                  <a:cubicBezTo>
                    <a:pt x="122" y="337"/>
                    <a:pt x="216" y="439"/>
                    <a:pt x="218" y="564"/>
                  </a:cubicBezTo>
                  <a:cubicBezTo>
                    <a:pt x="379" y="652"/>
                    <a:pt x="379" y="652"/>
                    <a:pt x="379" y="652"/>
                  </a:cubicBezTo>
                  <a:cubicBezTo>
                    <a:pt x="539" y="564"/>
                    <a:pt x="539" y="564"/>
                    <a:pt x="539" y="564"/>
                  </a:cubicBezTo>
                  <a:cubicBezTo>
                    <a:pt x="536" y="263"/>
                    <a:pt x="300" y="17"/>
                    <a:pt x="2" y="0"/>
                  </a:cubicBezTo>
                  <a:cubicBezTo>
                    <a:pt x="89" y="158"/>
                    <a:pt x="89" y="158"/>
                    <a:pt x="89" y="158"/>
                  </a:cubicBezTo>
                  <a:lnTo>
                    <a:pt x="0" y="32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4101" y="-2"/>
              <a:ext cx="982" cy="812"/>
            </a:xfrm>
            <a:custGeom>
              <a:avLst/>
              <a:gdLst>
                <a:gd name="T0" fmla="*/ 322 w 652"/>
                <a:gd name="T1" fmla="*/ 539 h 539"/>
                <a:gd name="T2" fmla="*/ 564 w 652"/>
                <a:gd name="T3" fmla="*/ 321 h 539"/>
                <a:gd name="T4" fmla="*/ 652 w 652"/>
                <a:gd name="T5" fmla="*/ 160 h 539"/>
                <a:gd name="T6" fmla="*/ 564 w 652"/>
                <a:gd name="T7" fmla="*/ 0 h 539"/>
                <a:gd name="T8" fmla="*/ 0 w 652"/>
                <a:gd name="T9" fmla="*/ 537 h 539"/>
                <a:gd name="T10" fmla="*/ 159 w 652"/>
                <a:gd name="T11" fmla="*/ 450 h 539"/>
                <a:gd name="T12" fmla="*/ 322 w 652"/>
                <a:gd name="T13" fmla="*/ 539 h 539"/>
              </a:gdLst>
              <a:ahLst/>
              <a:cxnLst>
                <a:cxn ang="0">
                  <a:pos x="T0" y="T1"/>
                </a:cxn>
                <a:cxn ang="0">
                  <a:pos x="T2" y="T3"/>
                </a:cxn>
                <a:cxn ang="0">
                  <a:pos x="T4" y="T5"/>
                </a:cxn>
                <a:cxn ang="0">
                  <a:pos x="T6" y="T7"/>
                </a:cxn>
                <a:cxn ang="0">
                  <a:pos x="T8" y="T9"/>
                </a:cxn>
                <a:cxn ang="0">
                  <a:pos x="T10" y="T11"/>
                </a:cxn>
                <a:cxn ang="0">
                  <a:pos x="T12" y="T13"/>
                </a:cxn>
              </a:cxnLst>
              <a:rect l="0" t="0" r="r" b="b"/>
              <a:pathLst>
                <a:path w="652" h="539">
                  <a:moveTo>
                    <a:pt x="322" y="539"/>
                  </a:moveTo>
                  <a:cubicBezTo>
                    <a:pt x="337" y="417"/>
                    <a:pt x="439" y="323"/>
                    <a:pt x="564" y="321"/>
                  </a:cubicBezTo>
                  <a:cubicBezTo>
                    <a:pt x="652" y="160"/>
                    <a:pt x="652" y="160"/>
                    <a:pt x="652" y="160"/>
                  </a:cubicBezTo>
                  <a:cubicBezTo>
                    <a:pt x="564" y="0"/>
                    <a:pt x="564" y="0"/>
                    <a:pt x="564" y="0"/>
                  </a:cubicBezTo>
                  <a:cubicBezTo>
                    <a:pt x="263" y="3"/>
                    <a:pt x="17" y="239"/>
                    <a:pt x="0" y="537"/>
                  </a:cubicBezTo>
                  <a:cubicBezTo>
                    <a:pt x="159" y="450"/>
                    <a:pt x="159" y="450"/>
                    <a:pt x="159" y="450"/>
                  </a:cubicBezTo>
                  <a:lnTo>
                    <a:pt x="322" y="5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4832" y="902"/>
              <a:ext cx="982" cy="811"/>
            </a:xfrm>
            <a:custGeom>
              <a:avLst/>
              <a:gdLst>
                <a:gd name="T0" fmla="*/ 652 w 652"/>
                <a:gd name="T1" fmla="*/ 2 h 538"/>
                <a:gd name="T2" fmla="*/ 494 w 652"/>
                <a:gd name="T3" fmla="*/ 89 h 538"/>
                <a:gd name="T4" fmla="*/ 330 w 652"/>
                <a:gd name="T5" fmla="*/ 0 h 538"/>
                <a:gd name="T6" fmla="*/ 88 w 652"/>
                <a:gd name="T7" fmla="*/ 218 h 538"/>
                <a:gd name="T8" fmla="*/ 0 w 652"/>
                <a:gd name="T9" fmla="*/ 379 h 538"/>
                <a:gd name="T10" fmla="*/ 88 w 652"/>
                <a:gd name="T11" fmla="*/ 538 h 538"/>
                <a:gd name="T12" fmla="*/ 652 w 652"/>
                <a:gd name="T13" fmla="*/ 2 h 538"/>
              </a:gdLst>
              <a:ahLst/>
              <a:cxnLst>
                <a:cxn ang="0">
                  <a:pos x="T0" y="T1"/>
                </a:cxn>
                <a:cxn ang="0">
                  <a:pos x="T2" y="T3"/>
                </a:cxn>
                <a:cxn ang="0">
                  <a:pos x="T4" y="T5"/>
                </a:cxn>
                <a:cxn ang="0">
                  <a:pos x="T6" y="T7"/>
                </a:cxn>
                <a:cxn ang="0">
                  <a:pos x="T8" y="T9"/>
                </a:cxn>
                <a:cxn ang="0">
                  <a:pos x="T10" y="T11"/>
                </a:cxn>
                <a:cxn ang="0">
                  <a:pos x="T12" y="T13"/>
                </a:cxn>
              </a:cxnLst>
              <a:rect l="0" t="0" r="r" b="b"/>
              <a:pathLst>
                <a:path w="652" h="538">
                  <a:moveTo>
                    <a:pt x="652" y="2"/>
                  </a:moveTo>
                  <a:cubicBezTo>
                    <a:pt x="494" y="89"/>
                    <a:pt x="494" y="89"/>
                    <a:pt x="494" y="89"/>
                  </a:cubicBezTo>
                  <a:cubicBezTo>
                    <a:pt x="330" y="0"/>
                    <a:pt x="330" y="0"/>
                    <a:pt x="330" y="0"/>
                  </a:cubicBezTo>
                  <a:cubicBezTo>
                    <a:pt x="315" y="122"/>
                    <a:pt x="213" y="216"/>
                    <a:pt x="88" y="218"/>
                  </a:cubicBezTo>
                  <a:cubicBezTo>
                    <a:pt x="0" y="379"/>
                    <a:pt x="0" y="379"/>
                    <a:pt x="0" y="379"/>
                  </a:cubicBezTo>
                  <a:cubicBezTo>
                    <a:pt x="88" y="538"/>
                    <a:pt x="88" y="538"/>
                    <a:pt x="88" y="538"/>
                  </a:cubicBezTo>
                  <a:cubicBezTo>
                    <a:pt x="389" y="536"/>
                    <a:pt x="635" y="300"/>
                    <a:pt x="652" y="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4101" y="731"/>
              <a:ext cx="811" cy="982"/>
            </a:xfrm>
            <a:custGeom>
              <a:avLst/>
              <a:gdLst>
                <a:gd name="T0" fmla="*/ 538 w 538"/>
                <a:gd name="T1" fmla="*/ 330 h 652"/>
                <a:gd name="T2" fmla="*/ 320 w 538"/>
                <a:gd name="T3" fmla="*/ 88 h 652"/>
                <a:gd name="T4" fmla="*/ 159 w 538"/>
                <a:gd name="T5" fmla="*/ 0 h 652"/>
                <a:gd name="T6" fmla="*/ 0 w 538"/>
                <a:gd name="T7" fmla="*/ 88 h 652"/>
                <a:gd name="T8" fmla="*/ 536 w 538"/>
                <a:gd name="T9" fmla="*/ 652 h 652"/>
                <a:gd name="T10" fmla="*/ 449 w 538"/>
                <a:gd name="T11" fmla="*/ 493 h 652"/>
                <a:gd name="T12" fmla="*/ 538 w 538"/>
                <a:gd name="T13" fmla="*/ 330 h 652"/>
              </a:gdLst>
              <a:ahLst/>
              <a:cxnLst>
                <a:cxn ang="0">
                  <a:pos x="T0" y="T1"/>
                </a:cxn>
                <a:cxn ang="0">
                  <a:pos x="T2" y="T3"/>
                </a:cxn>
                <a:cxn ang="0">
                  <a:pos x="T4" y="T5"/>
                </a:cxn>
                <a:cxn ang="0">
                  <a:pos x="T6" y="T7"/>
                </a:cxn>
                <a:cxn ang="0">
                  <a:pos x="T8" y="T9"/>
                </a:cxn>
                <a:cxn ang="0">
                  <a:pos x="T10" y="T11"/>
                </a:cxn>
                <a:cxn ang="0">
                  <a:pos x="T12" y="T13"/>
                </a:cxn>
              </a:cxnLst>
              <a:rect l="0" t="0" r="r" b="b"/>
              <a:pathLst>
                <a:path w="538" h="652">
                  <a:moveTo>
                    <a:pt x="538" y="330"/>
                  </a:moveTo>
                  <a:cubicBezTo>
                    <a:pt x="416" y="315"/>
                    <a:pt x="322" y="213"/>
                    <a:pt x="320" y="88"/>
                  </a:cubicBezTo>
                  <a:cubicBezTo>
                    <a:pt x="159" y="0"/>
                    <a:pt x="159" y="0"/>
                    <a:pt x="159" y="0"/>
                  </a:cubicBezTo>
                  <a:cubicBezTo>
                    <a:pt x="0" y="88"/>
                    <a:pt x="0" y="88"/>
                    <a:pt x="0" y="88"/>
                  </a:cubicBezTo>
                  <a:cubicBezTo>
                    <a:pt x="2" y="389"/>
                    <a:pt x="238" y="635"/>
                    <a:pt x="536" y="652"/>
                  </a:cubicBezTo>
                  <a:cubicBezTo>
                    <a:pt x="449" y="493"/>
                    <a:pt x="449" y="493"/>
                    <a:pt x="449" y="493"/>
                  </a:cubicBezTo>
                  <a:lnTo>
                    <a:pt x="538" y="33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Rectangle 19"/>
          <p:cNvSpPr>
            <a:spLocks noChangeAspect="1"/>
          </p:cNvSpPr>
          <p:nvPr/>
        </p:nvSpPr>
        <p:spPr>
          <a:xfrm>
            <a:off x="266700" y="2138478"/>
            <a:ext cx="9144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a:spLocks noChangeAspect="1"/>
          </p:cNvSpPr>
          <p:nvPr/>
        </p:nvSpPr>
        <p:spPr>
          <a:xfrm>
            <a:off x="266700" y="4103602"/>
            <a:ext cx="914400" cy="91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a:spLocks noChangeAspect="1"/>
          </p:cNvSpPr>
          <p:nvPr/>
        </p:nvSpPr>
        <p:spPr>
          <a:xfrm>
            <a:off x="1250673" y="1155916"/>
            <a:ext cx="9144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a:spLocks noChangeAspect="1"/>
          </p:cNvSpPr>
          <p:nvPr/>
        </p:nvSpPr>
        <p:spPr>
          <a:xfrm>
            <a:off x="1250673" y="3121040"/>
            <a:ext cx="914400"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a:spLocks noChangeAspect="1"/>
          </p:cNvSpPr>
          <p:nvPr/>
        </p:nvSpPr>
        <p:spPr>
          <a:xfrm>
            <a:off x="1250673" y="5086164"/>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137">
            <a:extLst>
              <a:ext uri="{FF2B5EF4-FFF2-40B4-BE49-F238E27FC236}">
                <a16:creationId xmlns:a16="http://schemas.microsoft.com/office/drawing/2014/main" id="{01B0C981-28A3-4CAE-A77E-576E35C4BD77}"/>
              </a:ext>
            </a:extLst>
          </p:cNvPr>
          <p:cNvSpPr txBox="1">
            <a:spLocks noChangeArrowheads="1"/>
          </p:cNvSpPr>
          <p:nvPr/>
        </p:nvSpPr>
        <p:spPr bwMode="auto">
          <a:xfrm>
            <a:off x="1284433" y="1397673"/>
            <a:ext cx="84688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1pPr>
            <a:lvl2pPr marL="37931725" indent="-37474525">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2pPr>
            <a:lvl3pPr marL="11430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3pPr>
            <a:lvl4pPr marL="16002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4pPr>
            <a:lvl5pPr marL="20574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5pPr>
            <a:lvl6pPr marL="25146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6pPr>
            <a:lvl7pPr marL="29718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7pPr>
            <a:lvl8pPr marL="34290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8pPr>
            <a:lvl9pPr marL="38862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9pPr>
          </a:lstStyle>
          <a:p>
            <a:pPr algn="ctr" defTabSz="1219200" eaLnBrk="0" fontAlgn="base" hangingPunct="0">
              <a:lnSpc>
                <a:spcPct val="100000"/>
              </a:lnSpc>
              <a:spcBef>
                <a:spcPct val="0"/>
              </a:spcBef>
              <a:spcAft>
                <a:spcPct val="0"/>
              </a:spcAft>
            </a:pPr>
            <a:r>
              <a:rPr lang="en-US" altLang="en-US" sz="1100" b="1" dirty="0">
                <a:solidFill>
                  <a:schemeClr val="bg1"/>
                </a:solidFill>
                <a:latin typeface="+mj-lt"/>
                <a:sym typeface="Arial" panose="020B0604020202020204" pitchFamily="34" charset="0"/>
              </a:rPr>
              <a:t>Security Cameras</a:t>
            </a:r>
          </a:p>
        </p:txBody>
      </p:sp>
      <p:sp>
        <p:nvSpPr>
          <p:cNvPr id="37" name="TextBox 137">
            <a:extLst>
              <a:ext uri="{FF2B5EF4-FFF2-40B4-BE49-F238E27FC236}">
                <a16:creationId xmlns:a16="http://schemas.microsoft.com/office/drawing/2014/main" id="{01B0C981-28A3-4CAE-A77E-576E35C4BD77}"/>
              </a:ext>
            </a:extLst>
          </p:cNvPr>
          <p:cNvSpPr txBox="1">
            <a:spLocks noChangeArrowheads="1"/>
          </p:cNvSpPr>
          <p:nvPr/>
        </p:nvSpPr>
        <p:spPr bwMode="auto">
          <a:xfrm>
            <a:off x="300460" y="2295596"/>
            <a:ext cx="846881"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1pPr>
            <a:lvl2pPr marL="37931725" indent="-37474525">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2pPr>
            <a:lvl3pPr marL="11430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3pPr>
            <a:lvl4pPr marL="16002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4pPr>
            <a:lvl5pPr marL="20574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5pPr>
            <a:lvl6pPr marL="25146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6pPr>
            <a:lvl7pPr marL="29718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7pPr>
            <a:lvl8pPr marL="34290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8pPr>
            <a:lvl9pPr marL="38862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9pPr>
          </a:lstStyle>
          <a:p>
            <a:pPr algn="ctr" defTabSz="1219200" eaLnBrk="0" fontAlgn="base" hangingPunct="0">
              <a:lnSpc>
                <a:spcPct val="100000"/>
              </a:lnSpc>
              <a:spcBef>
                <a:spcPct val="0"/>
              </a:spcBef>
              <a:spcAft>
                <a:spcPct val="0"/>
              </a:spcAft>
            </a:pPr>
            <a:r>
              <a:rPr lang="en-US" altLang="en-US" sz="1100" b="1" dirty="0">
                <a:solidFill>
                  <a:schemeClr val="bg1"/>
                </a:solidFill>
                <a:latin typeface="+mj-lt"/>
                <a:sym typeface="Arial" panose="020B0604020202020204" pitchFamily="34" charset="0"/>
              </a:rPr>
              <a:t>Access Control / BMS</a:t>
            </a:r>
          </a:p>
        </p:txBody>
      </p:sp>
      <p:sp>
        <p:nvSpPr>
          <p:cNvPr id="40" name="TextBox 137">
            <a:extLst>
              <a:ext uri="{FF2B5EF4-FFF2-40B4-BE49-F238E27FC236}">
                <a16:creationId xmlns:a16="http://schemas.microsoft.com/office/drawing/2014/main" id="{01B0C981-28A3-4CAE-A77E-576E35C4BD77}"/>
              </a:ext>
            </a:extLst>
          </p:cNvPr>
          <p:cNvSpPr txBox="1">
            <a:spLocks noChangeArrowheads="1"/>
          </p:cNvSpPr>
          <p:nvPr/>
        </p:nvSpPr>
        <p:spPr bwMode="auto">
          <a:xfrm>
            <a:off x="1284433" y="3278158"/>
            <a:ext cx="846881"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1pPr>
            <a:lvl2pPr marL="37931725" indent="-37474525">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2pPr>
            <a:lvl3pPr marL="11430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3pPr>
            <a:lvl4pPr marL="16002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4pPr>
            <a:lvl5pPr marL="20574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5pPr>
            <a:lvl6pPr marL="25146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6pPr>
            <a:lvl7pPr marL="29718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7pPr>
            <a:lvl8pPr marL="34290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8pPr>
            <a:lvl9pPr marL="38862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9pPr>
          </a:lstStyle>
          <a:p>
            <a:pPr algn="ctr" defTabSz="1219200" eaLnBrk="0" fontAlgn="base" hangingPunct="0">
              <a:lnSpc>
                <a:spcPct val="100000"/>
              </a:lnSpc>
              <a:spcBef>
                <a:spcPct val="0"/>
              </a:spcBef>
              <a:spcAft>
                <a:spcPct val="0"/>
              </a:spcAft>
            </a:pPr>
            <a:r>
              <a:rPr lang="en-US" altLang="en-US" sz="1100" b="1" dirty="0">
                <a:solidFill>
                  <a:schemeClr val="tx2"/>
                </a:solidFill>
                <a:latin typeface="+mj-lt"/>
                <a:sym typeface="Arial" panose="020B0604020202020204" pitchFamily="34" charset="0"/>
              </a:rPr>
              <a:t>Hi Capacity Wi-Fi</a:t>
            </a:r>
          </a:p>
        </p:txBody>
      </p:sp>
      <p:sp>
        <p:nvSpPr>
          <p:cNvPr id="43" name="TextBox 137">
            <a:extLst>
              <a:ext uri="{FF2B5EF4-FFF2-40B4-BE49-F238E27FC236}">
                <a16:creationId xmlns:a16="http://schemas.microsoft.com/office/drawing/2014/main" id="{01B0C981-28A3-4CAE-A77E-576E35C4BD77}"/>
              </a:ext>
            </a:extLst>
          </p:cNvPr>
          <p:cNvSpPr txBox="1">
            <a:spLocks noChangeArrowheads="1"/>
          </p:cNvSpPr>
          <p:nvPr/>
        </p:nvSpPr>
        <p:spPr bwMode="auto">
          <a:xfrm>
            <a:off x="300460" y="4260720"/>
            <a:ext cx="846881"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1pPr>
            <a:lvl2pPr marL="37931725" indent="-37474525">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2pPr>
            <a:lvl3pPr marL="11430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3pPr>
            <a:lvl4pPr marL="16002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4pPr>
            <a:lvl5pPr marL="20574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5pPr>
            <a:lvl6pPr marL="25146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6pPr>
            <a:lvl7pPr marL="29718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7pPr>
            <a:lvl8pPr marL="34290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8pPr>
            <a:lvl9pPr marL="38862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9pPr>
          </a:lstStyle>
          <a:p>
            <a:pPr algn="ctr" defTabSz="1219200" eaLnBrk="0" fontAlgn="base" hangingPunct="0">
              <a:lnSpc>
                <a:spcPct val="100000"/>
              </a:lnSpc>
              <a:spcBef>
                <a:spcPct val="0"/>
              </a:spcBef>
              <a:spcAft>
                <a:spcPct val="0"/>
              </a:spcAft>
            </a:pPr>
            <a:r>
              <a:rPr lang="en-US" altLang="en-US" sz="1100" b="1" dirty="0">
                <a:solidFill>
                  <a:schemeClr val="bg1"/>
                </a:solidFill>
                <a:latin typeface="+mj-lt"/>
                <a:sym typeface="Arial" panose="020B0604020202020204" pitchFamily="34" charset="0"/>
              </a:rPr>
              <a:t>Access Control / BMS</a:t>
            </a:r>
          </a:p>
        </p:txBody>
      </p:sp>
      <p:sp>
        <p:nvSpPr>
          <p:cNvPr id="45" name="TextBox 137">
            <a:extLst>
              <a:ext uri="{FF2B5EF4-FFF2-40B4-BE49-F238E27FC236}">
                <a16:creationId xmlns:a16="http://schemas.microsoft.com/office/drawing/2014/main" id="{01B0C981-28A3-4CAE-A77E-576E35C4BD77}"/>
              </a:ext>
            </a:extLst>
          </p:cNvPr>
          <p:cNvSpPr txBox="1">
            <a:spLocks noChangeArrowheads="1"/>
          </p:cNvSpPr>
          <p:nvPr/>
        </p:nvSpPr>
        <p:spPr bwMode="auto">
          <a:xfrm>
            <a:off x="1284433" y="5412559"/>
            <a:ext cx="84688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1pPr>
            <a:lvl2pPr marL="37931725" indent="-37474525">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2pPr>
            <a:lvl3pPr marL="11430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3pPr>
            <a:lvl4pPr marL="16002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4pPr>
            <a:lvl5pPr marL="2057400" indent="-228600">
              <a:lnSpc>
                <a:spcPct val="115000"/>
              </a:lnSpc>
              <a:spcBef>
                <a:spcPts val="4200"/>
              </a:spcBef>
              <a:defRPr sz="3600">
                <a:solidFill>
                  <a:srgbClr val="595959"/>
                </a:solidFill>
                <a:latin typeface="Arial" panose="020B0604020202020204" pitchFamily="34" charset="0"/>
                <a:ea typeface="Lato Regular" charset="0"/>
                <a:cs typeface="Lato Regular" charset="0"/>
                <a:sym typeface="Lato Regular" charset="0"/>
              </a:defRPr>
            </a:lvl5pPr>
            <a:lvl6pPr marL="25146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6pPr>
            <a:lvl7pPr marL="29718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7pPr>
            <a:lvl8pPr marL="34290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8pPr>
            <a:lvl9pPr marL="3886200" indent="-228600" defTabSz="2438400" eaLnBrk="0" fontAlgn="base" hangingPunct="0">
              <a:lnSpc>
                <a:spcPct val="115000"/>
              </a:lnSpc>
              <a:spcBef>
                <a:spcPts val="4200"/>
              </a:spcBef>
              <a:spcAft>
                <a:spcPct val="0"/>
              </a:spcAft>
              <a:defRPr sz="3600">
                <a:solidFill>
                  <a:srgbClr val="595959"/>
                </a:solidFill>
                <a:latin typeface="Arial" panose="020B0604020202020204" pitchFamily="34" charset="0"/>
                <a:ea typeface="Lato Regular" charset="0"/>
                <a:cs typeface="Lato Regular" charset="0"/>
                <a:sym typeface="Lato Regular" charset="0"/>
              </a:defRPr>
            </a:lvl9pPr>
          </a:lstStyle>
          <a:p>
            <a:pPr algn="ctr" defTabSz="1219200" eaLnBrk="0" fontAlgn="base" hangingPunct="0">
              <a:lnSpc>
                <a:spcPct val="100000"/>
              </a:lnSpc>
              <a:spcBef>
                <a:spcPct val="0"/>
              </a:spcBef>
              <a:spcAft>
                <a:spcPct val="0"/>
              </a:spcAft>
            </a:pPr>
            <a:r>
              <a:rPr lang="en-US" altLang="en-US" sz="1100" b="1" dirty="0">
                <a:solidFill>
                  <a:schemeClr val="bg1"/>
                </a:solidFill>
                <a:latin typeface="+mj-lt"/>
                <a:sym typeface="Arial" panose="020B0604020202020204" pitchFamily="34" charset="0"/>
              </a:rPr>
              <a:t>TV, Video</a:t>
            </a:r>
          </a:p>
        </p:txBody>
      </p:sp>
      <p:sp>
        <p:nvSpPr>
          <p:cNvPr id="58" name="TextBox 57">
            <a:extLst>
              <a:ext uri="{FF2B5EF4-FFF2-40B4-BE49-F238E27FC236}">
                <a16:creationId xmlns:a16="http://schemas.microsoft.com/office/drawing/2014/main" id="{13589FC2-08C2-45D4-8EAD-2DFE3CF2C1C2}"/>
              </a:ext>
            </a:extLst>
          </p:cNvPr>
          <p:cNvSpPr txBox="1"/>
          <p:nvPr/>
        </p:nvSpPr>
        <p:spPr>
          <a:xfrm>
            <a:off x="6347011" y="5093785"/>
            <a:ext cx="5562600" cy="830997"/>
          </a:xfrm>
          <a:prstGeom prst="rect">
            <a:avLst/>
          </a:prstGeom>
          <a:noFill/>
        </p:spPr>
        <p:txBody>
          <a:bodyPr wrap="square" rtlCol="0">
            <a:spAutoFit/>
          </a:bodyPr>
          <a:lstStyle/>
          <a:p>
            <a:r>
              <a:rPr lang="en-US" altLang="en-US" sz="1600" dirty="0">
                <a:solidFill>
                  <a:schemeClr val="bg1"/>
                </a:solidFill>
                <a:latin typeface="Lato" panose="020F0502020204030203" pitchFamily="34" charset="0"/>
                <a:ea typeface="Lato" panose="020F0502020204030203" pitchFamily="34" charset="0"/>
                <a:cs typeface="Lato" panose="020F0502020204030203" pitchFamily="34" charset="0"/>
              </a:rPr>
              <a:t>“</a:t>
            </a:r>
            <a:r>
              <a:rPr lang="en-US" altLang="en-US" sz="1600" b="1" dirty="0">
                <a:solidFill>
                  <a:schemeClr val="bg1"/>
                </a:solidFill>
                <a:latin typeface="Lato" panose="020F0502020204030203" pitchFamily="34" charset="0"/>
                <a:ea typeface="Lato" panose="020F0502020204030203" pitchFamily="34" charset="0"/>
                <a:cs typeface="Lato" panose="020F0502020204030203" pitchFamily="34" charset="0"/>
              </a:rPr>
              <a:t>We needed a broadband network with screaming speeds.  DZS provided the key access solutions to make it happen.”</a:t>
            </a:r>
          </a:p>
          <a:p>
            <a:pPr marL="2225675" indent="-2225675"/>
            <a:r>
              <a:rPr lang="en-US" altLang="en-US" sz="1600" i="1" dirty="0">
                <a:solidFill>
                  <a:schemeClr val="bg1"/>
                </a:solidFill>
                <a:latin typeface="Lato" panose="020F0502020204030203" pitchFamily="34" charset="0"/>
                <a:ea typeface="Lato" panose="020F0502020204030203" pitchFamily="34" charset="0"/>
                <a:cs typeface="Lato" panose="020F0502020204030203" pitchFamily="34" charset="0"/>
              </a:rPr>
              <a:t>- </a:t>
            </a:r>
            <a:r>
              <a:rPr lang="en-US" altLang="en-US" sz="1200" i="1" dirty="0">
                <a:solidFill>
                  <a:schemeClr val="bg1"/>
                </a:solidFill>
                <a:latin typeface="Lato" panose="020F0502020204030203" pitchFamily="34" charset="0"/>
                <a:ea typeface="Lato" panose="020F0502020204030203" pitchFamily="34" charset="0"/>
                <a:cs typeface="Lato" panose="020F0502020204030203" pitchFamily="34" charset="0"/>
              </a:rPr>
              <a:t>Cheri Beranek, CEO and President, Clearfield, Inc.</a:t>
            </a:r>
            <a:endParaRPr lang="en-US" sz="1200"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61" name="TextBox 60"/>
          <p:cNvSpPr txBox="1"/>
          <p:nvPr/>
        </p:nvSpPr>
        <p:spPr>
          <a:xfrm>
            <a:off x="8427300" y="1885132"/>
            <a:ext cx="940612" cy="451406"/>
          </a:xfrm>
          <a:prstGeom prst="rect">
            <a:avLst/>
          </a:prstGeom>
          <a:noFill/>
        </p:spPr>
        <p:txBody>
          <a:bodyPr wrap="square" rtlCol="0">
            <a:spAutoFit/>
          </a:bodyPr>
          <a:lstStyle/>
          <a:p>
            <a:pPr algn="r">
              <a:lnSpc>
                <a:spcPts val="1400"/>
              </a:lnSpc>
            </a:pPr>
            <a:r>
              <a:rPr lang="en-US" sz="1400" b="1" dirty="0">
                <a:solidFill>
                  <a:schemeClr val="bg1"/>
                </a:solidFill>
              </a:rPr>
              <a:t>Free Up space</a:t>
            </a:r>
          </a:p>
        </p:txBody>
      </p:sp>
      <p:sp>
        <p:nvSpPr>
          <p:cNvPr id="62" name="TextBox 61"/>
          <p:cNvSpPr txBox="1"/>
          <p:nvPr/>
        </p:nvSpPr>
        <p:spPr>
          <a:xfrm>
            <a:off x="6733214" y="3395686"/>
            <a:ext cx="1027774" cy="451406"/>
          </a:xfrm>
          <a:prstGeom prst="rect">
            <a:avLst/>
          </a:prstGeom>
          <a:noFill/>
        </p:spPr>
        <p:txBody>
          <a:bodyPr wrap="square" rtlCol="0">
            <a:spAutoFit/>
          </a:bodyPr>
          <a:lstStyle/>
          <a:p>
            <a:pPr>
              <a:lnSpc>
                <a:spcPts val="1400"/>
              </a:lnSpc>
            </a:pPr>
            <a:r>
              <a:rPr lang="en-US" sz="1400" b="1" dirty="0">
                <a:solidFill>
                  <a:schemeClr val="bg1"/>
                </a:solidFill>
              </a:rPr>
              <a:t>Future Proof</a:t>
            </a:r>
          </a:p>
        </p:txBody>
      </p:sp>
      <p:sp>
        <p:nvSpPr>
          <p:cNvPr id="63" name="TextBox 62"/>
          <p:cNvSpPr txBox="1"/>
          <p:nvPr/>
        </p:nvSpPr>
        <p:spPr>
          <a:xfrm>
            <a:off x="7882469" y="3434353"/>
            <a:ext cx="1450030" cy="451406"/>
          </a:xfrm>
          <a:prstGeom prst="rect">
            <a:avLst/>
          </a:prstGeom>
          <a:noFill/>
        </p:spPr>
        <p:txBody>
          <a:bodyPr wrap="square" rtlCol="0">
            <a:spAutoFit/>
          </a:bodyPr>
          <a:lstStyle/>
          <a:p>
            <a:pPr algn="r">
              <a:lnSpc>
                <a:spcPts val="1400"/>
              </a:lnSpc>
            </a:pPr>
            <a:r>
              <a:rPr lang="en-US" sz="1400" b="1" dirty="0">
                <a:solidFill>
                  <a:schemeClr val="bg1"/>
                </a:solidFill>
              </a:rPr>
              <a:t>Student experience</a:t>
            </a:r>
          </a:p>
        </p:txBody>
      </p:sp>
      <p:sp>
        <p:nvSpPr>
          <p:cNvPr id="60" name="TextBox 59"/>
          <p:cNvSpPr txBox="1"/>
          <p:nvPr/>
        </p:nvSpPr>
        <p:spPr>
          <a:xfrm>
            <a:off x="6692484" y="1765140"/>
            <a:ext cx="1450030" cy="451406"/>
          </a:xfrm>
          <a:prstGeom prst="rect">
            <a:avLst/>
          </a:prstGeom>
          <a:noFill/>
        </p:spPr>
        <p:txBody>
          <a:bodyPr wrap="square" rtlCol="0">
            <a:spAutoFit/>
          </a:bodyPr>
          <a:lstStyle/>
          <a:p>
            <a:pPr>
              <a:lnSpc>
                <a:spcPts val="1400"/>
              </a:lnSpc>
            </a:pPr>
            <a:r>
              <a:rPr lang="en-US" sz="1400" b="1" dirty="0">
                <a:solidFill>
                  <a:schemeClr val="bg1"/>
                </a:solidFill>
              </a:rPr>
              <a:t>Modernize Technology</a:t>
            </a:r>
          </a:p>
        </p:txBody>
      </p:sp>
      <p:grpSp>
        <p:nvGrpSpPr>
          <p:cNvPr id="66" name="Group 158"/>
          <p:cNvGrpSpPr>
            <a:grpSpLocks noChangeAspect="1"/>
          </p:cNvGrpSpPr>
          <p:nvPr/>
        </p:nvGrpSpPr>
        <p:grpSpPr bwMode="auto">
          <a:xfrm>
            <a:off x="7696570" y="1445100"/>
            <a:ext cx="356150" cy="320040"/>
            <a:chOff x="916" y="294"/>
            <a:chExt cx="3876" cy="3483"/>
          </a:xfrm>
          <a:solidFill>
            <a:schemeClr val="bg1"/>
          </a:solidFill>
        </p:grpSpPr>
        <p:sp>
          <p:nvSpPr>
            <p:cNvPr id="67" name="Freeform 159"/>
            <p:cNvSpPr>
              <a:spLocks noEditPoints="1"/>
            </p:cNvSpPr>
            <p:nvPr/>
          </p:nvSpPr>
          <p:spPr bwMode="auto">
            <a:xfrm>
              <a:off x="3823" y="3202"/>
              <a:ext cx="969" cy="575"/>
            </a:xfrm>
            <a:custGeom>
              <a:avLst/>
              <a:gdLst>
                <a:gd name="T0" fmla="*/ 360 w 512"/>
                <a:gd name="T1" fmla="*/ 0 h 304"/>
                <a:gd name="T2" fmla="*/ 213 w 512"/>
                <a:gd name="T3" fmla="*/ 112 h 304"/>
                <a:gd name="T4" fmla="*/ 80 w 512"/>
                <a:gd name="T5" fmla="*/ 112 h 304"/>
                <a:gd name="T6" fmla="*/ 80 w 512"/>
                <a:gd name="T7" fmla="*/ 111 h 304"/>
                <a:gd name="T8" fmla="*/ 40 w 512"/>
                <a:gd name="T9" fmla="*/ 71 h 304"/>
                <a:gd name="T10" fmla="*/ 0 w 512"/>
                <a:gd name="T11" fmla="*/ 111 h 304"/>
                <a:gd name="T12" fmla="*/ 0 w 512"/>
                <a:gd name="T13" fmla="*/ 152 h 304"/>
                <a:gd name="T14" fmla="*/ 40 w 512"/>
                <a:gd name="T15" fmla="*/ 192 h 304"/>
                <a:gd name="T16" fmla="*/ 213 w 512"/>
                <a:gd name="T17" fmla="*/ 192 h 304"/>
                <a:gd name="T18" fmla="*/ 360 w 512"/>
                <a:gd name="T19" fmla="*/ 304 h 304"/>
                <a:gd name="T20" fmla="*/ 512 w 512"/>
                <a:gd name="T21" fmla="*/ 152 h 304"/>
                <a:gd name="T22" fmla="*/ 360 w 512"/>
                <a:gd name="T23" fmla="*/ 0 h 304"/>
                <a:gd name="T24" fmla="*/ 360 w 512"/>
                <a:gd name="T25" fmla="*/ 224 h 304"/>
                <a:gd name="T26" fmla="*/ 288 w 512"/>
                <a:gd name="T27" fmla="*/ 152 h 304"/>
                <a:gd name="T28" fmla="*/ 360 w 512"/>
                <a:gd name="T29" fmla="*/ 80 h 304"/>
                <a:gd name="T30" fmla="*/ 432 w 512"/>
                <a:gd name="T31" fmla="*/ 152 h 304"/>
                <a:gd name="T32" fmla="*/ 360 w 512"/>
                <a:gd name="T33"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04">
                  <a:moveTo>
                    <a:pt x="360" y="0"/>
                  </a:moveTo>
                  <a:cubicBezTo>
                    <a:pt x="290" y="0"/>
                    <a:pt x="231" y="48"/>
                    <a:pt x="213" y="112"/>
                  </a:cubicBezTo>
                  <a:cubicBezTo>
                    <a:pt x="80" y="112"/>
                    <a:pt x="80" y="112"/>
                    <a:pt x="80" y="112"/>
                  </a:cubicBezTo>
                  <a:cubicBezTo>
                    <a:pt x="80" y="111"/>
                    <a:pt x="80" y="111"/>
                    <a:pt x="80" y="111"/>
                  </a:cubicBezTo>
                  <a:cubicBezTo>
                    <a:pt x="80" y="89"/>
                    <a:pt x="62" y="71"/>
                    <a:pt x="40" y="71"/>
                  </a:cubicBezTo>
                  <a:cubicBezTo>
                    <a:pt x="18" y="71"/>
                    <a:pt x="0" y="89"/>
                    <a:pt x="0" y="111"/>
                  </a:cubicBezTo>
                  <a:cubicBezTo>
                    <a:pt x="0" y="152"/>
                    <a:pt x="0" y="152"/>
                    <a:pt x="0" y="152"/>
                  </a:cubicBezTo>
                  <a:cubicBezTo>
                    <a:pt x="0" y="174"/>
                    <a:pt x="18" y="192"/>
                    <a:pt x="40" y="192"/>
                  </a:cubicBezTo>
                  <a:cubicBezTo>
                    <a:pt x="213" y="192"/>
                    <a:pt x="213" y="192"/>
                    <a:pt x="213" y="192"/>
                  </a:cubicBezTo>
                  <a:cubicBezTo>
                    <a:pt x="231" y="257"/>
                    <a:pt x="290" y="304"/>
                    <a:pt x="360" y="304"/>
                  </a:cubicBezTo>
                  <a:cubicBezTo>
                    <a:pt x="444" y="304"/>
                    <a:pt x="512" y="236"/>
                    <a:pt x="512" y="152"/>
                  </a:cubicBezTo>
                  <a:cubicBezTo>
                    <a:pt x="512" y="68"/>
                    <a:pt x="444" y="0"/>
                    <a:pt x="360" y="0"/>
                  </a:cubicBezTo>
                  <a:close/>
                  <a:moveTo>
                    <a:pt x="360" y="224"/>
                  </a:moveTo>
                  <a:cubicBezTo>
                    <a:pt x="320" y="224"/>
                    <a:pt x="288" y="192"/>
                    <a:pt x="288" y="152"/>
                  </a:cubicBezTo>
                  <a:cubicBezTo>
                    <a:pt x="288" y="112"/>
                    <a:pt x="320" y="80"/>
                    <a:pt x="360" y="80"/>
                  </a:cubicBezTo>
                  <a:cubicBezTo>
                    <a:pt x="400" y="80"/>
                    <a:pt x="432" y="112"/>
                    <a:pt x="432" y="152"/>
                  </a:cubicBezTo>
                  <a:cubicBezTo>
                    <a:pt x="432" y="192"/>
                    <a:pt x="400" y="224"/>
                    <a:pt x="36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60"/>
            <p:cNvSpPr>
              <a:spLocks noEditPoints="1"/>
            </p:cNvSpPr>
            <p:nvPr/>
          </p:nvSpPr>
          <p:spPr bwMode="auto">
            <a:xfrm>
              <a:off x="916" y="294"/>
              <a:ext cx="969" cy="575"/>
            </a:xfrm>
            <a:custGeom>
              <a:avLst/>
              <a:gdLst>
                <a:gd name="T0" fmla="*/ 472 w 512"/>
                <a:gd name="T1" fmla="*/ 112 h 304"/>
                <a:gd name="T2" fmla="*/ 299 w 512"/>
                <a:gd name="T3" fmla="*/ 112 h 304"/>
                <a:gd name="T4" fmla="*/ 152 w 512"/>
                <a:gd name="T5" fmla="*/ 0 h 304"/>
                <a:gd name="T6" fmla="*/ 0 w 512"/>
                <a:gd name="T7" fmla="*/ 152 h 304"/>
                <a:gd name="T8" fmla="*/ 152 w 512"/>
                <a:gd name="T9" fmla="*/ 304 h 304"/>
                <a:gd name="T10" fmla="*/ 299 w 512"/>
                <a:gd name="T11" fmla="*/ 192 h 304"/>
                <a:gd name="T12" fmla="*/ 432 w 512"/>
                <a:gd name="T13" fmla="*/ 192 h 304"/>
                <a:gd name="T14" fmla="*/ 472 w 512"/>
                <a:gd name="T15" fmla="*/ 232 h 304"/>
                <a:gd name="T16" fmla="*/ 512 w 512"/>
                <a:gd name="T17" fmla="*/ 192 h 304"/>
                <a:gd name="T18" fmla="*/ 512 w 512"/>
                <a:gd name="T19" fmla="*/ 152 h 304"/>
                <a:gd name="T20" fmla="*/ 472 w 512"/>
                <a:gd name="T21" fmla="*/ 112 h 304"/>
                <a:gd name="T22" fmla="*/ 152 w 512"/>
                <a:gd name="T23" fmla="*/ 224 h 304"/>
                <a:gd name="T24" fmla="*/ 80 w 512"/>
                <a:gd name="T25" fmla="*/ 152 h 304"/>
                <a:gd name="T26" fmla="*/ 152 w 512"/>
                <a:gd name="T27" fmla="*/ 80 h 304"/>
                <a:gd name="T28" fmla="*/ 224 w 512"/>
                <a:gd name="T29" fmla="*/ 152 h 304"/>
                <a:gd name="T30" fmla="*/ 152 w 512"/>
                <a:gd name="T31"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304">
                  <a:moveTo>
                    <a:pt x="472" y="112"/>
                  </a:moveTo>
                  <a:cubicBezTo>
                    <a:pt x="299" y="112"/>
                    <a:pt x="299" y="112"/>
                    <a:pt x="299" y="112"/>
                  </a:cubicBezTo>
                  <a:cubicBezTo>
                    <a:pt x="281" y="47"/>
                    <a:pt x="222" y="0"/>
                    <a:pt x="152" y="0"/>
                  </a:cubicBezTo>
                  <a:cubicBezTo>
                    <a:pt x="68" y="0"/>
                    <a:pt x="0" y="68"/>
                    <a:pt x="0" y="152"/>
                  </a:cubicBezTo>
                  <a:cubicBezTo>
                    <a:pt x="0" y="236"/>
                    <a:pt x="68" y="304"/>
                    <a:pt x="152" y="304"/>
                  </a:cubicBezTo>
                  <a:cubicBezTo>
                    <a:pt x="222" y="304"/>
                    <a:pt x="281" y="256"/>
                    <a:pt x="299" y="192"/>
                  </a:cubicBezTo>
                  <a:cubicBezTo>
                    <a:pt x="432" y="192"/>
                    <a:pt x="432" y="192"/>
                    <a:pt x="432" y="192"/>
                  </a:cubicBezTo>
                  <a:cubicBezTo>
                    <a:pt x="432" y="214"/>
                    <a:pt x="450" y="232"/>
                    <a:pt x="472" y="232"/>
                  </a:cubicBezTo>
                  <a:cubicBezTo>
                    <a:pt x="494" y="232"/>
                    <a:pt x="512" y="214"/>
                    <a:pt x="512" y="192"/>
                  </a:cubicBezTo>
                  <a:cubicBezTo>
                    <a:pt x="512" y="152"/>
                    <a:pt x="512" y="152"/>
                    <a:pt x="512" y="152"/>
                  </a:cubicBezTo>
                  <a:cubicBezTo>
                    <a:pt x="512" y="130"/>
                    <a:pt x="494" y="112"/>
                    <a:pt x="472" y="112"/>
                  </a:cubicBezTo>
                  <a:close/>
                  <a:moveTo>
                    <a:pt x="152" y="224"/>
                  </a:moveTo>
                  <a:cubicBezTo>
                    <a:pt x="112" y="224"/>
                    <a:pt x="80" y="192"/>
                    <a:pt x="80" y="152"/>
                  </a:cubicBezTo>
                  <a:cubicBezTo>
                    <a:pt x="80" y="112"/>
                    <a:pt x="112" y="80"/>
                    <a:pt x="152" y="80"/>
                  </a:cubicBezTo>
                  <a:cubicBezTo>
                    <a:pt x="192" y="80"/>
                    <a:pt x="224" y="112"/>
                    <a:pt x="224" y="152"/>
                  </a:cubicBezTo>
                  <a:cubicBezTo>
                    <a:pt x="224" y="192"/>
                    <a:pt x="192" y="224"/>
                    <a:pt x="152"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61"/>
            <p:cNvSpPr>
              <a:spLocks noEditPoints="1"/>
            </p:cNvSpPr>
            <p:nvPr/>
          </p:nvSpPr>
          <p:spPr bwMode="auto">
            <a:xfrm>
              <a:off x="1325" y="506"/>
              <a:ext cx="3058" cy="3059"/>
            </a:xfrm>
            <a:custGeom>
              <a:avLst/>
              <a:gdLst>
                <a:gd name="T0" fmla="*/ 1459 w 1616"/>
                <a:gd name="T1" fmla="*/ 631 h 1616"/>
                <a:gd name="T2" fmla="*/ 1454 w 1616"/>
                <a:gd name="T3" fmla="*/ 412 h 1616"/>
                <a:gd name="T4" fmla="*/ 1454 w 1616"/>
                <a:gd name="T5" fmla="*/ 312 h 1616"/>
                <a:gd name="T6" fmla="*/ 1254 w 1616"/>
                <a:gd name="T7" fmla="*/ 141 h 1616"/>
                <a:gd name="T8" fmla="*/ 1143 w 1616"/>
                <a:gd name="T9" fmla="*/ 222 h 1616"/>
                <a:gd name="T10" fmla="*/ 985 w 1616"/>
                <a:gd name="T11" fmla="*/ 71 h 1616"/>
                <a:gd name="T12" fmla="*/ 702 w 1616"/>
                <a:gd name="T13" fmla="*/ 0 h 1616"/>
                <a:gd name="T14" fmla="*/ 631 w 1616"/>
                <a:gd name="T15" fmla="*/ 157 h 1616"/>
                <a:gd name="T16" fmla="*/ 412 w 1616"/>
                <a:gd name="T17" fmla="*/ 162 h 1616"/>
                <a:gd name="T18" fmla="*/ 312 w 1616"/>
                <a:gd name="T19" fmla="*/ 162 h 1616"/>
                <a:gd name="T20" fmla="*/ 141 w 1616"/>
                <a:gd name="T21" fmla="*/ 362 h 1616"/>
                <a:gd name="T22" fmla="*/ 222 w 1616"/>
                <a:gd name="T23" fmla="*/ 473 h 1616"/>
                <a:gd name="T24" fmla="*/ 71 w 1616"/>
                <a:gd name="T25" fmla="*/ 631 h 1616"/>
                <a:gd name="T26" fmla="*/ 0 w 1616"/>
                <a:gd name="T27" fmla="*/ 914 h 1616"/>
                <a:gd name="T28" fmla="*/ 158 w 1616"/>
                <a:gd name="T29" fmla="*/ 985 h 1616"/>
                <a:gd name="T30" fmla="*/ 161 w 1616"/>
                <a:gd name="T31" fmla="*/ 1204 h 1616"/>
                <a:gd name="T32" fmla="*/ 161 w 1616"/>
                <a:gd name="T33" fmla="*/ 1304 h 1616"/>
                <a:gd name="T34" fmla="*/ 362 w 1616"/>
                <a:gd name="T35" fmla="*/ 1475 h 1616"/>
                <a:gd name="T36" fmla="*/ 474 w 1616"/>
                <a:gd name="T37" fmla="*/ 1393 h 1616"/>
                <a:gd name="T38" fmla="*/ 631 w 1616"/>
                <a:gd name="T39" fmla="*/ 1545 h 1616"/>
                <a:gd name="T40" fmla="*/ 914 w 1616"/>
                <a:gd name="T41" fmla="*/ 1616 h 1616"/>
                <a:gd name="T42" fmla="*/ 985 w 1616"/>
                <a:gd name="T43" fmla="*/ 1459 h 1616"/>
                <a:gd name="T44" fmla="*/ 1204 w 1616"/>
                <a:gd name="T45" fmla="*/ 1454 h 1616"/>
                <a:gd name="T46" fmla="*/ 1304 w 1616"/>
                <a:gd name="T47" fmla="*/ 1454 h 1616"/>
                <a:gd name="T48" fmla="*/ 1475 w 1616"/>
                <a:gd name="T49" fmla="*/ 1254 h 1616"/>
                <a:gd name="T50" fmla="*/ 1394 w 1616"/>
                <a:gd name="T51" fmla="*/ 1143 h 1616"/>
                <a:gd name="T52" fmla="*/ 1545 w 1616"/>
                <a:gd name="T53" fmla="*/ 985 h 1616"/>
                <a:gd name="T54" fmla="*/ 1616 w 1616"/>
                <a:gd name="T55" fmla="*/ 702 h 1616"/>
                <a:gd name="T56" fmla="*/ 1536 w 1616"/>
                <a:gd name="T57" fmla="*/ 905 h 1616"/>
                <a:gd name="T58" fmla="*/ 1383 w 1616"/>
                <a:gd name="T59" fmla="*/ 958 h 1616"/>
                <a:gd name="T60" fmla="*/ 1332 w 1616"/>
                <a:gd name="T61" fmla="*/ 1195 h 1616"/>
                <a:gd name="T62" fmla="*/ 1254 w 1616"/>
                <a:gd name="T63" fmla="*/ 1392 h 1616"/>
                <a:gd name="T64" fmla="*/ 1108 w 1616"/>
                <a:gd name="T65" fmla="*/ 1321 h 1616"/>
                <a:gd name="T66" fmla="*/ 905 w 1616"/>
                <a:gd name="T67" fmla="*/ 1452 h 1616"/>
                <a:gd name="T68" fmla="*/ 711 w 1616"/>
                <a:gd name="T69" fmla="*/ 1536 h 1616"/>
                <a:gd name="T70" fmla="*/ 658 w 1616"/>
                <a:gd name="T71" fmla="*/ 1383 h 1616"/>
                <a:gd name="T72" fmla="*/ 422 w 1616"/>
                <a:gd name="T73" fmla="*/ 1332 h 1616"/>
                <a:gd name="T74" fmla="*/ 224 w 1616"/>
                <a:gd name="T75" fmla="*/ 1254 h 1616"/>
                <a:gd name="T76" fmla="*/ 295 w 1616"/>
                <a:gd name="T77" fmla="*/ 1108 h 1616"/>
                <a:gd name="T78" fmla="*/ 164 w 1616"/>
                <a:gd name="T79" fmla="*/ 905 h 1616"/>
                <a:gd name="T80" fmla="*/ 80 w 1616"/>
                <a:gd name="T81" fmla="*/ 711 h 1616"/>
                <a:gd name="T82" fmla="*/ 233 w 1616"/>
                <a:gd name="T83" fmla="*/ 658 h 1616"/>
                <a:gd name="T84" fmla="*/ 284 w 1616"/>
                <a:gd name="T85" fmla="*/ 422 h 1616"/>
                <a:gd name="T86" fmla="*/ 362 w 1616"/>
                <a:gd name="T87" fmla="*/ 224 h 1616"/>
                <a:gd name="T88" fmla="*/ 508 w 1616"/>
                <a:gd name="T89" fmla="*/ 295 h 1616"/>
                <a:gd name="T90" fmla="*/ 711 w 1616"/>
                <a:gd name="T91" fmla="*/ 164 h 1616"/>
                <a:gd name="T92" fmla="*/ 905 w 1616"/>
                <a:gd name="T93" fmla="*/ 80 h 1616"/>
                <a:gd name="T94" fmla="*/ 958 w 1616"/>
                <a:gd name="T95" fmla="*/ 232 h 1616"/>
                <a:gd name="T96" fmla="*/ 1195 w 1616"/>
                <a:gd name="T97" fmla="*/ 283 h 1616"/>
                <a:gd name="T98" fmla="*/ 1392 w 1616"/>
                <a:gd name="T99" fmla="*/ 362 h 1616"/>
                <a:gd name="T100" fmla="*/ 1321 w 1616"/>
                <a:gd name="T101" fmla="*/ 507 h 1616"/>
                <a:gd name="T102" fmla="*/ 1453 w 1616"/>
                <a:gd name="T103" fmla="*/ 711 h 1616"/>
                <a:gd name="T104" fmla="*/ 1536 w 1616"/>
                <a:gd name="T105" fmla="*/ 905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16" h="1616">
                  <a:moveTo>
                    <a:pt x="1545" y="631"/>
                  </a:moveTo>
                  <a:cubicBezTo>
                    <a:pt x="1459" y="631"/>
                    <a:pt x="1459" y="631"/>
                    <a:pt x="1459" y="631"/>
                  </a:cubicBezTo>
                  <a:cubicBezTo>
                    <a:pt x="1444" y="575"/>
                    <a:pt x="1422" y="522"/>
                    <a:pt x="1394" y="473"/>
                  </a:cubicBezTo>
                  <a:cubicBezTo>
                    <a:pt x="1454" y="412"/>
                    <a:pt x="1454" y="412"/>
                    <a:pt x="1454" y="412"/>
                  </a:cubicBezTo>
                  <a:cubicBezTo>
                    <a:pt x="1468" y="399"/>
                    <a:pt x="1475" y="381"/>
                    <a:pt x="1475" y="362"/>
                  </a:cubicBezTo>
                  <a:cubicBezTo>
                    <a:pt x="1475" y="343"/>
                    <a:pt x="1468" y="325"/>
                    <a:pt x="1454" y="312"/>
                  </a:cubicBezTo>
                  <a:cubicBezTo>
                    <a:pt x="1304" y="162"/>
                    <a:pt x="1304" y="162"/>
                    <a:pt x="1304" y="162"/>
                  </a:cubicBezTo>
                  <a:cubicBezTo>
                    <a:pt x="1291" y="148"/>
                    <a:pt x="1273" y="141"/>
                    <a:pt x="1254" y="141"/>
                  </a:cubicBezTo>
                  <a:cubicBezTo>
                    <a:pt x="1235" y="141"/>
                    <a:pt x="1217" y="148"/>
                    <a:pt x="1204" y="162"/>
                  </a:cubicBezTo>
                  <a:cubicBezTo>
                    <a:pt x="1143" y="222"/>
                    <a:pt x="1143" y="222"/>
                    <a:pt x="1143" y="222"/>
                  </a:cubicBezTo>
                  <a:cubicBezTo>
                    <a:pt x="1093" y="194"/>
                    <a:pt x="1040" y="172"/>
                    <a:pt x="985" y="157"/>
                  </a:cubicBezTo>
                  <a:cubicBezTo>
                    <a:pt x="985" y="71"/>
                    <a:pt x="985" y="71"/>
                    <a:pt x="985" y="71"/>
                  </a:cubicBezTo>
                  <a:cubicBezTo>
                    <a:pt x="985" y="32"/>
                    <a:pt x="953" y="0"/>
                    <a:pt x="914" y="0"/>
                  </a:cubicBezTo>
                  <a:cubicBezTo>
                    <a:pt x="702" y="0"/>
                    <a:pt x="702" y="0"/>
                    <a:pt x="702" y="0"/>
                  </a:cubicBezTo>
                  <a:cubicBezTo>
                    <a:pt x="662" y="0"/>
                    <a:pt x="631" y="32"/>
                    <a:pt x="631" y="71"/>
                  </a:cubicBezTo>
                  <a:cubicBezTo>
                    <a:pt x="631" y="157"/>
                    <a:pt x="631" y="157"/>
                    <a:pt x="631" y="157"/>
                  </a:cubicBezTo>
                  <a:cubicBezTo>
                    <a:pt x="575" y="172"/>
                    <a:pt x="523" y="194"/>
                    <a:pt x="473" y="222"/>
                  </a:cubicBezTo>
                  <a:cubicBezTo>
                    <a:pt x="412" y="162"/>
                    <a:pt x="412" y="162"/>
                    <a:pt x="412" y="162"/>
                  </a:cubicBezTo>
                  <a:cubicBezTo>
                    <a:pt x="399" y="148"/>
                    <a:pt x="381" y="141"/>
                    <a:pt x="362" y="141"/>
                  </a:cubicBezTo>
                  <a:cubicBezTo>
                    <a:pt x="343" y="141"/>
                    <a:pt x="325" y="148"/>
                    <a:pt x="312" y="162"/>
                  </a:cubicBezTo>
                  <a:cubicBezTo>
                    <a:pt x="161" y="312"/>
                    <a:pt x="161" y="312"/>
                    <a:pt x="161" y="312"/>
                  </a:cubicBezTo>
                  <a:cubicBezTo>
                    <a:pt x="148" y="325"/>
                    <a:pt x="141" y="343"/>
                    <a:pt x="141" y="362"/>
                  </a:cubicBezTo>
                  <a:cubicBezTo>
                    <a:pt x="141" y="381"/>
                    <a:pt x="148" y="399"/>
                    <a:pt x="161" y="412"/>
                  </a:cubicBezTo>
                  <a:cubicBezTo>
                    <a:pt x="222" y="473"/>
                    <a:pt x="222" y="473"/>
                    <a:pt x="222" y="473"/>
                  </a:cubicBezTo>
                  <a:cubicBezTo>
                    <a:pt x="194" y="523"/>
                    <a:pt x="172" y="576"/>
                    <a:pt x="157" y="631"/>
                  </a:cubicBezTo>
                  <a:cubicBezTo>
                    <a:pt x="71" y="631"/>
                    <a:pt x="71" y="631"/>
                    <a:pt x="71" y="631"/>
                  </a:cubicBezTo>
                  <a:cubicBezTo>
                    <a:pt x="32" y="631"/>
                    <a:pt x="0" y="663"/>
                    <a:pt x="0" y="702"/>
                  </a:cubicBezTo>
                  <a:cubicBezTo>
                    <a:pt x="0" y="914"/>
                    <a:pt x="0" y="914"/>
                    <a:pt x="0" y="914"/>
                  </a:cubicBezTo>
                  <a:cubicBezTo>
                    <a:pt x="0" y="953"/>
                    <a:pt x="32" y="985"/>
                    <a:pt x="71" y="985"/>
                  </a:cubicBezTo>
                  <a:cubicBezTo>
                    <a:pt x="158" y="985"/>
                    <a:pt x="158" y="985"/>
                    <a:pt x="158" y="985"/>
                  </a:cubicBezTo>
                  <a:cubicBezTo>
                    <a:pt x="173" y="1040"/>
                    <a:pt x="194" y="1093"/>
                    <a:pt x="223" y="1142"/>
                  </a:cubicBezTo>
                  <a:cubicBezTo>
                    <a:pt x="161" y="1204"/>
                    <a:pt x="161" y="1204"/>
                    <a:pt x="161" y="1204"/>
                  </a:cubicBezTo>
                  <a:cubicBezTo>
                    <a:pt x="148" y="1217"/>
                    <a:pt x="141" y="1235"/>
                    <a:pt x="141" y="1254"/>
                  </a:cubicBezTo>
                  <a:cubicBezTo>
                    <a:pt x="141" y="1273"/>
                    <a:pt x="148" y="1291"/>
                    <a:pt x="161" y="1304"/>
                  </a:cubicBezTo>
                  <a:cubicBezTo>
                    <a:pt x="312" y="1454"/>
                    <a:pt x="312" y="1454"/>
                    <a:pt x="312" y="1454"/>
                  </a:cubicBezTo>
                  <a:cubicBezTo>
                    <a:pt x="325" y="1468"/>
                    <a:pt x="343" y="1475"/>
                    <a:pt x="362" y="1475"/>
                  </a:cubicBezTo>
                  <a:cubicBezTo>
                    <a:pt x="381" y="1475"/>
                    <a:pt x="399" y="1468"/>
                    <a:pt x="412" y="1454"/>
                  </a:cubicBezTo>
                  <a:cubicBezTo>
                    <a:pt x="474" y="1393"/>
                    <a:pt x="474" y="1393"/>
                    <a:pt x="474" y="1393"/>
                  </a:cubicBezTo>
                  <a:cubicBezTo>
                    <a:pt x="523" y="1422"/>
                    <a:pt x="576" y="1443"/>
                    <a:pt x="631" y="1458"/>
                  </a:cubicBezTo>
                  <a:cubicBezTo>
                    <a:pt x="631" y="1545"/>
                    <a:pt x="631" y="1545"/>
                    <a:pt x="631" y="1545"/>
                  </a:cubicBezTo>
                  <a:cubicBezTo>
                    <a:pt x="631" y="1584"/>
                    <a:pt x="662" y="1616"/>
                    <a:pt x="702" y="1616"/>
                  </a:cubicBezTo>
                  <a:cubicBezTo>
                    <a:pt x="914" y="1616"/>
                    <a:pt x="914" y="1616"/>
                    <a:pt x="914" y="1616"/>
                  </a:cubicBezTo>
                  <a:cubicBezTo>
                    <a:pt x="953" y="1616"/>
                    <a:pt x="985" y="1584"/>
                    <a:pt x="985" y="1545"/>
                  </a:cubicBezTo>
                  <a:cubicBezTo>
                    <a:pt x="985" y="1459"/>
                    <a:pt x="985" y="1459"/>
                    <a:pt x="985" y="1459"/>
                  </a:cubicBezTo>
                  <a:cubicBezTo>
                    <a:pt x="1040" y="1444"/>
                    <a:pt x="1093" y="1422"/>
                    <a:pt x="1143" y="1394"/>
                  </a:cubicBezTo>
                  <a:cubicBezTo>
                    <a:pt x="1204" y="1454"/>
                    <a:pt x="1204" y="1454"/>
                    <a:pt x="1204" y="1454"/>
                  </a:cubicBezTo>
                  <a:cubicBezTo>
                    <a:pt x="1217" y="1468"/>
                    <a:pt x="1235" y="1475"/>
                    <a:pt x="1254" y="1475"/>
                  </a:cubicBezTo>
                  <a:cubicBezTo>
                    <a:pt x="1273" y="1475"/>
                    <a:pt x="1291" y="1468"/>
                    <a:pt x="1304" y="1454"/>
                  </a:cubicBezTo>
                  <a:cubicBezTo>
                    <a:pt x="1454" y="1304"/>
                    <a:pt x="1454" y="1304"/>
                    <a:pt x="1454" y="1304"/>
                  </a:cubicBezTo>
                  <a:cubicBezTo>
                    <a:pt x="1468" y="1291"/>
                    <a:pt x="1475" y="1273"/>
                    <a:pt x="1475" y="1254"/>
                  </a:cubicBezTo>
                  <a:cubicBezTo>
                    <a:pt x="1475" y="1235"/>
                    <a:pt x="1468" y="1217"/>
                    <a:pt x="1454" y="1204"/>
                  </a:cubicBezTo>
                  <a:cubicBezTo>
                    <a:pt x="1394" y="1143"/>
                    <a:pt x="1394" y="1143"/>
                    <a:pt x="1394" y="1143"/>
                  </a:cubicBezTo>
                  <a:cubicBezTo>
                    <a:pt x="1422" y="1093"/>
                    <a:pt x="1444" y="1040"/>
                    <a:pt x="1459" y="985"/>
                  </a:cubicBezTo>
                  <a:cubicBezTo>
                    <a:pt x="1545" y="985"/>
                    <a:pt x="1545" y="985"/>
                    <a:pt x="1545" y="985"/>
                  </a:cubicBezTo>
                  <a:cubicBezTo>
                    <a:pt x="1584" y="985"/>
                    <a:pt x="1616" y="953"/>
                    <a:pt x="1616" y="914"/>
                  </a:cubicBezTo>
                  <a:cubicBezTo>
                    <a:pt x="1616" y="702"/>
                    <a:pt x="1616" y="702"/>
                    <a:pt x="1616" y="702"/>
                  </a:cubicBezTo>
                  <a:cubicBezTo>
                    <a:pt x="1616" y="663"/>
                    <a:pt x="1584" y="631"/>
                    <a:pt x="1545" y="631"/>
                  </a:cubicBezTo>
                  <a:close/>
                  <a:moveTo>
                    <a:pt x="1536" y="905"/>
                  </a:moveTo>
                  <a:cubicBezTo>
                    <a:pt x="1452" y="905"/>
                    <a:pt x="1452" y="905"/>
                    <a:pt x="1452" y="905"/>
                  </a:cubicBezTo>
                  <a:cubicBezTo>
                    <a:pt x="1420" y="905"/>
                    <a:pt x="1392" y="927"/>
                    <a:pt x="1383" y="958"/>
                  </a:cubicBezTo>
                  <a:cubicBezTo>
                    <a:pt x="1370" y="1011"/>
                    <a:pt x="1349" y="1061"/>
                    <a:pt x="1321" y="1108"/>
                  </a:cubicBezTo>
                  <a:cubicBezTo>
                    <a:pt x="1305" y="1136"/>
                    <a:pt x="1309" y="1172"/>
                    <a:pt x="1332" y="1195"/>
                  </a:cubicBezTo>
                  <a:cubicBezTo>
                    <a:pt x="1392" y="1254"/>
                    <a:pt x="1392" y="1254"/>
                    <a:pt x="1392" y="1254"/>
                  </a:cubicBezTo>
                  <a:cubicBezTo>
                    <a:pt x="1254" y="1392"/>
                    <a:pt x="1254" y="1392"/>
                    <a:pt x="1254" y="1392"/>
                  </a:cubicBezTo>
                  <a:cubicBezTo>
                    <a:pt x="1194" y="1332"/>
                    <a:pt x="1194" y="1332"/>
                    <a:pt x="1194" y="1332"/>
                  </a:cubicBezTo>
                  <a:cubicBezTo>
                    <a:pt x="1171" y="1309"/>
                    <a:pt x="1136" y="1305"/>
                    <a:pt x="1108" y="1321"/>
                  </a:cubicBezTo>
                  <a:cubicBezTo>
                    <a:pt x="1061" y="1348"/>
                    <a:pt x="1011" y="1369"/>
                    <a:pt x="958" y="1383"/>
                  </a:cubicBezTo>
                  <a:cubicBezTo>
                    <a:pt x="927" y="1391"/>
                    <a:pt x="905" y="1419"/>
                    <a:pt x="905" y="1452"/>
                  </a:cubicBezTo>
                  <a:cubicBezTo>
                    <a:pt x="905" y="1536"/>
                    <a:pt x="905" y="1536"/>
                    <a:pt x="905" y="1536"/>
                  </a:cubicBezTo>
                  <a:cubicBezTo>
                    <a:pt x="711" y="1536"/>
                    <a:pt x="711" y="1536"/>
                    <a:pt x="711" y="1536"/>
                  </a:cubicBezTo>
                  <a:cubicBezTo>
                    <a:pt x="711" y="1452"/>
                    <a:pt x="711" y="1452"/>
                    <a:pt x="711" y="1452"/>
                  </a:cubicBezTo>
                  <a:cubicBezTo>
                    <a:pt x="711" y="1419"/>
                    <a:pt x="689" y="1391"/>
                    <a:pt x="658" y="1383"/>
                  </a:cubicBezTo>
                  <a:cubicBezTo>
                    <a:pt x="605" y="1369"/>
                    <a:pt x="555" y="1348"/>
                    <a:pt x="508" y="1321"/>
                  </a:cubicBezTo>
                  <a:cubicBezTo>
                    <a:pt x="480" y="1304"/>
                    <a:pt x="445" y="1309"/>
                    <a:pt x="422" y="1332"/>
                  </a:cubicBezTo>
                  <a:cubicBezTo>
                    <a:pt x="362" y="1392"/>
                    <a:pt x="362" y="1392"/>
                    <a:pt x="362" y="1392"/>
                  </a:cubicBezTo>
                  <a:cubicBezTo>
                    <a:pt x="224" y="1254"/>
                    <a:pt x="224" y="1254"/>
                    <a:pt x="224" y="1254"/>
                  </a:cubicBezTo>
                  <a:cubicBezTo>
                    <a:pt x="284" y="1194"/>
                    <a:pt x="284" y="1194"/>
                    <a:pt x="284" y="1194"/>
                  </a:cubicBezTo>
                  <a:cubicBezTo>
                    <a:pt x="307" y="1171"/>
                    <a:pt x="312" y="1136"/>
                    <a:pt x="295" y="1108"/>
                  </a:cubicBezTo>
                  <a:cubicBezTo>
                    <a:pt x="268" y="1061"/>
                    <a:pt x="247" y="1011"/>
                    <a:pt x="233" y="958"/>
                  </a:cubicBezTo>
                  <a:cubicBezTo>
                    <a:pt x="225" y="927"/>
                    <a:pt x="197" y="905"/>
                    <a:pt x="164" y="905"/>
                  </a:cubicBezTo>
                  <a:cubicBezTo>
                    <a:pt x="80" y="905"/>
                    <a:pt x="80" y="905"/>
                    <a:pt x="80" y="905"/>
                  </a:cubicBezTo>
                  <a:cubicBezTo>
                    <a:pt x="80" y="711"/>
                    <a:pt x="80" y="711"/>
                    <a:pt x="80" y="711"/>
                  </a:cubicBezTo>
                  <a:cubicBezTo>
                    <a:pt x="164" y="711"/>
                    <a:pt x="164" y="711"/>
                    <a:pt x="164" y="711"/>
                  </a:cubicBezTo>
                  <a:cubicBezTo>
                    <a:pt x="197" y="711"/>
                    <a:pt x="225" y="689"/>
                    <a:pt x="233" y="658"/>
                  </a:cubicBezTo>
                  <a:cubicBezTo>
                    <a:pt x="247" y="605"/>
                    <a:pt x="267" y="555"/>
                    <a:pt x="295" y="508"/>
                  </a:cubicBezTo>
                  <a:cubicBezTo>
                    <a:pt x="311" y="480"/>
                    <a:pt x="307" y="444"/>
                    <a:pt x="284" y="422"/>
                  </a:cubicBezTo>
                  <a:cubicBezTo>
                    <a:pt x="224" y="362"/>
                    <a:pt x="224" y="362"/>
                    <a:pt x="224" y="362"/>
                  </a:cubicBezTo>
                  <a:cubicBezTo>
                    <a:pt x="362" y="224"/>
                    <a:pt x="362" y="224"/>
                    <a:pt x="362" y="224"/>
                  </a:cubicBezTo>
                  <a:cubicBezTo>
                    <a:pt x="421" y="284"/>
                    <a:pt x="421" y="284"/>
                    <a:pt x="421" y="284"/>
                  </a:cubicBezTo>
                  <a:cubicBezTo>
                    <a:pt x="444" y="307"/>
                    <a:pt x="480" y="311"/>
                    <a:pt x="508" y="295"/>
                  </a:cubicBezTo>
                  <a:cubicBezTo>
                    <a:pt x="554" y="267"/>
                    <a:pt x="605" y="246"/>
                    <a:pt x="658" y="232"/>
                  </a:cubicBezTo>
                  <a:cubicBezTo>
                    <a:pt x="689" y="224"/>
                    <a:pt x="711" y="196"/>
                    <a:pt x="711" y="164"/>
                  </a:cubicBezTo>
                  <a:cubicBezTo>
                    <a:pt x="711" y="80"/>
                    <a:pt x="711" y="80"/>
                    <a:pt x="711" y="80"/>
                  </a:cubicBezTo>
                  <a:cubicBezTo>
                    <a:pt x="905" y="80"/>
                    <a:pt x="905" y="80"/>
                    <a:pt x="905" y="80"/>
                  </a:cubicBezTo>
                  <a:cubicBezTo>
                    <a:pt x="905" y="163"/>
                    <a:pt x="905" y="163"/>
                    <a:pt x="905" y="163"/>
                  </a:cubicBezTo>
                  <a:cubicBezTo>
                    <a:pt x="905" y="196"/>
                    <a:pt x="927" y="224"/>
                    <a:pt x="958" y="232"/>
                  </a:cubicBezTo>
                  <a:cubicBezTo>
                    <a:pt x="1011" y="246"/>
                    <a:pt x="1062" y="267"/>
                    <a:pt x="1109" y="294"/>
                  </a:cubicBezTo>
                  <a:cubicBezTo>
                    <a:pt x="1137" y="311"/>
                    <a:pt x="1172" y="306"/>
                    <a:pt x="1195" y="283"/>
                  </a:cubicBezTo>
                  <a:cubicBezTo>
                    <a:pt x="1254" y="224"/>
                    <a:pt x="1254" y="224"/>
                    <a:pt x="1254" y="224"/>
                  </a:cubicBezTo>
                  <a:cubicBezTo>
                    <a:pt x="1392" y="362"/>
                    <a:pt x="1392" y="362"/>
                    <a:pt x="1392" y="362"/>
                  </a:cubicBezTo>
                  <a:cubicBezTo>
                    <a:pt x="1333" y="421"/>
                    <a:pt x="1333" y="421"/>
                    <a:pt x="1333" y="421"/>
                  </a:cubicBezTo>
                  <a:cubicBezTo>
                    <a:pt x="1310" y="444"/>
                    <a:pt x="1305" y="479"/>
                    <a:pt x="1321" y="507"/>
                  </a:cubicBezTo>
                  <a:cubicBezTo>
                    <a:pt x="1349" y="554"/>
                    <a:pt x="1370" y="605"/>
                    <a:pt x="1384" y="658"/>
                  </a:cubicBezTo>
                  <a:cubicBezTo>
                    <a:pt x="1392" y="689"/>
                    <a:pt x="1420" y="711"/>
                    <a:pt x="1453" y="711"/>
                  </a:cubicBezTo>
                  <a:cubicBezTo>
                    <a:pt x="1536" y="711"/>
                    <a:pt x="1536" y="711"/>
                    <a:pt x="1536" y="711"/>
                  </a:cubicBezTo>
                  <a:cubicBezTo>
                    <a:pt x="1536" y="905"/>
                    <a:pt x="1536" y="905"/>
                    <a:pt x="1536" y="9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62"/>
            <p:cNvSpPr>
              <a:spLocks/>
            </p:cNvSpPr>
            <p:nvPr/>
          </p:nvSpPr>
          <p:spPr bwMode="auto">
            <a:xfrm>
              <a:off x="1961" y="1182"/>
              <a:ext cx="1786" cy="1747"/>
            </a:xfrm>
            <a:custGeom>
              <a:avLst/>
              <a:gdLst>
                <a:gd name="T0" fmla="*/ 634 w 944"/>
                <a:gd name="T1" fmla="*/ 7 h 923"/>
                <a:gd name="T2" fmla="*/ 583 w 944"/>
                <a:gd name="T3" fmla="*/ 31 h 923"/>
                <a:gd name="T4" fmla="*/ 606 w 944"/>
                <a:gd name="T5" fmla="*/ 83 h 923"/>
                <a:gd name="T6" fmla="*/ 864 w 944"/>
                <a:gd name="T7" fmla="*/ 451 h 923"/>
                <a:gd name="T8" fmla="*/ 472 w 944"/>
                <a:gd name="T9" fmla="*/ 843 h 923"/>
                <a:gd name="T10" fmla="*/ 80 w 944"/>
                <a:gd name="T11" fmla="*/ 451 h 923"/>
                <a:gd name="T12" fmla="*/ 328 w 944"/>
                <a:gd name="T13" fmla="*/ 86 h 923"/>
                <a:gd name="T14" fmla="*/ 350 w 944"/>
                <a:gd name="T15" fmla="*/ 34 h 923"/>
                <a:gd name="T16" fmla="*/ 298 w 944"/>
                <a:gd name="T17" fmla="*/ 12 h 923"/>
                <a:gd name="T18" fmla="*/ 84 w 944"/>
                <a:gd name="T19" fmla="*/ 183 h 923"/>
                <a:gd name="T20" fmla="*/ 0 w 944"/>
                <a:gd name="T21" fmla="*/ 451 h 923"/>
                <a:gd name="T22" fmla="*/ 472 w 944"/>
                <a:gd name="T23" fmla="*/ 923 h 923"/>
                <a:gd name="T24" fmla="*/ 944 w 944"/>
                <a:gd name="T25" fmla="*/ 451 h 923"/>
                <a:gd name="T26" fmla="*/ 634 w 944"/>
                <a:gd name="T27" fmla="*/ 7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4" h="923">
                  <a:moveTo>
                    <a:pt x="634" y="7"/>
                  </a:moveTo>
                  <a:cubicBezTo>
                    <a:pt x="613" y="0"/>
                    <a:pt x="590" y="11"/>
                    <a:pt x="583" y="31"/>
                  </a:cubicBezTo>
                  <a:cubicBezTo>
                    <a:pt x="575" y="52"/>
                    <a:pt x="586" y="75"/>
                    <a:pt x="606" y="83"/>
                  </a:cubicBezTo>
                  <a:cubicBezTo>
                    <a:pt x="760" y="139"/>
                    <a:pt x="864" y="287"/>
                    <a:pt x="864" y="451"/>
                  </a:cubicBezTo>
                  <a:cubicBezTo>
                    <a:pt x="864" y="667"/>
                    <a:pt x="688" y="843"/>
                    <a:pt x="472" y="843"/>
                  </a:cubicBezTo>
                  <a:cubicBezTo>
                    <a:pt x="256" y="843"/>
                    <a:pt x="80" y="667"/>
                    <a:pt x="80" y="451"/>
                  </a:cubicBezTo>
                  <a:cubicBezTo>
                    <a:pt x="80" y="289"/>
                    <a:pt x="177" y="146"/>
                    <a:pt x="328" y="86"/>
                  </a:cubicBezTo>
                  <a:cubicBezTo>
                    <a:pt x="348" y="78"/>
                    <a:pt x="358" y="55"/>
                    <a:pt x="350" y="34"/>
                  </a:cubicBezTo>
                  <a:cubicBezTo>
                    <a:pt x="342" y="14"/>
                    <a:pt x="319" y="4"/>
                    <a:pt x="298" y="12"/>
                  </a:cubicBezTo>
                  <a:cubicBezTo>
                    <a:pt x="211" y="46"/>
                    <a:pt x="137" y="105"/>
                    <a:pt x="84" y="183"/>
                  </a:cubicBezTo>
                  <a:cubicBezTo>
                    <a:pt x="29" y="262"/>
                    <a:pt x="0" y="355"/>
                    <a:pt x="0" y="451"/>
                  </a:cubicBezTo>
                  <a:cubicBezTo>
                    <a:pt x="0" y="711"/>
                    <a:pt x="212" y="923"/>
                    <a:pt x="472" y="923"/>
                  </a:cubicBezTo>
                  <a:cubicBezTo>
                    <a:pt x="732" y="923"/>
                    <a:pt x="944" y="711"/>
                    <a:pt x="944" y="451"/>
                  </a:cubicBezTo>
                  <a:cubicBezTo>
                    <a:pt x="944" y="253"/>
                    <a:pt x="819" y="75"/>
                    <a:pt x="63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63"/>
            <p:cNvSpPr>
              <a:spLocks/>
            </p:cNvSpPr>
            <p:nvPr/>
          </p:nvSpPr>
          <p:spPr bwMode="auto">
            <a:xfrm>
              <a:off x="2778" y="1142"/>
              <a:ext cx="156" cy="151"/>
            </a:xfrm>
            <a:custGeom>
              <a:avLst/>
              <a:gdLst>
                <a:gd name="T0" fmla="*/ 42 w 82"/>
                <a:gd name="T1" fmla="*/ 0 h 80"/>
                <a:gd name="T2" fmla="*/ 40 w 82"/>
                <a:gd name="T3" fmla="*/ 0 h 80"/>
                <a:gd name="T4" fmla="*/ 0 w 82"/>
                <a:gd name="T5" fmla="*/ 40 h 80"/>
                <a:gd name="T6" fmla="*/ 40 w 82"/>
                <a:gd name="T7" fmla="*/ 80 h 80"/>
                <a:gd name="T8" fmla="*/ 42 w 82"/>
                <a:gd name="T9" fmla="*/ 80 h 80"/>
                <a:gd name="T10" fmla="*/ 42 w 82"/>
                <a:gd name="T11" fmla="*/ 80 h 80"/>
                <a:gd name="T12" fmla="*/ 82 w 82"/>
                <a:gd name="T13" fmla="*/ 40 h 80"/>
                <a:gd name="T14" fmla="*/ 42 w 82"/>
                <a:gd name="T15" fmla="*/ 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0">
                  <a:moveTo>
                    <a:pt x="42" y="0"/>
                  </a:moveTo>
                  <a:cubicBezTo>
                    <a:pt x="40" y="0"/>
                    <a:pt x="40" y="0"/>
                    <a:pt x="40" y="0"/>
                  </a:cubicBezTo>
                  <a:cubicBezTo>
                    <a:pt x="18" y="0"/>
                    <a:pt x="0" y="18"/>
                    <a:pt x="0" y="40"/>
                  </a:cubicBezTo>
                  <a:cubicBezTo>
                    <a:pt x="0" y="62"/>
                    <a:pt x="18" y="80"/>
                    <a:pt x="40" y="80"/>
                  </a:cubicBezTo>
                  <a:cubicBezTo>
                    <a:pt x="42" y="80"/>
                    <a:pt x="42" y="80"/>
                    <a:pt x="42" y="80"/>
                  </a:cubicBezTo>
                  <a:cubicBezTo>
                    <a:pt x="42" y="80"/>
                    <a:pt x="42" y="80"/>
                    <a:pt x="42" y="80"/>
                  </a:cubicBezTo>
                  <a:cubicBezTo>
                    <a:pt x="64" y="80"/>
                    <a:pt x="82" y="62"/>
                    <a:pt x="82" y="40"/>
                  </a:cubicBezTo>
                  <a:cubicBezTo>
                    <a:pt x="82" y="18"/>
                    <a:pt x="64"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64"/>
            <p:cNvSpPr>
              <a:spLocks/>
            </p:cNvSpPr>
            <p:nvPr/>
          </p:nvSpPr>
          <p:spPr bwMode="auto">
            <a:xfrm>
              <a:off x="2493" y="1704"/>
              <a:ext cx="878" cy="519"/>
            </a:xfrm>
            <a:custGeom>
              <a:avLst/>
              <a:gdLst>
                <a:gd name="T0" fmla="*/ 424 w 464"/>
                <a:gd name="T1" fmla="*/ 0 h 274"/>
                <a:gd name="T2" fmla="*/ 339 w 464"/>
                <a:gd name="T3" fmla="*/ 0 h 274"/>
                <a:gd name="T4" fmla="*/ 299 w 464"/>
                <a:gd name="T5" fmla="*/ 40 h 274"/>
                <a:gd name="T6" fmla="*/ 329 w 464"/>
                <a:gd name="T7" fmla="*/ 78 h 274"/>
                <a:gd name="T8" fmla="*/ 230 w 464"/>
                <a:gd name="T9" fmla="*/ 177 h 274"/>
                <a:gd name="T10" fmla="*/ 148 w 464"/>
                <a:gd name="T11" fmla="*/ 95 h 274"/>
                <a:gd name="T12" fmla="*/ 91 w 464"/>
                <a:gd name="T13" fmla="*/ 95 h 274"/>
                <a:gd name="T14" fmla="*/ 16 w 464"/>
                <a:gd name="T15" fmla="*/ 170 h 274"/>
                <a:gd name="T16" fmla="*/ 16 w 464"/>
                <a:gd name="T17" fmla="*/ 227 h 274"/>
                <a:gd name="T18" fmla="*/ 72 w 464"/>
                <a:gd name="T19" fmla="*/ 227 h 274"/>
                <a:gd name="T20" fmla="*/ 119 w 464"/>
                <a:gd name="T21" fmla="*/ 180 h 274"/>
                <a:gd name="T22" fmla="*/ 202 w 464"/>
                <a:gd name="T23" fmla="*/ 262 h 274"/>
                <a:gd name="T24" fmla="*/ 230 w 464"/>
                <a:gd name="T25" fmla="*/ 274 h 274"/>
                <a:gd name="T26" fmla="*/ 258 w 464"/>
                <a:gd name="T27" fmla="*/ 262 h 274"/>
                <a:gd name="T28" fmla="*/ 385 w 464"/>
                <a:gd name="T29" fmla="*/ 135 h 274"/>
                <a:gd name="T30" fmla="*/ 424 w 464"/>
                <a:gd name="T31" fmla="*/ 165 h 274"/>
                <a:gd name="T32" fmla="*/ 464 w 464"/>
                <a:gd name="T33" fmla="*/ 125 h 274"/>
                <a:gd name="T34" fmla="*/ 464 w 464"/>
                <a:gd name="T35" fmla="*/ 40 h 274"/>
                <a:gd name="T36" fmla="*/ 424 w 464"/>
                <a:gd name="T3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4" h="274">
                  <a:moveTo>
                    <a:pt x="424" y="0"/>
                  </a:moveTo>
                  <a:cubicBezTo>
                    <a:pt x="339" y="0"/>
                    <a:pt x="339" y="0"/>
                    <a:pt x="339" y="0"/>
                  </a:cubicBezTo>
                  <a:cubicBezTo>
                    <a:pt x="317" y="0"/>
                    <a:pt x="299" y="18"/>
                    <a:pt x="299" y="40"/>
                  </a:cubicBezTo>
                  <a:cubicBezTo>
                    <a:pt x="299" y="58"/>
                    <a:pt x="312" y="74"/>
                    <a:pt x="329" y="78"/>
                  </a:cubicBezTo>
                  <a:cubicBezTo>
                    <a:pt x="230" y="177"/>
                    <a:pt x="230" y="177"/>
                    <a:pt x="230" y="177"/>
                  </a:cubicBezTo>
                  <a:cubicBezTo>
                    <a:pt x="148" y="95"/>
                    <a:pt x="148" y="95"/>
                    <a:pt x="148" y="95"/>
                  </a:cubicBezTo>
                  <a:cubicBezTo>
                    <a:pt x="132" y="79"/>
                    <a:pt x="107" y="79"/>
                    <a:pt x="91" y="95"/>
                  </a:cubicBezTo>
                  <a:cubicBezTo>
                    <a:pt x="16" y="170"/>
                    <a:pt x="16" y="170"/>
                    <a:pt x="16" y="170"/>
                  </a:cubicBezTo>
                  <a:cubicBezTo>
                    <a:pt x="0" y="186"/>
                    <a:pt x="0" y="211"/>
                    <a:pt x="16" y="227"/>
                  </a:cubicBezTo>
                  <a:cubicBezTo>
                    <a:pt x="31" y="242"/>
                    <a:pt x="57" y="242"/>
                    <a:pt x="72" y="227"/>
                  </a:cubicBezTo>
                  <a:cubicBezTo>
                    <a:pt x="119" y="180"/>
                    <a:pt x="119" y="180"/>
                    <a:pt x="119" y="180"/>
                  </a:cubicBezTo>
                  <a:cubicBezTo>
                    <a:pt x="202" y="262"/>
                    <a:pt x="202" y="262"/>
                    <a:pt x="202" y="262"/>
                  </a:cubicBezTo>
                  <a:cubicBezTo>
                    <a:pt x="209" y="270"/>
                    <a:pt x="219" y="274"/>
                    <a:pt x="230" y="274"/>
                  </a:cubicBezTo>
                  <a:cubicBezTo>
                    <a:pt x="241" y="274"/>
                    <a:pt x="251" y="270"/>
                    <a:pt x="258" y="262"/>
                  </a:cubicBezTo>
                  <a:cubicBezTo>
                    <a:pt x="385" y="135"/>
                    <a:pt x="385" y="135"/>
                    <a:pt x="385" y="135"/>
                  </a:cubicBezTo>
                  <a:cubicBezTo>
                    <a:pt x="390" y="152"/>
                    <a:pt x="405" y="165"/>
                    <a:pt x="424" y="165"/>
                  </a:cubicBezTo>
                  <a:cubicBezTo>
                    <a:pt x="446" y="165"/>
                    <a:pt x="464" y="147"/>
                    <a:pt x="464" y="125"/>
                  </a:cubicBezTo>
                  <a:cubicBezTo>
                    <a:pt x="464" y="40"/>
                    <a:pt x="464" y="40"/>
                    <a:pt x="464" y="40"/>
                  </a:cubicBezTo>
                  <a:cubicBezTo>
                    <a:pt x="464" y="18"/>
                    <a:pt x="446" y="0"/>
                    <a:pt x="4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65"/>
            <p:cNvSpPr>
              <a:spLocks/>
            </p:cNvSpPr>
            <p:nvPr/>
          </p:nvSpPr>
          <p:spPr bwMode="auto">
            <a:xfrm>
              <a:off x="2326" y="2177"/>
              <a:ext cx="151" cy="152"/>
            </a:xfrm>
            <a:custGeom>
              <a:avLst/>
              <a:gdLst>
                <a:gd name="T0" fmla="*/ 68 w 80"/>
                <a:gd name="T1" fmla="*/ 12 h 80"/>
                <a:gd name="T2" fmla="*/ 40 w 80"/>
                <a:gd name="T3" fmla="*/ 0 h 80"/>
                <a:gd name="T4" fmla="*/ 12 w 80"/>
                <a:gd name="T5" fmla="*/ 12 h 80"/>
                <a:gd name="T6" fmla="*/ 0 w 80"/>
                <a:gd name="T7" fmla="*/ 40 h 80"/>
                <a:gd name="T8" fmla="*/ 12 w 80"/>
                <a:gd name="T9" fmla="*/ 69 h 80"/>
                <a:gd name="T10" fmla="*/ 40 w 80"/>
                <a:gd name="T11" fmla="*/ 80 h 80"/>
                <a:gd name="T12" fmla="*/ 68 w 80"/>
                <a:gd name="T13" fmla="*/ 69 h 80"/>
                <a:gd name="T14" fmla="*/ 80 w 80"/>
                <a:gd name="T15" fmla="*/ 40 h 80"/>
                <a:gd name="T16" fmla="*/ 68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68" y="12"/>
                  </a:moveTo>
                  <a:cubicBezTo>
                    <a:pt x="61" y="5"/>
                    <a:pt x="51" y="0"/>
                    <a:pt x="40" y="0"/>
                  </a:cubicBezTo>
                  <a:cubicBezTo>
                    <a:pt x="30" y="0"/>
                    <a:pt x="19" y="5"/>
                    <a:pt x="12" y="12"/>
                  </a:cubicBezTo>
                  <a:cubicBezTo>
                    <a:pt x="4" y="19"/>
                    <a:pt x="0" y="30"/>
                    <a:pt x="0" y="40"/>
                  </a:cubicBezTo>
                  <a:cubicBezTo>
                    <a:pt x="0" y="51"/>
                    <a:pt x="4" y="61"/>
                    <a:pt x="12" y="69"/>
                  </a:cubicBezTo>
                  <a:cubicBezTo>
                    <a:pt x="19" y="76"/>
                    <a:pt x="30" y="80"/>
                    <a:pt x="40" y="80"/>
                  </a:cubicBezTo>
                  <a:cubicBezTo>
                    <a:pt x="51" y="80"/>
                    <a:pt x="61" y="76"/>
                    <a:pt x="68" y="69"/>
                  </a:cubicBezTo>
                  <a:cubicBezTo>
                    <a:pt x="76" y="61"/>
                    <a:pt x="80" y="51"/>
                    <a:pt x="80" y="40"/>
                  </a:cubicBezTo>
                  <a:cubicBezTo>
                    <a:pt x="80" y="30"/>
                    <a:pt x="76" y="19"/>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66"/>
            <p:cNvSpPr>
              <a:spLocks noEditPoints="1"/>
            </p:cNvSpPr>
            <p:nvPr/>
          </p:nvSpPr>
          <p:spPr bwMode="auto">
            <a:xfrm>
              <a:off x="3823" y="294"/>
              <a:ext cx="969" cy="575"/>
            </a:xfrm>
            <a:custGeom>
              <a:avLst/>
              <a:gdLst>
                <a:gd name="T0" fmla="*/ 360 w 512"/>
                <a:gd name="T1" fmla="*/ 0 h 304"/>
                <a:gd name="T2" fmla="*/ 213 w 512"/>
                <a:gd name="T3" fmla="*/ 112 h 304"/>
                <a:gd name="T4" fmla="*/ 40 w 512"/>
                <a:gd name="T5" fmla="*/ 112 h 304"/>
                <a:gd name="T6" fmla="*/ 0 w 512"/>
                <a:gd name="T7" fmla="*/ 152 h 304"/>
                <a:gd name="T8" fmla="*/ 0 w 512"/>
                <a:gd name="T9" fmla="*/ 192 h 304"/>
                <a:gd name="T10" fmla="*/ 40 w 512"/>
                <a:gd name="T11" fmla="*/ 232 h 304"/>
                <a:gd name="T12" fmla="*/ 80 w 512"/>
                <a:gd name="T13" fmla="*/ 192 h 304"/>
                <a:gd name="T14" fmla="*/ 213 w 512"/>
                <a:gd name="T15" fmla="*/ 192 h 304"/>
                <a:gd name="T16" fmla="*/ 360 w 512"/>
                <a:gd name="T17" fmla="*/ 304 h 304"/>
                <a:gd name="T18" fmla="*/ 512 w 512"/>
                <a:gd name="T19" fmla="*/ 152 h 304"/>
                <a:gd name="T20" fmla="*/ 360 w 512"/>
                <a:gd name="T21" fmla="*/ 0 h 304"/>
                <a:gd name="T22" fmla="*/ 360 w 512"/>
                <a:gd name="T23" fmla="*/ 224 h 304"/>
                <a:gd name="T24" fmla="*/ 288 w 512"/>
                <a:gd name="T25" fmla="*/ 152 h 304"/>
                <a:gd name="T26" fmla="*/ 360 w 512"/>
                <a:gd name="T27" fmla="*/ 80 h 304"/>
                <a:gd name="T28" fmla="*/ 432 w 512"/>
                <a:gd name="T29" fmla="*/ 152 h 304"/>
                <a:gd name="T30" fmla="*/ 360 w 512"/>
                <a:gd name="T31"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304">
                  <a:moveTo>
                    <a:pt x="360" y="0"/>
                  </a:moveTo>
                  <a:cubicBezTo>
                    <a:pt x="290" y="0"/>
                    <a:pt x="231" y="47"/>
                    <a:pt x="213" y="112"/>
                  </a:cubicBezTo>
                  <a:cubicBezTo>
                    <a:pt x="40" y="112"/>
                    <a:pt x="40" y="112"/>
                    <a:pt x="40" y="112"/>
                  </a:cubicBezTo>
                  <a:cubicBezTo>
                    <a:pt x="18" y="112"/>
                    <a:pt x="0" y="130"/>
                    <a:pt x="0" y="152"/>
                  </a:cubicBezTo>
                  <a:cubicBezTo>
                    <a:pt x="0" y="192"/>
                    <a:pt x="0" y="192"/>
                    <a:pt x="0" y="192"/>
                  </a:cubicBezTo>
                  <a:cubicBezTo>
                    <a:pt x="0" y="214"/>
                    <a:pt x="18" y="232"/>
                    <a:pt x="40" y="232"/>
                  </a:cubicBezTo>
                  <a:cubicBezTo>
                    <a:pt x="62" y="232"/>
                    <a:pt x="80" y="214"/>
                    <a:pt x="80" y="192"/>
                  </a:cubicBezTo>
                  <a:cubicBezTo>
                    <a:pt x="213" y="192"/>
                    <a:pt x="213" y="192"/>
                    <a:pt x="213" y="192"/>
                  </a:cubicBezTo>
                  <a:cubicBezTo>
                    <a:pt x="231" y="256"/>
                    <a:pt x="290" y="304"/>
                    <a:pt x="360" y="304"/>
                  </a:cubicBezTo>
                  <a:cubicBezTo>
                    <a:pt x="444" y="304"/>
                    <a:pt x="512" y="236"/>
                    <a:pt x="512" y="152"/>
                  </a:cubicBezTo>
                  <a:cubicBezTo>
                    <a:pt x="512" y="68"/>
                    <a:pt x="444" y="0"/>
                    <a:pt x="360" y="0"/>
                  </a:cubicBezTo>
                  <a:close/>
                  <a:moveTo>
                    <a:pt x="360" y="224"/>
                  </a:moveTo>
                  <a:cubicBezTo>
                    <a:pt x="320" y="224"/>
                    <a:pt x="288" y="192"/>
                    <a:pt x="288" y="152"/>
                  </a:cubicBezTo>
                  <a:cubicBezTo>
                    <a:pt x="288" y="112"/>
                    <a:pt x="320" y="80"/>
                    <a:pt x="360" y="80"/>
                  </a:cubicBezTo>
                  <a:cubicBezTo>
                    <a:pt x="400" y="80"/>
                    <a:pt x="432" y="112"/>
                    <a:pt x="432" y="152"/>
                  </a:cubicBezTo>
                  <a:cubicBezTo>
                    <a:pt x="432" y="192"/>
                    <a:pt x="400" y="224"/>
                    <a:pt x="36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67"/>
            <p:cNvSpPr>
              <a:spLocks noEditPoints="1"/>
            </p:cNvSpPr>
            <p:nvPr/>
          </p:nvSpPr>
          <p:spPr bwMode="auto">
            <a:xfrm>
              <a:off x="916" y="3202"/>
              <a:ext cx="969" cy="575"/>
            </a:xfrm>
            <a:custGeom>
              <a:avLst/>
              <a:gdLst>
                <a:gd name="T0" fmla="*/ 472 w 512"/>
                <a:gd name="T1" fmla="*/ 71 h 304"/>
                <a:gd name="T2" fmla="*/ 432 w 512"/>
                <a:gd name="T3" fmla="*/ 111 h 304"/>
                <a:gd name="T4" fmla="*/ 432 w 512"/>
                <a:gd name="T5" fmla="*/ 112 h 304"/>
                <a:gd name="T6" fmla="*/ 299 w 512"/>
                <a:gd name="T7" fmla="*/ 112 h 304"/>
                <a:gd name="T8" fmla="*/ 152 w 512"/>
                <a:gd name="T9" fmla="*/ 0 h 304"/>
                <a:gd name="T10" fmla="*/ 0 w 512"/>
                <a:gd name="T11" fmla="*/ 152 h 304"/>
                <a:gd name="T12" fmla="*/ 152 w 512"/>
                <a:gd name="T13" fmla="*/ 304 h 304"/>
                <a:gd name="T14" fmla="*/ 299 w 512"/>
                <a:gd name="T15" fmla="*/ 192 h 304"/>
                <a:gd name="T16" fmla="*/ 472 w 512"/>
                <a:gd name="T17" fmla="*/ 192 h 304"/>
                <a:gd name="T18" fmla="*/ 512 w 512"/>
                <a:gd name="T19" fmla="*/ 152 h 304"/>
                <a:gd name="T20" fmla="*/ 512 w 512"/>
                <a:gd name="T21" fmla="*/ 111 h 304"/>
                <a:gd name="T22" fmla="*/ 472 w 512"/>
                <a:gd name="T23" fmla="*/ 71 h 304"/>
                <a:gd name="T24" fmla="*/ 152 w 512"/>
                <a:gd name="T25" fmla="*/ 224 h 304"/>
                <a:gd name="T26" fmla="*/ 80 w 512"/>
                <a:gd name="T27" fmla="*/ 152 h 304"/>
                <a:gd name="T28" fmla="*/ 152 w 512"/>
                <a:gd name="T29" fmla="*/ 80 h 304"/>
                <a:gd name="T30" fmla="*/ 224 w 512"/>
                <a:gd name="T31" fmla="*/ 152 h 304"/>
                <a:gd name="T32" fmla="*/ 152 w 512"/>
                <a:gd name="T33"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04">
                  <a:moveTo>
                    <a:pt x="472" y="71"/>
                  </a:moveTo>
                  <a:cubicBezTo>
                    <a:pt x="450" y="71"/>
                    <a:pt x="432" y="89"/>
                    <a:pt x="432" y="111"/>
                  </a:cubicBezTo>
                  <a:cubicBezTo>
                    <a:pt x="432" y="112"/>
                    <a:pt x="432" y="112"/>
                    <a:pt x="432" y="112"/>
                  </a:cubicBezTo>
                  <a:cubicBezTo>
                    <a:pt x="299" y="112"/>
                    <a:pt x="299" y="112"/>
                    <a:pt x="299" y="112"/>
                  </a:cubicBezTo>
                  <a:cubicBezTo>
                    <a:pt x="281" y="48"/>
                    <a:pt x="222" y="0"/>
                    <a:pt x="152" y="0"/>
                  </a:cubicBezTo>
                  <a:cubicBezTo>
                    <a:pt x="68" y="0"/>
                    <a:pt x="0" y="68"/>
                    <a:pt x="0" y="152"/>
                  </a:cubicBezTo>
                  <a:cubicBezTo>
                    <a:pt x="0" y="236"/>
                    <a:pt x="68" y="304"/>
                    <a:pt x="152" y="304"/>
                  </a:cubicBezTo>
                  <a:cubicBezTo>
                    <a:pt x="222" y="304"/>
                    <a:pt x="281" y="257"/>
                    <a:pt x="299" y="192"/>
                  </a:cubicBezTo>
                  <a:cubicBezTo>
                    <a:pt x="472" y="192"/>
                    <a:pt x="472" y="192"/>
                    <a:pt x="472" y="192"/>
                  </a:cubicBezTo>
                  <a:cubicBezTo>
                    <a:pt x="494" y="192"/>
                    <a:pt x="512" y="174"/>
                    <a:pt x="512" y="152"/>
                  </a:cubicBezTo>
                  <a:cubicBezTo>
                    <a:pt x="512" y="111"/>
                    <a:pt x="512" y="111"/>
                    <a:pt x="512" y="111"/>
                  </a:cubicBezTo>
                  <a:cubicBezTo>
                    <a:pt x="512" y="89"/>
                    <a:pt x="494" y="71"/>
                    <a:pt x="472" y="71"/>
                  </a:cubicBezTo>
                  <a:close/>
                  <a:moveTo>
                    <a:pt x="152" y="224"/>
                  </a:moveTo>
                  <a:cubicBezTo>
                    <a:pt x="112" y="224"/>
                    <a:pt x="80" y="192"/>
                    <a:pt x="80" y="152"/>
                  </a:cubicBezTo>
                  <a:cubicBezTo>
                    <a:pt x="80" y="112"/>
                    <a:pt x="112" y="80"/>
                    <a:pt x="152" y="80"/>
                  </a:cubicBezTo>
                  <a:cubicBezTo>
                    <a:pt x="192" y="80"/>
                    <a:pt x="224" y="112"/>
                    <a:pt x="224" y="152"/>
                  </a:cubicBezTo>
                  <a:cubicBezTo>
                    <a:pt x="224" y="192"/>
                    <a:pt x="192" y="224"/>
                    <a:pt x="152"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6" name="Group 37"/>
          <p:cNvGrpSpPr>
            <a:grpSpLocks noChangeAspect="1"/>
          </p:cNvGrpSpPr>
          <p:nvPr/>
        </p:nvGrpSpPr>
        <p:grpSpPr bwMode="auto">
          <a:xfrm>
            <a:off x="9012459" y="2508965"/>
            <a:ext cx="320040" cy="320040"/>
            <a:chOff x="4223" y="1150"/>
            <a:chExt cx="3101" cy="3101"/>
          </a:xfrm>
          <a:solidFill>
            <a:schemeClr val="bg1"/>
          </a:solidFill>
        </p:grpSpPr>
        <p:sp>
          <p:nvSpPr>
            <p:cNvPr id="77" name="Freeform 38"/>
            <p:cNvSpPr>
              <a:spLocks noEditPoints="1"/>
            </p:cNvSpPr>
            <p:nvPr/>
          </p:nvSpPr>
          <p:spPr bwMode="auto">
            <a:xfrm>
              <a:off x="4223" y="1150"/>
              <a:ext cx="606" cy="60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56 h 320"/>
                <a:gd name="T12" fmla="*/ 64 w 320"/>
                <a:gd name="T13" fmla="*/ 160 h 320"/>
                <a:gd name="T14" fmla="*/ 160 w 320"/>
                <a:gd name="T15" fmla="*/ 64 h 320"/>
                <a:gd name="T16" fmla="*/ 256 w 320"/>
                <a:gd name="T17" fmla="*/ 160 h 320"/>
                <a:gd name="T18" fmla="*/ 160 w 320"/>
                <a:gd name="T19" fmla="*/ 256 h 320"/>
                <a:gd name="T20" fmla="*/ 160 w 320"/>
                <a:gd name="T21" fmla="*/ 256 h 320"/>
                <a:gd name="T22" fmla="*/ 160 w 320"/>
                <a:gd name="T2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 h="320">
                  <a:moveTo>
                    <a:pt x="160" y="0"/>
                  </a:moveTo>
                  <a:cubicBezTo>
                    <a:pt x="72" y="0"/>
                    <a:pt x="0" y="72"/>
                    <a:pt x="0" y="160"/>
                  </a:cubicBezTo>
                  <a:cubicBezTo>
                    <a:pt x="0" y="248"/>
                    <a:pt x="72" y="320"/>
                    <a:pt x="160" y="320"/>
                  </a:cubicBezTo>
                  <a:cubicBezTo>
                    <a:pt x="248" y="320"/>
                    <a:pt x="320" y="248"/>
                    <a:pt x="320" y="160"/>
                  </a:cubicBezTo>
                  <a:cubicBezTo>
                    <a:pt x="320" y="72"/>
                    <a:pt x="248" y="0"/>
                    <a:pt x="160" y="0"/>
                  </a:cubicBezTo>
                  <a:close/>
                  <a:moveTo>
                    <a:pt x="160" y="256"/>
                  </a:moveTo>
                  <a:cubicBezTo>
                    <a:pt x="107" y="256"/>
                    <a:pt x="64" y="213"/>
                    <a:pt x="64" y="160"/>
                  </a:cubicBezTo>
                  <a:cubicBezTo>
                    <a:pt x="64" y="107"/>
                    <a:pt x="107" y="64"/>
                    <a:pt x="160" y="64"/>
                  </a:cubicBezTo>
                  <a:cubicBezTo>
                    <a:pt x="213" y="64"/>
                    <a:pt x="256" y="107"/>
                    <a:pt x="256" y="160"/>
                  </a:cubicBezTo>
                  <a:cubicBezTo>
                    <a:pt x="256" y="213"/>
                    <a:pt x="213" y="256"/>
                    <a:pt x="160" y="256"/>
                  </a:cubicBezTo>
                  <a:close/>
                  <a:moveTo>
                    <a:pt x="160" y="256"/>
                  </a:moveTo>
                  <a:cubicBezTo>
                    <a:pt x="160" y="256"/>
                    <a:pt x="160" y="256"/>
                    <a:pt x="160" y="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9"/>
            <p:cNvSpPr>
              <a:spLocks noEditPoints="1"/>
            </p:cNvSpPr>
            <p:nvPr/>
          </p:nvSpPr>
          <p:spPr bwMode="auto">
            <a:xfrm>
              <a:off x="6718" y="1150"/>
              <a:ext cx="606" cy="60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56 h 320"/>
                <a:gd name="T12" fmla="*/ 64 w 320"/>
                <a:gd name="T13" fmla="*/ 160 h 320"/>
                <a:gd name="T14" fmla="*/ 160 w 320"/>
                <a:gd name="T15" fmla="*/ 64 h 320"/>
                <a:gd name="T16" fmla="*/ 256 w 320"/>
                <a:gd name="T17" fmla="*/ 160 h 320"/>
                <a:gd name="T18" fmla="*/ 160 w 320"/>
                <a:gd name="T19" fmla="*/ 256 h 320"/>
                <a:gd name="T20" fmla="*/ 160 w 320"/>
                <a:gd name="T21" fmla="*/ 256 h 320"/>
                <a:gd name="T22" fmla="*/ 160 w 320"/>
                <a:gd name="T2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 h="320">
                  <a:moveTo>
                    <a:pt x="160" y="0"/>
                  </a:moveTo>
                  <a:cubicBezTo>
                    <a:pt x="72" y="0"/>
                    <a:pt x="0" y="72"/>
                    <a:pt x="0" y="160"/>
                  </a:cubicBezTo>
                  <a:cubicBezTo>
                    <a:pt x="0" y="248"/>
                    <a:pt x="72" y="320"/>
                    <a:pt x="160" y="320"/>
                  </a:cubicBezTo>
                  <a:cubicBezTo>
                    <a:pt x="249" y="320"/>
                    <a:pt x="320" y="248"/>
                    <a:pt x="320" y="160"/>
                  </a:cubicBezTo>
                  <a:cubicBezTo>
                    <a:pt x="320" y="72"/>
                    <a:pt x="249" y="0"/>
                    <a:pt x="160" y="0"/>
                  </a:cubicBezTo>
                  <a:close/>
                  <a:moveTo>
                    <a:pt x="160" y="256"/>
                  </a:moveTo>
                  <a:cubicBezTo>
                    <a:pt x="107" y="256"/>
                    <a:pt x="64" y="213"/>
                    <a:pt x="64" y="160"/>
                  </a:cubicBezTo>
                  <a:cubicBezTo>
                    <a:pt x="64" y="107"/>
                    <a:pt x="107" y="64"/>
                    <a:pt x="160" y="64"/>
                  </a:cubicBezTo>
                  <a:cubicBezTo>
                    <a:pt x="213" y="64"/>
                    <a:pt x="256" y="107"/>
                    <a:pt x="256" y="160"/>
                  </a:cubicBezTo>
                  <a:cubicBezTo>
                    <a:pt x="256" y="213"/>
                    <a:pt x="213" y="256"/>
                    <a:pt x="160" y="256"/>
                  </a:cubicBezTo>
                  <a:close/>
                  <a:moveTo>
                    <a:pt x="160" y="256"/>
                  </a:moveTo>
                  <a:cubicBezTo>
                    <a:pt x="160" y="256"/>
                    <a:pt x="160" y="256"/>
                    <a:pt x="160" y="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40"/>
            <p:cNvSpPr>
              <a:spLocks noEditPoints="1"/>
            </p:cNvSpPr>
            <p:nvPr/>
          </p:nvSpPr>
          <p:spPr bwMode="auto">
            <a:xfrm>
              <a:off x="6718" y="3645"/>
              <a:ext cx="606" cy="60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56 h 320"/>
                <a:gd name="T12" fmla="*/ 64 w 320"/>
                <a:gd name="T13" fmla="*/ 160 h 320"/>
                <a:gd name="T14" fmla="*/ 160 w 320"/>
                <a:gd name="T15" fmla="*/ 64 h 320"/>
                <a:gd name="T16" fmla="*/ 256 w 320"/>
                <a:gd name="T17" fmla="*/ 160 h 320"/>
                <a:gd name="T18" fmla="*/ 160 w 320"/>
                <a:gd name="T19" fmla="*/ 256 h 320"/>
                <a:gd name="T20" fmla="*/ 160 w 320"/>
                <a:gd name="T21" fmla="*/ 256 h 320"/>
                <a:gd name="T22" fmla="*/ 160 w 320"/>
                <a:gd name="T2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 h="320">
                  <a:moveTo>
                    <a:pt x="160" y="0"/>
                  </a:moveTo>
                  <a:cubicBezTo>
                    <a:pt x="72" y="0"/>
                    <a:pt x="0" y="72"/>
                    <a:pt x="0" y="160"/>
                  </a:cubicBezTo>
                  <a:cubicBezTo>
                    <a:pt x="0" y="249"/>
                    <a:pt x="72" y="320"/>
                    <a:pt x="160" y="320"/>
                  </a:cubicBezTo>
                  <a:cubicBezTo>
                    <a:pt x="249" y="320"/>
                    <a:pt x="320" y="249"/>
                    <a:pt x="320" y="160"/>
                  </a:cubicBezTo>
                  <a:cubicBezTo>
                    <a:pt x="320" y="72"/>
                    <a:pt x="249" y="0"/>
                    <a:pt x="160" y="0"/>
                  </a:cubicBezTo>
                  <a:close/>
                  <a:moveTo>
                    <a:pt x="160" y="256"/>
                  </a:moveTo>
                  <a:cubicBezTo>
                    <a:pt x="107" y="256"/>
                    <a:pt x="64" y="213"/>
                    <a:pt x="64" y="160"/>
                  </a:cubicBezTo>
                  <a:cubicBezTo>
                    <a:pt x="64" y="107"/>
                    <a:pt x="107" y="64"/>
                    <a:pt x="160" y="64"/>
                  </a:cubicBezTo>
                  <a:cubicBezTo>
                    <a:pt x="213" y="64"/>
                    <a:pt x="256" y="107"/>
                    <a:pt x="256" y="160"/>
                  </a:cubicBezTo>
                  <a:cubicBezTo>
                    <a:pt x="256" y="213"/>
                    <a:pt x="213" y="256"/>
                    <a:pt x="160" y="256"/>
                  </a:cubicBezTo>
                  <a:close/>
                  <a:moveTo>
                    <a:pt x="160" y="256"/>
                  </a:moveTo>
                  <a:cubicBezTo>
                    <a:pt x="160" y="256"/>
                    <a:pt x="160" y="256"/>
                    <a:pt x="160" y="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41"/>
            <p:cNvSpPr>
              <a:spLocks noEditPoints="1"/>
            </p:cNvSpPr>
            <p:nvPr/>
          </p:nvSpPr>
          <p:spPr bwMode="auto">
            <a:xfrm>
              <a:off x="4804" y="1731"/>
              <a:ext cx="1941" cy="1939"/>
            </a:xfrm>
            <a:custGeom>
              <a:avLst/>
              <a:gdLst>
                <a:gd name="T0" fmla="*/ 956 w 1025"/>
                <a:gd name="T1" fmla="*/ 765 h 1024"/>
                <a:gd name="T2" fmla="*/ 917 w 1025"/>
                <a:gd name="T3" fmla="*/ 781 h 1024"/>
                <a:gd name="T4" fmla="*/ 805 w 1025"/>
                <a:gd name="T5" fmla="*/ 715 h 1024"/>
                <a:gd name="T6" fmla="*/ 894 w 1025"/>
                <a:gd name="T7" fmla="*/ 849 h 1024"/>
                <a:gd name="T8" fmla="*/ 949 w 1025"/>
                <a:gd name="T9" fmla="*/ 949 h 1024"/>
                <a:gd name="T10" fmla="*/ 849 w 1025"/>
                <a:gd name="T11" fmla="*/ 894 h 1024"/>
                <a:gd name="T12" fmla="*/ 794 w 1025"/>
                <a:gd name="T13" fmla="*/ 513 h 1024"/>
                <a:gd name="T14" fmla="*/ 917 w 1025"/>
                <a:gd name="T15" fmla="*/ 244 h 1024"/>
                <a:gd name="T16" fmla="*/ 956 w 1025"/>
                <a:gd name="T17" fmla="*/ 260 h 1024"/>
                <a:gd name="T18" fmla="*/ 1023 w 1025"/>
                <a:gd name="T19" fmla="*/ 41 h 1024"/>
                <a:gd name="T20" fmla="*/ 985 w 1025"/>
                <a:gd name="T21" fmla="*/ 2 h 1024"/>
                <a:gd name="T22" fmla="*/ 765 w 1025"/>
                <a:gd name="T23" fmla="*/ 70 h 1024"/>
                <a:gd name="T24" fmla="*/ 781 w 1025"/>
                <a:gd name="T25" fmla="*/ 109 h 1024"/>
                <a:gd name="T26" fmla="*/ 715 w 1025"/>
                <a:gd name="T27" fmla="*/ 219 h 1024"/>
                <a:gd name="T28" fmla="*/ 849 w 1025"/>
                <a:gd name="T29" fmla="*/ 131 h 1024"/>
                <a:gd name="T30" fmla="*/ 949 w 1025"/>
                <a:gd name="T31" fmla="*/ 76 h 1024"/>
                <a:gd name="T32" fmla="*/ 894 w 1025"/>
                <a:gd name="T33" fmla="*/ 176 h 1024"/>
                <a:gd name="T34" fmla="*/ 513 w 1025"/>
                <a:gd name="T35" fmla="*/ 231 h 1024"/>
                <a:gd name="T36" fmla="*/ 244 w 1025"/>
                <a:gd name="T37" fmla="*/ 109 h 1024"/>
                <a:gd name="T38" fmla="*/ 260 w 1025"/>
                <a:gd name="T39" fmla="*/ 70 h 1024"/>
                <a:gd name="T40" fmla="*/ 41 w 1025"/>
                <a:gd name="T41" fmla="*/ 2 h 1024"/>
                <a:gd name="T42" fmla="*/ 2 w 1025"/>
                <a:gd name="T43" fmla="*/ 41 h 1024"/>
                <a:gd name="T44" fmla="*/ 70 w 1025"/>
                <a:gd name="T45" fmla="*/ 260 h 1024"/>
                <a:gd name="T46" fmla="*/ 109 w 1025"/>
                <a:gd name="T47" fmla="*/ 244 h 1024"/>
                <a:gd name="T48" fmla="*/ 219 w 1025"/>
                <a:gd name="T49" fmla="*/ 309 h 1024"/>
                <a:gd name="T50" fmla="*/ 131 w 1025"/>
                <a:gd name="T51" fmla="*/ 176 h 1024"/>
                <a:gd name="T52" fmla="*/ 76 w 1025"/>
                <a:gd name="T53" fmla="*/ 76 h 1024"/>
                <a:gd name="T54" fmla="*/ 176 w 1025"/>
                <a:gd name="T55" fmla="*/ 131 h 1024"/>
                <a:gd name="T56" fmla="*/ 231 w 1025"/>
                <a:gd name="T57" fmla="*/ 513 h 1024"/>
                <a:gd name="T58" fmla="*/ 109 w 1025"/>
                <a:gd name="T59" fmla="*/ 781 h 1024"/>
                <a:gd name="T60" fmla="*/ 70 w 1025"/>
                <a:gd name="T61" fmla="*/ 765 h 1024"/>
                <a:gd name="T62" fmla="*/ 2 w 1025"/>
                <a:gd name="T63" fmla="*/ 985 h 1024"/>
                <a:gd name="T64" fmla="*/ 33 w 1025"/>
                <a:gd name="T65" fmla="*/ 1024 h 1024"/>
                <a:gd name="T66" fmla="*/ 236 w 1025"/>
                <a:gd name="T67" fmla="*/ 978 h 1024"/>
                <a:gd name="T68" fmla="*/ 252 w 1025"/>
                <a:gd name="T69" fmla="*/ 924 h 1024"/>
                <a:gd name="T70" fmla="*/ 310 w 1025"/>
                <a:gd name="T71" fmla="*/ 851 h 1024"/>
                <a:gd name="T72" fmla="*/ 265 w 1025"/>
                <a:gd name="T73" fmla="*/ 806 h 1024"/>
                <a:gd name="T74" fmla="*/ 169 w 1025"/>
                <a:gd name="T75" fmla="*/ 928 h 1024"/>
                <a:gd name="T76" fmla="*/ 97 w 1025"/>
                <a:gd name="T77" fmla="*/ 856 h 1024"/>
                <a:gd name="T78" fmla="*/ 292 w 1025"/>
                <a:gd name="T79" fmla="*/ 688 h 1024"/>
                <a:gd name="T80" fmla="*/ 632 w 1025"/>
                <a:gd name="T81" fmla="*/ 768 h 1024"/>
                <a:gd name="T82" fmla="*/ 773 w 1025"/>
                <a:gd name="T83" fmla="*/ 924 h 1024"/>
                <a:gd name="T84" fmla="*/ 789 w 1025"/>
                <a:gd name="T85" fmla="*/ 978 h 1024"/>
                <a:gd name="T86" fmla="*/ 992 w 1025"/>
                <a:gd name="T87" fmla="*/ 1024 h 1024"/>
                <a:gd name="T88" fmla="*/ 1023 w 1025"/>
                <a:gd name="T89" fmla="*/ 985 h 1024"/>
                <a:gd name="T90" fmla="*/ 513 w 1025"/>
                <a:gd name="T91" fmla="*/ 730 h 1024"/>
                <a:gd name="T92" fmla="*/ 513 w 1025"/>
                <a:gd name="T93" fmla="*/ 295 h 1024"/>
                <a:gd name="T94" fmla="*/ 513 w 1025"/>
                <a:gd name="T95" fmla="*/ 730 h 1024"/>
                <a:gd name="T96" fmla="*/ 513 w 1025"/>
                <a:gd name="T97" fmla="*/ 730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25" h="1024">
                  <a:moveTo>
                    <a:pt x="978" y="789"/>
                  </a:moveTo>
                  <a:cubicBezTo>
                    <a:pt x="975" y="778"/>
                    <a:pt x="967" y="769"/>
                    <a:pt x="956" y="765"/>
                  </a:cubicBezTo>
                  <a:cubicBezTo>
                    <a:pt x="944" y="762"/>
                    <a:pt x="932" y="765"/>
                    <a:pt x="924" y="773"/>
                  </a:cubicBezTo>
                  <a:cubicBezTo>
                    <a:pt x="917" y="781"/>
                    <a:pt x="917" y="781"/>
                    <a:pt x="917" y="781"/>
                  </a:cubicBezTo>
                  <a:cubicBezTo>
                    <a:pt x="851" y="715"/>
                    <a:pt x="851" y="715"/>
                    <a:pt x="851" y="715"/>
                  </a:cubicBezTo>
                  <a:cubicBezTo>
                    <a:pt x="838" y="702"/>
                    <a:pt x="818" y="702"/>
                    <a:pt x="805" y="715"/>
                  </a:cubicBezTo>
                  <a:cubicBezTo>
                    <a:pt x="793" y="727"/>
                    <a:pt x="793" y="748"/>
                    <a:pt x="805" y="760"/>
                  </a:cubicBezTo>
                  <a:cubicBezTo>
                    <a:pt x="894" y="849"/>
                    <a:pt x="894" y="849"/>
                    <a:pt x="894" y="849"/>
                  </a:cubicBezTo>
                  <a:cubicBezTo>
                    <a:pt x="903" y="858"/>
                    <a:pt x="916" y="860"/>
                    <a:pt x="928" y="856"/>
                  </a:cubicBezTo>
                  <a:cubicBezTo>
                    <a:pt x="949" y="949"/>
                    <a:pt x="949" y="949"/>
                    <a:pt x="949" y="949"/>
                  </a:cubicBezTo>
                  <a:cubicBezTo>
                    <a:pt x="856" y="928"/>
                    <a:pt x="856" y="928"/>
                    <a:pt x="856" y="928"/>
                  </a:cubicBezTo>
                  <a:cubicBezTo>
                    <a:pt x="860" y="916"/>
                    <a:pt x="858" y="903"/>
                    <a:pt x="849" y="894"/>
                  </a:cubicBezTo>
                  <a:cubicBezTo>
                    <a:pt x="688" y="733"/>
                    <a:pt x="688" y="733"/>
                    <a:pt x="688" y="733"/>
                  </a:cubicBezTo>
                  <a:cubicBezTo>
                    <a:pt x="753" y="681"/>
                    <a:pt x="794" y="602"/>
                    <a:pt x="794" y="513"/>
                  </a:cubicBezTo>
                  <a:cubicBezTo>
                    <a:pt x="794" y="470"/>
                    <a:pt x="785" y="430"/>
                    <a:pt x="768" y="393"/>
                  </a:cubicBezTo>
                  <a:cubicBezTo>
                    <a:pt x="917" y="244"/>
                    <a:pt x="917" y="244"/>
                    <a:pt x="917" y="244"/>
                  </a:cubicBezTo>
                  <a:cubicBezTo>
                    <a:pt x="924" y="252"/>
                    <a:pt x="924" y="252"/>
                    <a:pt x="924" y="252"/>
                  </a:cubicBezTo>
                  <a:cubicBezTo>
                    <a:pt x="932" y="260"/>
                    <a:pt x="944" y="263"/>
                    <a:pt x="956" y="260"/>
                  </a:cubicBezTo>
                  <a:cubicBezTo>
                    <a:pt x="967" y="257"/>
                    <a:pt x="975" y="248"/>
                    <a:pt x="978" y="236"/>
                  </a:cubicBezTo>
                  <a:cubicBezTo>
                    <a:pt x="1023" y="41"/>
                    <a:pt x="1023" y="41"/>
                    <a:pt x="1023" y="41"/>
                  </a:cubicBezTo>
                  <a:cubicBezTo>
                    <a:pt x="1025" y="30"/>
                    <a:pt x="1022" y="19"/>
                    <a:pt x="1014" y="11"/>
                  </a:cubicBezTo>
                  <a:cubicBezTo>
                    <a:pt x="1007" y="3"/>
                    <a:pt x="995" y="0"/>
                    <a:pt x="985" y="2"/>
                  </a:cubicBezTo>
                  <a:cubicBezTo>
                    <a:pt x="789" y="47"/>
                    <a:pt x="789" y="47"/>
                    <a:pt x="789" y="47"/>
                  </a:cubicBezTo>
                  <a:cubicBezTo>
                    <a:pt x="778" y="50"/>
                    <a:pt x="769" y="58"/>
                    <a:pt x="765" y="70"/>
                  </a:cubicBezTo>
                  <a:cubicBezTo>
                    <a:pt x="762" y="81"/>
                    <a:pt x="765" y="93"/>
                    <a:pt x="773" y="101"/>
                  </a:cubicBezTo>
                  <a:cubicBezTo>
                    <a:pt x="781" y="109"/>
                    <a:pt x="781" y="109"/>
                    <a:pt x="781" y="109"/>
                  </a:cubicBezTo>
                  <a:cubicBezTo>
                    <a:pt x="715" y="174"/>
                    <a:pt x="715" y="174"/>
                    <a:pt x="715" y="174"/>
                  </a:cubicBezTo>
                  <a:cubicBezTo>
                    <a:pt x="703" y="187"/>
                    <a:pt x="703" y="207"/>
                    <a:pt x="715" y="219"/>
                  </a:cubicBezTo>
                  <a:cubicBezTo>
                    <a:pt x="728" y="232"/>
                    <a:pt x="748" y="232"/>
                    <a:pt x="761" y="219"/>
                  </a:cubicBezTo>
                  <a:cubicBezTo>
                    <a:pt x="849" y="131"/>
                    <a:pt x="849" y="131"/>
                    <a:pt x="849" y="131"/>
                  </a:cubicBezTo>
                  <a:cubicBezTo>
                    <a:pt x="858" y="122"/>
                    <a:pt x="860" y="109"/>
                    <a:pt x="856" y="97"/>
                  </a:cubicBezTo>
                  <a:cubicBezTo>
                    <a:pt x="949" y="76"/>
                    <a:pt x="949" y="76"/>
                    <a:pt x="949" y="76"/>
                  </a:cubicBezTo>
                  <a:cubicBezTo>
                    <a:pt x="928" y="169"/>
                    <a:pt x="928" y="169"/>
                    <a:pt x="928" y="169"/>
                  </a:cubicBezTo>
                  <a:cubicBezTo>
                    <a:pt x="916" y="165"/>
                    <a:pt x="903" y="167"/>
                    <a:pt x="894" y="176"/>
                  </a:cubicBezTo>
                  <a:cubicBezTo>
                    <a:pt x="733" y="337"/>
                    <a:pt x="733" y="337"/>
                    <a:pt x="733" y="337"/>
                  </a:cubicBezTo>
                  <a:cubicBezTo>
                    <a:pt x="681" y="273"/>
                    <a:pt x="602" y="231"/>
                    <a:pt x="513" y="231"/>
                  </a:cubicBezTo>
                  <a:cubicBezTo>
                    <a:pt x="470" y="231"/>
                    <a:pt x="430" y="241"/>
                    <a:pt x="393" y="258"/>
                  </a:cubicBezTo>
                  <a:cubicBezTo>
                    <a:pt x="244" y="109"/>
                    <a:pt x="244" y="109"/>
                    <a:pt x="244" y="109"/>
                  </a:cubicBezTo>
                  <a:cubicBezTo>
                    <a:pt x="252" y="101"/>
                    <a:pt x="252" y="101"/>
                    <a:pt x="252" y="101"/>
                  </a:cubicBezTo>
                  <a:cubicBezTo>
                    <a:pt x="260" y="93"/>
                    <a:pt x="263" y="81"/>
                    <a:pt x="260" y="70"/>
                  </a:cubicBezTo>
                  <a:cubicBezTo>
                    <a:pt x="257" y="58"/>
                    <a:pt x="248" y="50"/>
                    <a:pt x="236" y="47"/>
                  </a:cubicBezTo>
                  <a:cubicBezTo>
                    <a:pt x="41" y="2"/>
                    <a:pt x="41" y="2"/>
                    <a:pt x="41" y="2"/>
                  </a:cubicBezTo>
                  <a:cubicBezTo>
                    <a:pt x="30" y="0"/>
                    <a:pt x="19" y="3"/>
                    <a:pt x="11" y="11"/>
                  </a:cubicBezTo>
                  <a:cubicBezTo>
                    <a:pt x="3" y="19"/>
                    <a:pt x="0" y="30"/>
                    <a:pt x="2" y="41"/>
                  </a:cubicBezTo>
                  <a:cubicBezTo>
                    <a:pt x="47" y="236"/>
                    <a:pt x="47" y="236"/>
                    <a:pt x="47" y="236"/>
                  </a:cubicBezTo>
                  <a:cubicBezTo>
                    <a:pt x="50" y="248"/>
                    <a:pt x="58" y="257"/>
                    <a:pt x="70" y="260"/>
                  </a:cubicBezTo>
                  <a:cubicBezTo>
                    <a:pt x="81" y="263"/>
                    <a:pt x="93" y="260"/>
                    <a:pt x="101" y="252"/>
                  </a:cubicBezTo>
                  <a:cubicBezTo>
                    <a:pt x="109" y="244"/>
                    <a:pt x="109" y="244"/>
                    <a:pt x="109" y="244"/>
                  </a:cubicBezTo>
                  <a:cubicBezTo>
                    <a:pt x="173" y="309"/>
                    <a:pt x="173" y="309"/>
                    <a:pt x="173" y="309"/>
                  </a:cubicBezTo>
                  <a:cubicBezTo>
                    <a:pt x="186" y="322"/>
                    <a:pt x="206" y="322"/>
                    <a:pt x="219" y="309"/>
                  </a:cubicBezTo>
                  <a:cubicBezTo>
                    <a:pt x="231" y="297"/>
                    <a:pt x="231" y="276"/>
                    <a:pt x="219" y="264"/>
                  </a:cubicBezTo>
                  <a:cubicBezTo>
                    <a:pt x="131" y="176"/>
                    <a:pt x="131" y="176"/>
                    <a:pt x="131" y="176"/>
                  </a:cubicBezTo>
                  <a:cubicBezTo>
                    <a:pt x="122" y="167"/>
                    <a:pt x="109" y="165"/>
                    <a:pt x="97" y="169"/>
                  </a:cubicBezTo>
                  <a:cubicBezTo>
                    <a:pt x="76" y="76"/>
                    <a:pt x="76" y="76"/>
                    <a:pt x="76" y="76"/>
                  </a:cubicBezTo>
                  <a:cubicBezTo>
                    <a:pt x="169" y="97"/>
                    <a:pt x="169" y="97"/>
                    <a:pt x="169" y="97"/>
                  </a:cubicBezTo>
                  <a:cubicBezTo>
                    <a:pt x="165" y="109"/>
                    <a:pt x="167" y="122"/>
                    <a:pt x="176" y="131"/>
                  </a:cubicBezTo>
                  <a:cubicBezTo>
                    <a:pt x="337" y="292"/>
                    <a:pt x="337" y="292"/>
                    <a:pt x="337" y="292"/>
                  </a:cubicBezTo>
                  <a:cubicBezTo>
                    <a:pt x="273" y="344"/>
                    <a:pt x="231" y="423"/>
                    <a:pt x="231" y="513"/>
                  </a:cubicBezTo>
                  <a:cubicBezTo>
                    <a:pt x="231" y="555"/>
                    <a:pt x="241" y="596"/>
                    <a:pt x="258" y="632"/>
                  </a:cubicBezTo>
                  <a:cubicBezTo>
                    <a:pt x="109" y="781"/>
                    <a:pt x="109" y="781"/>
                    <a:pt x="109" y="781"/>
                  </a:cubicBezTo>
                  <a:cubicBezTo>
                    <a:pt x="101" y="773"/>
                    <a:pt x="101" y="773"/>
                    <a:pt x="101" y="773"/>
                  </a:cubicBezTo>
                  <a:cubicBezTo>
                    <a:pt x="93" y="765"/>
                    <a:pt x="81" y="762"/>
                    <a:pt x="70" y="765"/>
                  </a:cubicBezTo>
                  <a:cubicBezTo>
                    <a:pt x="58" y="769"/>
                    <a:pt x="50" y="778"/>
                    <a:pt x="47" y="789"/>
                  </a:cubicBezTo>
                  <a:cubicBezTo>
                    <a:pt x="2" y="985"/>
                    <a:pt x="2" y="985"/>
                    <a:pt x="2" y="985"/>
                  </a:cubicBezTo>
                  <a:cubicBezTo>
                    <a:pt x="0" y="995"/>
                    <a:pt x="3" y="1007"/>
                    <a:pt x="11" y="1014"/>
                  </a:cubicBezTo>
                  <a:cubicBezTo>
                    <a:pt x="17" y="1020"/>
                    <a:pt x="25" y="1024"/>
                    <a:pt x="33" y="1024"/>
                  </a:cubicBezTo>
                  <a:cubicBezTo>
                    <a:pt x="36" y="1024"/>
                    <a:pt x="38" y="1023"/>
                    <a:pt x="41" y="1023"/>
                  </a:cubicBezTo>
                  <a:cubicBezTo>
                    <a:pt x="236" y="978"/>
                    <a:pt x="236" y="978"/>
                    <a:pt x="236" y="978"/>
                  </a:cubicBezTo>
                  <a:cubicBezTo>
                    <a:pt x="248" y="975"/>
                    <a:pt x="257" y="967"/>
                    <a:pt x="260" y="956"/>
                  </a:cubicBezTo>
                  <a:cubicBezTo>
                    <a:pt x="263" y="944"/>
                    <a:pt x="260" y="932"/>
                    <a:pt x="252" y="924"/>
                  </a:cubicBezTo>
                  <a:cubicBezTo>
                    <a:pt x="244" y="917"/>
                    <a:pt x="244" y="917"/>
                    <a:pt x="244" y="917"/>
                  </a:cubicBezTo>
                  <a:cubicBezTo>
                    <a:pt x="310" y="851"/>
                    <a:pt x="310" y="851"/>
                    <a:pt x="310" y="851"/>
                  </a:cubicBezTo>
                  <a:cubicBezTo>
                    <a:pt x="322" y="839"/>
                    <a:pt x="322" y="818"/>
                    <a:pt x="310" y="806"/>
                  </a:cubicBezTo>
                  <a:cubicBezTo>
                    <a:pt x="297" y="793"/>
                    <a:pt x="277" y="793"/>
                    <a:pt x="265" y="806"/>
                  </a:cubicBezTo>
                  <a:cubicBezTo>
                    <a:pt x="176" y="894"/>
                    <a:pt x="176" y="894"/>
                    <a:pt x="176" y="894"/>
                  </a:cubicBezTo>
                  <a:cubicBezTo>
                    <a:pt x="167" y="903"/>
                    <a:pt x="165" y="916"/>
                    <a:pt x="169" y="928"/>
                  </a:cubicBezTo>
                  <a:cubicBezTo>
                    <a:pt x="76" y="949"/>
                    <a:pt x="76" y="949"/>
                    <a:pt x="76" y="949"/>
                  </a:cubicBezTo>
                  <a:cubicBezTo>
                    <a:pt x="97" y="856"/>
                    <a:pt x="97" y="856"/>
                    <a:pt x="97" y="856"/>
                  </a:cubicBezTo>
                  <a:cubicBezTo>
                    <a:pt x="109" y="860"/>
                    <a:pt x="122" y="858"/>
                    <a:pt x="131" y="849"/>
                  </a:cubicBezTo>
                  <a:cubicBezTo>
                    <a:pt x="292" y="688"/>
                    <a:pt x="292" y="688"/>
                    <a:pt x="292" y="688"/>
                  </a:cubicBezTo>
                  <a:cubicBezTo>
                    <a:pt x="344" y="753"/>
                    <a:pt x="423" y="794"/>
                    <a:pt x="513" y="794"/>
                  </a:cubicBezTo>
                  <a:cubicBezTo>
                    <a:pt x="555" y="794"/>
                    <a:pt x="596" y="785"/>
                    <a:pt x="632" y="768"/>
                  </a:cubicBezTo>
                  <a:cubicBezTo>
                    <a:pt x="781" y="917"/>
                    <a:pt x="781" y="917"/>
                    <a:pt x="781" y="917"/>
                  </a:cubicBezTo>
                  <a:cubicBezTo>
                    <a:pt x="773" y="924"/>
                    <a:pt x="773" y="924"/>
                    <a:pt x="773" y="924"/>
                  </a:cubicBezTo>
                  <a:cubicBezTo>
                    <a:pt x="765" y="932"/>
                    <a:pt x="762" y="944"/>
                    <a:pt x="765" y="956"/>
                  </a:cubicBezTo>
                  <a:cubicBezTo>
                    <a:pt x="769" y="967"/>
                    <a:pt x="778" y="975"/>
                    <a:pt x="789" y="978"/>
                  </a:cubicBezTo>
                  <a:cubicBezTo>
                    <a:pt x="985" y="1023"/>
                    <a:pt x="985" y="1023"/>
                    <a:pt x="985" y="1023"/>
                  </a:cubicBezTo>
                  <a:cubicBezTo>
                    <a:pt x="987" y="1023"/>
                    <a:pt x="989" y="1024"/>
                    <a:pt x="992" y="1024"/>
                  </a:cubicBezTo>
                  <a:cubicBezTo>
                    <a:pt x="1000" y="1024"/>
                    <a:pt x="1008" y="1020"/>
                    <a:pt x="1014" y="1014"/>
                  </a:cubicBezTo>
                  <a:cubicBezTo>
                    <a:pt x="1022" y="1007"/>
                    <a:pt x="1025" y="995"/>
                    <a:pt x="1023" y="985"/>
                  </a:cubicBezTo>
                  <a:lnTo>
                    <a:pt x="978" y="789"/>
                  </a:lnTo>
                  <a:close/>
                  <a:moveTo>
                    <a:pt x="513" y="730"/>
                  </a:moveTo>
                  <a:cubicBezTo>
                    <a:pt x="393" y="730"/>
                    <a:pt x="295" y="633"/>
                    <a:pt x="295" y="513"/>
                  </a:cubicBezTo>
                  <a:cubicBezTo>
                    <a:pt x="295" y="393"/>
                    <a:pt x="393" y="295"/>
                    <a:pt x="513" y="295"/>
                  </a:cubicBezTo>
                  <a:cubicBezTo>
                    <a:pt x="633" y="295"/>
                    <a:pt x="730" y="393"/>
                    <a:pt x="730" y="513"/>
                  </a:cubicBezTo>
                  <a:cubicBezTo>
                    <a:pt x="730" y="633"/>
                    <a:pt x="633" y="730"/>
                    <a:pt x="513" y="730"/>
                  </a:cubicBezTo>
                  <a:close/>
                  <a:moveTo>
                    <a:pt x="513" y="730"/>
                  </a:moveTo>
                  <a:cubicBezTo>
                    <a:pt x="513" y="730"/>
                    <a:pt x="513" y="730"/>
                    <a:pt x="513" y="7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42"/>
            <p:cNvSpPr>
              <a:spLocks noEditPoints="1"/>
            </p:cNvSpPr>
            <p:nvPr/>
          </p:nvSpPr>
          <p:spPr bwMode="auto">
            <a:xfrm>
              <a:off x="4223" y="3645"/>
              <a:ext cx="606" cy="60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56 h 320"/>
                <a:gd name="T12" fmla="*/ 64 w 320"/>
                <a:gd name="T13" fmla="*/ 160 h 320"/>
                <a:gd name="T14" fmla="*/ 160 w 320"/>
                <a:gd name="T15" fmla="*/ 64 h 320"/>
                <a:gd name="T16" fmla="*/ 256 w 320"/>
                <a:gd name="T17" fmla="*/ 160 h 320"/>
                <a:gd name="T18" fmla="*/ 160 w 320"/>
                <a:gd name="T19" fmla="*/ 256 h 320"/>
                <a:gd name="T20" fmla="*/ 160 w 320"/>
                <a:gd name="T21" fmla="*/ 256 h 320"/>
                <a:gd name="T22" fmla="*/ 160 w 320"/>
                <a:gd name="T2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 h="320">
                  <a:moveTo>
                    <a:pt x="160" y="0"/>
                  </a:moveTo>
                  <a:cubicBezTo>
                    <a:pt x="72" y="0"/>
                    <a:pt x="0" y="72"/>
                    <a:pt x="0" y="160"/>
                  </a:cubicBezTo>
                  <a:cubicBezTo>
                    <a:pt x="0" y="249"/>
                    <a:pt x="72" y="320"/>
                    <a:pt x="160" y="320"/>
                  </a:cubicBezTo>
                  <a:cubicBezTo>
                    <a:pt x="248" y="320"/>
                    <a:pt x="320" y="249"/>
                    <a:pt x="320" y="160"/>
                  </a:cubicBezTo>
                  <a:cubicBezTo>
                    <a:pt x="320" y="72"/>
                    <a:pt x="248" y="0"/>
                    <a:pt x="160" y="0"/>
                  </a:cubicBezTo>
                  <a:close/>
                  <a:moveTo>
                    <a:pt x="160" y="256"/>
                  </a:moveTo>
                  <a:cubicBezTo>
                    <a:pt x="107" y="256"/>
                    <a:pt x="64" y="213"/>
                    <a:pt x="64" y="160"/>
                  </a:cubicBezTo>
                  <a:cubicBezTo>
                    <a:pt x="64" y="107"/>
                    <a:pt x="107" y="64"/>
                    <a:pt x="160" y="64"/>
                  </a:cubicBezTo>
                  <a:cubicBezTo>
                    <a:pt x="213" y="64"/>
                    <a:pt x="256" y="107"/>
                    <a:pt x="256" y="160"/>
                  </a:cubicBezTo>
                  <a:cubicBezTo>
                    <a:pt x="256" y="213"/>
                    <a:pt x="213" y="256"/>
                    <a:pt x="160" y="256"/>
                  </a:cubicBezTo>
                  <a:close/>
                  <a:moveTo>
                    <a:pt x="160" y="256"/>
                  </a:moveTo>
                  <a:cubicBezTo>
                    <a:pt x="160" y="256"/>
                    <a:pt x="160" y="256"/>
                    <a:pt x="160" y="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43"/>
            <p:cNvSpPr>
              <a:spLocks noEditPoints="1"/>
            </p:cNvSpPr>
            <p:nvPr/>
          </p:nvSpPr>
          <p:spPr bwMode="auto">
            <a:xfrm>
              <a:off x="5715" y="2405"/>
              <a:ext cx="356" cy="358"/>
            </a:xfrm>
            <a:custGeom>
              <a:avLst/>
              <a:gdLst>
                <a:gd name="T0" fmla="*/ 32 w 188"/>
                <a:gd name="T1" fmla="*/ 0 h 189"/>
                <a:gd name="T2" fmla="*/ 0 w 188"/>
                <a:gd name="T3" fmla="*/ 32 h 189"/>
                <a:gd name="T4" fmla="*/ 32 w 188"/>
                <a:gd name="T5" fmla="*/ 64 h 189"/>
                <a:gd name="T6" fmla="*/ 124 w 188"/>
                <a:gd name="T7" fmla="*/ 157 h 189"/>
                <a:gd name="T8" fmla="*/ 156 w 188"/>
                <a:gd name="T9" fmla="*/ 189 h 189"/>
                <a:gd name="T10" fmla="*/ 188 w 188"/>
                <a:gd name="T11" fmla="*/ 157 h 189"/>
                <a:gd name="T12" fmla="*/ 32 w 188"/>
                <a:gd name="T13" fmla="*/ 0 h 189"/>
                <a:gd name="T14" fmla="*/ 32 w 188"/>
                <a:gd name="T15" fmla="*/ 0 h 189"/>
                <a:gd name="T16" fmla="*/ 32 w 188"/>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9">
                  <a:moveTo>
                    <a:pt x="32" y="0"/>
                  </a:moveTo>
                  <a:cubicBezTo>
                    <a:pt x="14" y="0"/>
                    <a:pt x="0" y="14"/>
                    <a:pt x="0" y="32"/>
                  </a:cubicBezTo>
                  <a:cubicBezTo>
                    <a:pt x="0" y="49"/>
                    <a:pt x="14" y="64"/>
                    <a:pt x="32" y="64"/>
                  </a:cubicBezTo>
                  <a:cubicBezTo>
                    <a:pt x="83" y="64"/>
                    <a:pt x="124" y="105"/>
                    <a:pt x="124" y="157"/>
                  </a:cubicBezTo>
                  <a:cubicBezTo>
                    <a:pt x="124" y="174"/>
                    <a:pt x="139" y="189"/>
                    <a:pt x="156" y="189"/>
                  </a:cubicBezTo>
                  <a:cubicBezTo>
                    <a:pt x="174" y="189"/>
                    <a:pt x="188" y="174"/>
                    <a:pt x="188" y="157"/>
                  </a:cubicBezTo>
                  <a:cubicBezTo>
                    <a:pt x="188" y="70"/>
                    <a:pt x="118"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44"/>
            <p:cNvSpPr>
              <a:spLocks noEditPoints="1"/>
            </p:cNvSpPr>
            <p:nvPr/>
          </p:nvSpPr>
          <p:spPr bwMode="auto">
            <a:xfrm>
              <a:off x="5537" y="2483"/>
              <a:ext cx="121" cy="121"/>
            </a:xfrm>
            <a:custGeom>
              <a:avLst/>
              <a:gdLst>
                <a:gd name="T0" fmla="*/ 32 w 64"/>
                <a:gd name="T1" fmla="*/ 0 h 64"/>
                <a:gd name="T2" fmla="*/ 0 w 64"/>
                <a:gd name="T3" fmla="*/ 32 h 64"/>
                <a:gd name="T4" fmla="*/ 0 w 64"/>
                <a:gd name="T5" fmla="*/ 32 h 64"/>
                <a:gd name="T6" fmla="*/ 32 w 64"/>
                <a:gd name="T7" fmla="*/ 64 h 64"/>
                <a:gd name="T8" fmla="*/ 64 w 64"/>
                <a:gd name="T9" fmla="*/ 32 h 64"/>
                <a:gd name="T10" fmla="*/ 64 w 64"/>
                <a:gd name="T11" fmla="*/ 31 h 64"/>
                <a:gd name="T12" fmla="*/ 32 w 64"/>
                <a:gd name="T13" fmla="*/ 0 h 64"/>
                <a:gd name="T14" fmla="*/ 32 w 64"/>
                <a:gd name="T15" fmla="*/ 0 h 64"/>
                <a:gd name="T16" fmla="*/ 32 w 64"/>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4">
                  <a:moveTo>
                    <a:pt x="32" y="0"/>
                  </a:moveTo>
                  <a:cubicBezTo>
                    <a:pt x="14" y="0"/>
                    <a:pt x="0" y="14"/>
                    <a:pt x="0" y="32"/>
                  </a:cubicBezTo>
                  <a:cubicBezTo>
                    <a:pt x="0" y="32"/>
                    <a:pt x="0" y="32"/>
                    <a:pt x="0" y="32"/>
                  </a:cubicBezTo>
                  <a:cubicBezTo>
                    <a:pt x="0" y="50"/>
                    <a:pt x="14" y="64"/>
                    <a:pt x="32" y="64"/>
                  </a:cubicBezTo>
                  <a:cubicBezTo>
                    <a:pt x="50" y="64"/>
                    <a:pt x="64" y="50"/>
                    <a:pt x="64" y="32"/>
                  </a:cubicBezTo>
                  <a:cubicBezTo>
                    <a:pt x="64" y="31"/>
                    <a:pt x="64" y="31"/>
                    <a:pt x="64" y="31"/>
                  </a:cubicBezTo>
                  <a:cubicBezTo>
                    <a:pt x="64" y="14"/>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509"/>
          <p:cNvGrpSpPr>
            <a:grpSpLocks noChangeAspect="1"/>
          </p:cNvGrpSpPr>
          <p:nvPr/>
        </p:nvGrpSpPr>
        <p:grpSpPr bwMode="auto">
          <a:xfrm>
            <a:off x="7944971" y="3828962"/>
            <a:ext cx="321484" cy="320040"/>
            <a:chOff x="3514" y="2016"/>
            <a:chExt cx="3117" cy="3103"/>
          </a:xfrm>
          <a:solidFill>
            <a:schemeClr val="bg1"/>
          </a:solidFill>
        </p:grpSpPr>
        <p:sp>
          <p:nvSpPr>
            <p:cNvPr id="85" name="Freeform 510"/>
            <p:cNvSpPr>
              <a:spLocks noEditPoints="1"/>
            </p:cNvSpPr>
            <p:nvPr/>
          </p:nvSpPr>
          <p:spPr bwMode="auto">
            <a:xfrm>
              <a:off x="5584" y="3779"/>
              <a:ext cx="441" cy="363"/>
            </a:xfrm>
            <a:custGeom>
              <a:avLst/>
              <a:gdLst>
                <a:gd name="T0" fmla="*/ 223 w 233"/>
                <a:gd name="T1" fmla="*/ 142 h 192"/>
                <a:gd name="T2" fmla="*/ 146 w 233"/>
                <a:gd name="T3" fmla="*/ 26 h 192"/>
                <a:gd name="T4" fmla="*/ 97 w 233"/>
                <a:gd name="T5" fmla="*/ 0 h 192"/>
                <a:gd name="T6" fmla="*/ 48 w 233"/>
                <a:gd name="T7" fmla="*/ 26 h 192"/>
                <a:gd name="T8" fmla="*/ 10 w 233"/>
                <a:gd name="T9" fmla="*/ 83 h 192"/>
                <a:gd name="T10" fmla="*/ 19 w 233"/>
                <a:gd name="T11" fmla="*/ 127 h 192"/>
                <a:gd name="T12" fmla="*/ 63 w 233"/>
                <a:gd name="T13" fmla="*/ 118 h 192"/>
                <a:gd name="T14" fmla="*/ 97 w 233"/>
                <a:gd name="T15" fmla="*/ 68 h 192"/>
                <a:gd name="T16" fmla="*/ 170 w 233"/>
                <a:gd name="T17" fmla="*/ 178 h 192"/>
                <a:gd name="T18" fmla="*/ 197 w 233"/>
                <a:gd name="T19" fmla="*/ 192 h 192"/>
                <a:gd name="T20" fmla="*/ 215 w 233"/>
                <a:gd name="T21" fmla="*/ 186 h 192"/>
                <a:gd name="T22" fmla="*/ 223 w 233"/>
                <a:gd name="T23" fmla="*/ 142 h 192"/>
                <a:gd name="T24" fmla="*/ 223 w 233"/>
                <a:gd name="T25" fmla="*/ 142 h 192"/>
                <a:gd name="T26" fmla="*/ 223 w 233"/>
                <a:gd name="T27" fmla="*/ 1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3" h="192">
                  <a:moveTo>
                    <a:pt x="223" y="142"/>
                  </a:moveTo>
                  <a:cubicBezTo>
                    <a:pt x="146" y="26"/>
                    <a:pt x="146" y="26"/>
                    <a:pt x="146" y="26"/>
                  </a:cubicBezTo>
                  <a:cubicBezTo>
                    <a:pt x="135" y="9"/>
                    <a:pt x="117" y="0"/>
                    <a:pt x="97" y="0"/>
                  </a:cubicBezTo>
                  <a:cubicBezTo>
                    <a:pt x="77" y="0"/>
                    <a:pt x="59" y="9"/>
                    <a:pt x="48" y="26"/>
                  </a:cubicBezTo>
                  <a:cubicBezTo>
                    <a:pt x="10" y="83"/>
                    <a:pt x="10" y="83"/>
                    <a:pt x="10" y="83"/>
                  </a:cubicBezTo>
                  <a:cubicBezTo>
                    <a:pt x="0" y="97"/>
                    <a:pt x="4" y="117"/>
                    <a:pt x="19" y="127"/>
                  </a:cubicBezTo>
                  <a:cubicBezTo>
                    <a:pt x="34" y="137"/>
                    <a:pt x="54" y="133"/>
                    <a:pt x="63" y="118"/>
                  </a:cubicBezTo>
                  <a:cubicBezTo>
                    <a:pt x="97" y="68"/>
                    <a:pt x="97" y="68"/>
                    <a:pt x="97" y="68"/>
                  </a:cubicBezTo>
                  <a:cubicBezTo>
                    <a:pt x="170" y="178"/>
                    <a:pt x="170" y="178"/>
                    <a:pt x="170" y="178"/>
                  </a:cubicBezTo>
                  <a:cubicBezTo>
                    <a:pt x="176" y="187"/>
                    <a:pt x="187" y="192"/>
                    <a:pt x="197" y="192"/>
                  </a:cubicBezTo>
                  <a:cubicBezTo>
                    <a:pt x="203" y="192"/>
                    <a:pt x="209" y="190"/>
                    <a:pt x="215" y="186"/>
                  </a:cubicBezTo>
                  <a:cubicBezTo>
                    <a:pt x="229" y="177"/>
                    <a:pt x="233" y="157"/>
                    <a:pt x="223" y="142"/>
                  </a:cubicBezTo>
                  <a:close/>
                  <a:moveTo>
                    <a:pt x="223" y="142"/>
                  </a:moveTo>
                  <a:cubicBezTo>
                    <a:pt x="223" y="142"/>
                    <a:pt x="223" y="142"/>
                    <a:pt x="223"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511"/>
            <p:cNvSpPr>
              <a:spLocks noEditPoints="1"/>
            </p:cNvSpPr>
            <p:nvPr/>
          </p:nvSpPr>
          <p:spPr bwMode="auto">
            <a:xfrm>
              <a:off x="6025" y="4214"/>
              <a:ext cx="121" cy="122"/>
            </a:xfrm>
            <a:custGeom>
              <a:avLst/>
              <a:gdLst>
                <a:gd name="T0" fmla="*/ 55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4"/>
                    <a:pt x="0" y="32"/>
                  </a:cubicBezTo>
                  <a:cubicBezTo>
                    <a:pt x="0" y="40"/>
                    <a:pt x="3" y="49"/>
                    <a:pt x="9" y="55"/>
                  </a:cubicBezTo>
                  <a:cubicBezTo>
                    <a:pt x="15" y="61"/>
                    <a:pt x="24" y="64"/>
                    <a:pt x="32" y="64"/>
                  </a:cubicBezTo>
                  <a:cubicBezTo>
                    <a:pt x="40"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512"/>
            <p:cNvSpPr>
              <a:spLocks noEditPoints="1"/>
            </p:cNvSpPr>
            <p:nvPr/>
          </p:nvSpPr>
          <p:spPr bwMode="auto">
            <a:xfrm>
              <a:off x="3514" y="2016"/>
              <a:ext cx="3117" cy="3103"/>
            </a:xfrm>
            <a:custGeom>
              <a:avLst/>
              <a:gdLst>
                <a:gd name="T0" fmla="*/ 1452 w 1646"/>
                <a:gd name="T1" fmla="*/ 1276 h 1639"/>
                <a:gd name="T2" fmla="*/ 1399 w 1646"/>
                <a:gd name="T3" fmla="*/ 1312 h 1639"/>
                <a:gd name="T4" fmla="*/ 1357 w 1646"/>
                <a:gd name="T5" fmla="*/ 1575 h 1639"/>
                <a:gd name="T6" fmla="*/ 702 w 1646"/>
                <a:gd name="T7" fmla="*/ 608 h 1639"/>
                <a:gd name="T8" fmla="*/ 1406 w 1646"/>
                <a:gd name="T9" fmla="*/ 525 h 1639"/>
                <a:gd name="T10" fmla="*/ 1436 w 1646"/>
                <a:gd name="T11" fmla="*/ 482 h 1639"/>
                <a:gd name="T12" fmla="*/ 1436 w 1646"/>
                <a:gd name="T13" fmla="*/ 43 h 1639"/>
                <a:gd name="T14" fmla="*/ 1406 w 1646"/>
                <a:gd name="T15" fmla="*/ 0 h 1639"/>
                <a:gd name="T16" fmla="*/ 638 w 1646"/>
                <a:gd name="T17" fmla="*/ 32 h 1639"/>
                <a:gd name="T18" fmla="*/ 638 w 1646"/>
                <a:gd name="T19" fmla="*/ 613 h 1639"/>
                <a:gd name="T20" fmla="*/ 15 w 1646"/>
                <a:gd name="T21" fmla="*/ 1539 h 1639"/>
                <a:gd name="T22" fmla="*/ 68 w 1646"/>
                <a:gd name="T23" fmla="*/ 1639 h 1639"/>
                <a:gd name="T24" fmla="*/ 1635 w 1646"/>
                <a:gd name="T25" fmla="*/ 1608 h 1639"/>
                <a:gd name="T26" fmla="*/ 1153 w 1646"/>
                <a:gd name="T27" fmla="*/ 461 h 1639"/>
                <a:gd name="T28" fmla="*/ 884 w 1646"/>
                <a:gd name="T29" fmla="*/ 453 h 1639"/>
                <a:gd name="T30" fmla="*/ 1057 w 1646"/>
                <a:gd name="T31" fmla="*/ 356 h 1639"/>
                <a:gd name="T32" fmla="*/ 1153 w 1646"/>
                <a:gd name="T33" fmla="*/ 461 h 1639"/>
                <a:gd name="T34" fmla="*/ 980 w 1646"/>
                <a:gd name="T35" fmla="*/ 241 h 1639"/>
                <a:gd name="T36" fmla="*/ 1057 w 1646"/>
                <a:gd name="T37" fmla="*/ 241 h 1639"/>
                <a:gd name="T38" fmla="*/ 1019 w 1646"/>
                <a:gd name="T39" fmla="*/ 292 h 1639"/>
                <a:gd name="T40" fmla="*/ 702 w 1646"/>
                <a:gd name="T41" fmla="*/ 64 h 1639"/>
                <a:gd name="T42" fmla="*/ 1293 w 1646"/>
                <a:gd name="T43" fmla="*/ 252 h 1639"/>
                <a:gd name="T44" fmla="*/ 1360 w 1646"/>
                <a:gd name="T45" fmla="*/ 461 h 1639"/>
                <a:gd name="T46" fmla="*/ 1217 w 1646"/>
                <a:gd name="T47" fmla="*/ 453 h 1639"/>
                <a:gd name="T48" fmla="*/ 1121 w 1646"/>
                <a:gd name="T49" fmla="*/ 254 h 1639"/>
                <a:gd name="T50" fmla="*/ 1019 w 1646"/>
                <a:gd name="T51" fmla="*/ 139 h 1639"/>
                <a:gd name="T52" fmla="*/ 916 w 1646"/>
                <a:gd name="T53" fmla="*/ 254 h 1639"/>
                <a:gd name="T54" fmla="*/ 820 w 1646"/>
                <a:gd name="T55" fmla="*/ 453 h 1639"/>
                <a:gd name="T56" fmla="*/ 702 w 1646"/>
                <a:gd name="T57" fmla="*/ 461 h 1639"/>
                <a:gd name="T58" fmla="*/ 68 w 1646"/>
                <a:gd name="T59" fmla="*/ 1575 h 1639"/>
                <a:gd name="T60" fmla="*/ 674 w 1646"/>
                <a:gd name="T61" fmla="*/ 666 h 1639"/>
                <a:gd name="T62" fmla="*/ 68 w 1646"/>
                <a:gd name="T63" fmla="*/ 1575 h 1639"/>
                <a:gd name="T64" fmla="*/ 68 w 1646"/>
                <a:gd name="T65" fmla="*/ 1575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6" h="1639">
                  <a:moveTo>
                    <a:pt x="1632" y="1547"/>
                  </a:moveTo>
                  <a:cubicBezTo>
                    <a:pt x="1452" y="1276"/>
                    <a:pt x="1452" y="1276"/>
                    <a:pt x="1452" y="1276"/>
                  </a:cubicBezTo>
                  <a:cubicBezTo>
                    <a:pt x="1442" y="1261"/>
                    <a:pt x="1422" y="1257"/>
                    <a:pt x="1408" y="1267"/>
                  </a:cubicBezTo>
                  <a:cubicBezTo>
                    <a:pt x="1393" y="1277"/>
                    <a:pt x="1389" y="1297"/>
                    <a:pt x="1399" y="1312"/>
                  </a:cubicBezTo>
                  <a:cubicBezTo>
                    <a:pt x="1574" y="1575"/>
                    <a:pt x="1574" y="1575"/>
                    <a:pt x="1574" y="1575"/>
                  </a:cubicBezTo>
                  <a:cubicBezTo>
                    <a:pt x="1357" y="1575"/>
                    <a:pt x="1357" y="1575"/>
                    <a:pt x="1357" y="1575"/>
                  </a:cubicBezTo>
                  <a:cubicBezTo>
                    <a:pt x="727" y="630"/>
                    <a:pt x="727" y="630"/>
                    <a:pt x="727" y="630"/>
                  </a:cubicBezTo>
                  <a:cubicBezTo>
                    <a:pt x="721" y="621"/>
                    <a:pt x="712" y="613"/>
                    <a:pt x="702" y="608"/>
                  </a:cubicBezTo>
                  <a:cubicBezTo>
                    <a:pt x="702" y="525"/>
                    <a:pt x="702" y="525"/>
                    <a:pt x="702" y="525"/>
                  </a:cubicBezTo>
                  <a:cubicBezTo>
                    <a:pt x="1406" y="525"/>
                    <a:pt x="1406" y="525"/>
                    <a:pt x="1406" y="525"/>
                  </a:cubicBezTo>
                  <a:cubicBezTo>
                    <a:pt x="1416" y="525"/>
                    <a:pt x="1426" y="520"/>
                    <a:pt x="1432" y="512"/>
                  </a:cubicBezTo>
                  <a:cubicBezTo>
                    <a:pt x="1438" y="503"/>
                    <a:pt x="1439" y="492"/>
                    <a:pt x="1436" y="482"/>
                  </a:cubicBezTo>
                  <a:cubicBezTo>
                    <a:pt x="1357" y="263"/>
                    <a:pt x="1357" y="263"/>
                    <a:pt x="1357" y="263"/>
                  </a:cubicBezTo>
                  <a:cubicBezTo>
                    <a:pt x="1436" y="43"/>
                    <a:pt x="1436" y="43"/>
                    <a:pt x="1436" y="43"/>
                  </a:cubicBezTo>
                  <a:cubicBezTo>
                    <a:pt x="1439" y="33"/>
                    <a:pt x="1438" y="22"/>
                    <a:pt x="1432" y="14"/>
                  </a:cubicBezTo>
                  <a:cubicBezTo>
                    <a:pt x="1426" y="5"/>
                    <a:pt x="1416" y="0"/>
                    <a:pt x="1406" y="0"/>
                  </a:cubicBezTo>
                  <a:cubicBezTo>
                    <a:pt x="670" y="0"/>
                    <a:pt x="670" y="0"/>
                    <a:pt x="670" y="0"/>
                  </a:cubicBezTo>
                  <a:cubicBezTo>
                    <a:pt x="652" y="0"/>
                    <a:pt x="638" y="15"/>
                    <a:pt x="638" y="32"/>
                  </a:cubicBezTo>
                  <a:cubicBezTo>
                    <a:pt x="638" y="608"/>
                    <a:pt x="638" y="608"/>
                    <a:pt x="638" y="608"/>
                  </a:cubicBezTo>
                  <a:cubicBezTo>
                    <a:pt x="638" y="610"/>
                    <a:pt x="638" y="611"/>
                    <a:pt x="638" y="613"/>
                  </a:cubicBezTo>
                  <a:cubicBezTo>
                    <a:pt x="631" y="618"/>
                    <a:pt x="625" y="623"/>
                    <a:pt x="621" y="630"/>
                  </a:cubicBezTo>
                  <a:cubicBezTo>
                    <a:pt x="15" y="1539"/>
                    <a:pt x="15" y="1539"/>
                    <a:pt x="15" y="1539"/>
                  </a:cubicBezTo>
                  <a:cubicBezTo>
                    <a:pt x="2" y="1559"/>
                    <a:pt x="0" y="1584"/>
                    <a:pt x="12" y="1605"/>
                  </a:cubicBezTo>
                  <a:cubicBezTo>
                    <a:pt x="23" y="1626"/>
                    <a:pt x="44" y="1639"/>
                    <a:pt x="68" y="1639"/>
                  </a:cubicBezTo>
                  <a:cubicBezTo>
                    <a:pt x="1583" y="1639"/>
                    <a:pt x="1583" y="1639"/>
                    <a:pt x="1583" y="1639"/>
                  </a:cubicBezTo>
                  <a:cubicBezTo>
                    <a:pt x="1605" y="1639"/>
                    <a:pt x="1625" y="1627"/>
                    <a:pt x="1635" y="1608"/>
                  </a:cubicBezTo>
                  <a:cubicBezTo>
                    <a:pt x="1646" y="1588"/>
                    <a:pt x="1645" y="1565"/>
                    <a:pt x="1632" y="1547"/>
                  </a:cubicBezTo>
                  <a:close/>
                  <a:moveTo>
                    <a:pt x="1153" y="461"/>
                  </a:moveTo>
                  <a:cubicBezTo>
                    <a:pt x="884" y="461"/>
                    <a:pt x="884" y="461"/>
                    <a:pt x="884" y="461"/>
                  </a:cubicBezTo>
                  <a:cubicBezTo>
                    <a:pt x="884" y="453"/>
                    <a:pt x="884" y="453"/>
                    <a:pt x="884" y="453"/>
                  </a:cubicBezTo>
                  <a:cubicBezTo>
                    <a:pt x="884" y="400"/>
                    <a:pt x="928" y="356"/>
                    <a:pt x="981" y="356"/>
                  </a:cubicBezTo>
                  <a:cubicBezTo>
                    <a:pt x="1057" y="356"/>
                    <a:pt x="1057" y="356"/>
                    <a:pt x="1057" y="356"/>
                  </a:cubicBezTo>
                  <a:cubicBezTo>
                    <a:pt x="1110" y="356"/>
                    <a:pt x="1153" y="400"/>
                    <a:pt x="1153" y="453"/>
                  </a:cubicBezTo>
                  <a:lnTo>
                    <a:pt x="1153" y="461"/>
                  </a:lnTo>
                  <a:close/>
                  <a:moveTo>
                    <a:pt x="980" y="254"/>
                  </a:moveTo>
                  <a:cubicBezTo>
                    <a:pt x="980" y="241"/>
                    <a:pt x="980" y="241"/>
                    <a:pt x="980" y="241"/>
                  </a:cubicBezTo>
                  <a:cubicBezTo>
                    <a:pt x="980" y="220"/>
                    <a:pt x="998" y="203"/>
                    <a:pt x="1019" y="203"/>
                  </a:cubicBezTo>
                  <a:cubicBezTo>
                    <a:pt x="1040" y="203"/>
                    <a:pt x="1057" y="220"/>
                    <a:pt x="1057" y="241"/>
                  </a:cubicBezTo>
                  <a:cubicBezTo>
                    <a:pt x="1057" y="254"/>
                    <a:pt x="1057" y="254"/>
                    <a:pt x="1057" y="254"/>
                  </a:cubicBezTo>
                  <a:cubicBezTo>
                    <a:pt x="1057" y="275"/>
                    <a:pt x="1040" y="292"/>
                    <a:pt x="1019" y="292"/>
                  </a:cubicBezTo>
                  <a:cubicBezTo>
                    <a:pt x="998" y="292"/>
                    <a:pt x="980" y="275"/>
                    <a:pt x="980" y="254"/>
                  </a:cubicBezTo>
                  <a:close/>
                  <a:moveTo>
                    <a:pt x="702" y="64"/>
                  </a:moveTo>
                  <a:cubicBezTo>
                    <a:pt x="1360" y="64"/>
                    <a:pt x="1360" y="64"/>
                    <a:pt x="1360" y="64"/>
                  </a:cubicBezTo>
                  <a:cubicBezTo>
                    <a:pt x="1293" y="252"/>
                    <a:pt x="1293" y="252"/>
                    <a:pt x="1293" y="252"/>
                  </a:cubicBezTo>
                  <a:cubicBezTo>
                    <a:pt x="1291" y="259"/>
                    <a:pt x="1291" y="266"/>
                    <a:pt x="1293" y="273"/>
                  </a:cubicBezTo>
                  <a:cubicBezTo>
                    <a:pt x="1360" y="461"/>
                    <a:pt x="1360" y="461"/>
                    <a:pt x="1360" y="461"/>
                  </a:cubicBezTo>
                  <a:cubicBezTo>
                    <a:pt x="1217" y="461"/>
                    <a:pt x="1217" y="461"/>
                    <a:pt x="1217" y="461"/>
                  </a:cubicBezTo>
                  <a:cubicBezTo>
                    <a:pt x="1217" y="453"/>
                    <a:pt x="1217" y="453"/>
                    <a:pt x="1217" y="453"/>
                  </a:cubicBezTo>
                  <a:cubicBezTo>
                    <a:pt x="1217" y="383"/>
                    <a:pt x="1172" y="323"/>
                    <a:pt x="1110" y="301"/>
                  </a:cubicBezTo>
                  <a:cubicBezTo>
                    <a:pt x="1117" y="287"/>
                    <a:pt x="1121" y="271"/>
                    <a:pt x="1121" y="254"/>
                  </a:cubicBezTo>
                  <a:cubicBezTo>
                    <a:pt x="1121" y="241"/>
                    <a:pt x="1121" y="241"/>
                    <a:pt x="1121" y="241"/>
                  </a:cubicBezTo>
                  <a:cubicBezTo>
                    <a:pt x="1121" y="185"/>
                    <a:pt x="1075" y="139"/>
                    <a:pt x="1019" y="139"/>
                  </a:cubicBezTo>
                  <a:cubicBezTo>
                    <a:pt x="962" y="139"/>
                    <a:pt x="916" y="185"/>
                    <a:pt x="916" y="241"/>
                  </a:cubicBezTo>
                  <a:cubicBezTo>
                    <a:pt x="916" y="254"/>
                    <a:pt x="916" y="254"/>
                    <a:pt x="916" y="254"/>
                  </a:cubicBezTo>
                  <a:cubicBezTo>
                    <a:pt x="916" y="271"/>
                    <a:pt x="921" y="287"/>
                    <a:pt x="928" y="301"/>
                  </a:cubicBezTo>
                  <a:cubicBezTo>
                    <a:pt x="865" y="323"/>
                    <a:pt x="820" y="383"/>
                    <a:pt x="820" y="453"/>
                  </a:cubicBezTo>
                  <a:cubicBezTo>
                    <a:pt x="820" y="461"/>
                    <a:pt x="820" y="461"/>
                    <a:pt x="820" y="461"/>
                  </a:cubicBezTo>
                  <a:cubicBezTo>
                    <a:pt x="702" y="461"/>
                    <a:pt x="702" y="461"/>
                    <a:pt x="702" y="461"/>
                  </a:cubicBezTo>
                  <a:lnTo>
                    <a:pt x="702" y="64"/>
                  </a:lnTo>
                  <a:close/>
                  <a:moveTo>
                    <a:pt x="68" y="1575"/>
                  </a:moveTo>
                  <a:cubicBezTo>
                    <a:pt x="68" y="1575"/>
                    <a:pt x="68" y="1575"/>
                    <a:pt x="68" y="1575"/>
                  </a:cubicBezTo>
                  <a:cubicBezTo>
                    <a:pt x="674" y="666"/>
                    <a:pt x="674" y="666"/>
                    <a:pt x="674" y="666"/>
                  </a:cubicBezTo>
                  <a:cubicBezTo>
                    <a:pt x="1280" y="1575"/>
                    <a:pt x="1280" y="1575"/>
                    <a:pt x="1280" y="1575"/>
                  </a:cubicBezTo>
                  <a:lnTo>
                    <a:pt x="68" y="1575"/>
                  </a:lnTo>
                  <a:close/>
                  <a:moveTo>
                    <a:pt x="68" y="1575"/>
                  </a:moveTo>
                  <a:cubicBezTo>
                    <a:pt x="68" y="1575"/>
                    <a:pt x="68" y="1575"/>
                    <a:pt x="68" y="15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513"/>
            <p:cNvSpPr>
              <a:spLocks noEditPoints="1"/>
            </p:cNvSpPr>
            <p:nvPr/>
          </p:nvSpPr>
          <p:spPr bwMode="auto">
            <a:xfrm>
              <a:off x="4518" y="3908"/>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9"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9"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514"/>
            <p:cNvSpPr>
              <a:spLocks noEditPoints="1"/>
            </p:cNvSpPr>
            <p:nvPr/>
          </p:nvSpPr>
          <p:spPr bwMode="auto">
            <a:xfrm>
              <a:off x="4094" y="4069"/>
              <a:ext cx="435" cy="575"/>
            </a:xfrm>
            <a:custGeom>
              <a:avLst/>
              <a:gdLst>
                <a:gd name="T0" fmla="*/ 211 w 230"/>
                <a:gd name="T1" fmla="*/ 10 h 304"/>
                <a:gd name="T2" fmla="*/ 167 w 230"/>
                <a:gd name="T3" fmla="*/ 19 h 304"/>
                <a:gd name="T4" fmla="*/ 9 w 230"/>
                <a:gd name="T5" fmla="*/ 255 h 304"/>
                <a:gd name="T6" fmla="*/ 18 w 230"/>
                <a:gd name="T7" fmla="*/ 299 h 304"/>
                <a:gd name="T8" fmla="*/ 36 w 230"/>
                <a:gd name="T9" fmla="*/ 304 h 304"/>
                <a:gd name="T10" fmla="*/ 63 w 230"/>
                <a:gd name="T11" fmla="*/ 290 h 304"/>
                <a:gd name="T12" fmla="*/ 220 w 230"/>
                <a:gd name="T13" fmla="*/ 54 h 304"/>
                <a:gd name="T14" fmla="*/ 211 w 230"/>
                <a:gd name="T15" fmla="*/ 10 h 304"/>
                <a:gd name="T16" fmla="*/ 211 w 230"/>
                <a:gd name="T17" fmla="*/ 10 h 304"/>
                <a:gd name="T18" fmla="*/ 211 w 230"/>
                <a:gd name="T19" fmla="*/ 1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304">
                  <a:moveTo>
                    <a:pt x="211" y="10"/>
                  </a:moveTo>
                  <a:cubicBezTo>
                    <a:pt x="197" y="0"/>
                    <a:pt x="177" y="4"/>
                    <a:pt x="167" y="19"/>
                  </a:cubicBezTo>
                  <a:cubicBezTo>
                    <a:pt x="9" y="255"/>
                    <a:pt x="9" y="255"/>
                    <a:pt x="9" y="255"/>
                  </a:cubicBezTo>
                  <a:cubicBezTo>
                    <a:pt x="0" y="269"/>
                    <a:pt x="4" y="289"/>
                    <a:pt x="18" y="299"/>
                  </a:cubicBezTo>
                  <a:cubicBezTo>
                    <a:pt x="24" y="303"/>
                    <a:pt x="30" y="304"/>
                    <a:pt x="36" y="304"/>
                  </a:cubicBezTo>
                  <a:cubicBezTo>
                    <a:pt x="46" y="304"/>
                    <a:pt x="57" y="299"/>
                    <a:pt x="63" y="290"/>
                  </a:cubicBezTo>
                  <a:cubicBezTo>
                    <a:pt x="220" y="54"/>
                    <a:pt x="220" y="54"/>
                    <a:pt x="220" y="54"/>
                  </a:cubicBezTo>
                  <a:cubicBezTo>
                    <a:pt x="230" y="39"/>
                    <a:pt x="226" y="20"/>
                    <a:pt x="211" y="10"/>
                  </a:cubicBezTo>
                  <a:close/>
                  <a:moveTo>
                    <a:pt x="211" y="10"/>
                  </a:moveTo>
                  <a:cubicBezTo>
                    <a:pt x="211" y="10"/>
                    <a:pt x="211" y="10"/>
                    <a:pt x="211"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0" name="Group 539"/>
          <p:cNvGrpSpPr>
            <a:grpSpLocks noChangeAspect="1"/>
          </p:cNvGrpSpPr>
          <p:nvPr/>
        </p:nvGrpSpPr>
        <p:grpSpPr bwMode="auto">
          <a:xfrm>
            <a:off x="6654789" y="2766850"/>
            <a:ext cx="365760" cy="375884"/>
            <a:chOff x="795" y="737"/>
            <a:chExt cx="3107" cy="3193"/>
          </a:xfrm>
          <a:solidFill>
            <a:schemeClr val="bg1"/>
          </a:solidFill>
        </p:grpSpPr>
        <p:sp>
          <p:nvSpPr>
            <p:cNvPr id="91" name="Freeform 540"/>
            <p:cNvSpPr>
              <a:spLocks noEditPoints="1"/>
            </p:cNvSpPr>
            <p:nvPr/>
          </p:nvSpPr>
          <p:spPr bwMode="auto">
            <a:xfrm>
              <a:off x="1276" y="737"/>
              <a:ext cx="2626" cy="3193"/>
            </a:xfrm>
            <a:custGeom>
              <a:avLst/>
              <a:gdLst>
                <a:gd name="T0" fmla="*/ 1244 w 1387"/>
                <a:gd name="T1" fmla="*/ 957 h 1687"/>
                <a:gd name="T2" fmla="*/ 1244 w 1387"/>
                <a:gd name="T3" fmla="*/ 1021 h 1687"/>
                <a:gd name="T4" fmla="*/ 775 w 1387"/>
                <a:gd name="T5" fmla="*/ 1523 h 1687"/>
                <a:gd name="T6" fmla="*/ 703 w 1387"/>
                <a:gd name="T7" fmla="*/ 1067 h 1687"/>
                <a:gd name="T8" fmla="*/ 923 w 1387"/>
                <a:gd name="T9" fmla="*/ 944 h 1687"/>
                <a:gd name="T10" fmla="*/ 1081 w 1387"/>
                <a:gd name="T11" fmla="*/ 642 h 1687"/>
                <a:gd name="T12" fmla="*/ 985 w 1387"/>
                <a:gd name="T13" fmla="*/ 314 h 1687"/>
                <a:gd name="T14" fmla="*/ 914 w 1387"/>
                <a:gd name="T15" fmla="*/ 861 h 1687"/>
                <a:gd name="T16" fmla="*/ 751 w 1387"/>
                <a:gd name="T17" fmla="*/ 555 h 1687"/>
                <a:gd name="T18" fmla="*/ 568 w 1387"/>
                <a:gd name="T19" fmla="*/ 272 h 1687"/>
                <a:gd name="T20" fmla="*/ 385 w 1387"/>
                <a:gd name="T21" fmla="*/ 555 h 1687"/>
                <a:gd name="T22" fmla="*/ 222 w 1387"/>
                <a:gd name="T23" fmla="*/ 861 h 1687"/>
                <a:gd name="T24" fmla="*/ 798 w 1387"/>
                <a:gd name="T25" fmla="*/ 174 h 1687"/>
                <a:gd name="T26" fmla="*/ 830 w 1387"/>
                <a:gd name="T27" fmla="*/ 119 h 1687"/>
                <a:gd name="T28" fmla="*/ 202 w 1387"/>
                <a:gd name="T29" fmla="*/ 933 h 1687"/>
                <a:gd name="T30" fmla="*/ 434 w 1387"/>
                <a:gd name="T31" fmla="*/ 1182 h 1687"/>
                <a:gd name="T32" fmla="*/ 299 w 1387"/>
                <a:gd name="T33" fmla="*/ 1092 h 1687"/>
                <a:gd name="T34" fmla="*/ 141 w 1387"/>
                <a:gd name="T35" fmla="*/ 1295 h 1687"/>
                <a:gd name="T36" fmla="*/ 186 w 1387"/>
                <a:gd name="T37" fmla="*/ 1295 h 1687"/>
                <a:gd name="T38" fmla="*/ 434 w 1387"/>
                <a:gd name="T39" fmla="*/ 1272 h 1687"/>
                <a:gd name="T40" fmla="*/ 568 w 1387"/>
                <a:gd name="T41" fmla="*/ 1687 h 1687"/>
                <a:gd name="T42" fmla="*/ 703 w 1387"/>
                <a:gd name="T43" fmla="*/ 1541 h 1687"/>
                <a:gd name="T44" fmla="*/ 775 w 1387"/>
                <a:gd name="T45" fmla="*/ 1601 h 1687"/>
                <a:gd name="T46" fmla="*/ 1323 w 1387"/>
                <a:gd name="T47" fmla="*/ 1066 h 1687"/>
                <a:gd name="T48" fmla="*/ 1355 w 1387"/>
                <a:gd name="T49" fmla="*/ 1133 h 1687"/>
                <a:gd name="T50" fmla="*/ 1387 w 1387"/>
                <a:gd name="T51" fmla="*/ 989 h 1687"/>
                <a:gd name="T52" fmla="*/ 568 w 1387"/>
                <a:gd name="T53" fmla="*/ 336 h 1687"/>
                <a:gd name="T54" fmla="*/ 634 w 1387"/>
                <a:gd name="T55" fmla="*/ 404 h 1687"/>
                <a:gd name="T56" fmla="*/ 491 w 1387"/>
                <a:gd name="T57" fmla="*/ 459 h 1687"/>
                <a:gd name="T58" fmla="*/ 449 w 1387"/>
                <a:gd name="T59" fmla="*/ 455 h 1687"/>
                <a:gd name="T60" fmla="*/ 449 w 1387"/>
                <a:gd name="T61" fmla="*/ 523 h 1687"/>
                <a:gd name="T62" fmla="*/ 624 w 1387"/>
                <a:gd name="T63" fmla="*/ 472 h 1687"/>
                <a:gd name="T64" fmla="*/ 687 w 1387"/>
                <a:gd name="T65" fmla="*/ 555 h 1687"/>
                <a:gd name="T66" fmla="*/ 449 w 1387"/>
                <a:gd name="T67" fmla="*/ 555 h 1687"/>
                <a:gd name="T68" fmla="*/ 639 w 1387"/>
                <a:gd name="T69" fmla="*/ 1552 h 1687"/>
                <a:gd name="T70" fmla="*/ 498 w 1387"/>
                <a:gd name="T71" fmla="*/ 1552 h 1687"/>
                <a:gd name="T72" fmla="*/ 568 w 1387"/>
                <a:gd name="T73" fmla="*/ 1085 h 1687"/>
                <a:gd name="T74" fmla="*/ 639 w 1387"/>
                <a:gd name="T75" fmla="*/ 1552 h 1687"/>
                <a:gd name="T76" fmla="*/ 271 w 1387"/>
                <a:gd name="T77" fmla="*/ 911 h 1687"/>
                <a:gd name="T78" fmla="*/ 536 w 1387"/>
                <a:gd name="T79" fmla="*/ 738 h 1687"/>
                <a:gd name="T80" fmla="*/ 568 w 1387"/>
                <a:gd name="T81" fmla="*/ 888 h 1687"/>
                <a:gd name="T82" fmla="*/ 600 w 1387"/>
                <a:gd name="T83" fmla="*/ 738 h 1687"/>
                <a:gd name="T84" fmla="*/ 865 w 1387"/>
                <a:gd name="T85" fmla="*/ 911 h 1687"/>
                <a:gd name="T86" fmla="*/ 568 w 1387"/>
                <a:gd name="T87" fmla="*/ 1021 h 1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7" h="1687">
                  <a:moveTo>
                    <a:pt x="1355" y="957"/>
                  </a:moveTo>
                  <a:cubicBezTo>
                    <a:pt x="1244" y="957"/>
                    <a:pt x="1244" y="957"/>
                    <a:pt x="1244" y="957"/>
                  </a:cubicBezTo>
                  <a:cubicBezTo>
                    <a:pt x="1226" y="957"/>
                    <a:pt x="1212" y="971"/>
                    <a:pt x="1212" y="989"/>
                  </a:cubicBezTo>
                  <a:cubicBezTo>
                    <a:pt x="1212" y="1007"/>
                    <a:pt x="1226" y="1021"/>
                    <a:pt x="1244" y="1021"/>
                  </a:cubicBezTo>
                  <a:cubicBezTo>
                    <a:pt x="1278" y="1021"/>
                    <a:pt x="1278" y="1021"/>
                    <a:pt x="1278" y="1021"/>
                  </a:cubicBezTo>
                  <a:cubicBezTo>
                    <a:pt x="775" y="1523"/>
                    <a:pt x="775" y="1523"/>
                    <a:pt x="775" y="1523"/>
                  </a:cubicBezTo>
                  <a:cubicBezTo>
                    <a:pt x="703" y="1451"/>
                    <a:pt x="703" y="1451"/>
                    <a:pt x="703" y="1451"/>
                  </a:cubicBezTo>
                  <a:cubicBezTo>
                    <a:pt x="703" y="1067"/>
                    <a:pt x="703" y="1067"/>
                    <a:pt x="703" y="1067"/>
                  </a:cubicBezTo>
                  <a:cubicBezTo>
                    <a:pt x="783" y="1046"/>
                    <a:pt x="859" y="1005"/>
                    <a:pt x="923" y="944"/>
                  </a:cubicBezTo>
                  <a:cubicBezTo>
                    <a:pt x="923" y="944"/>
                    <a:pt x="923" y="944"/>
                    <a:pt x="923" y="944"/>
                  </a:cubicBezTo>
                  <a:cubicBezTo>
                    <a:pt x="927" y="941"/>
                    <a:pt x="931" y="937"/>
                    <a:pt x="935" y="933"/>
                  </a:cubicBezTo>
                  <a:cubicBezTo>
                    <a:pt x="1014" y="854"/>
                    <a:pt x="1065" y="753"/>
                    <a:pt x="1081" y="642"/>
                  </a:cubicBezTo>
                  <a:cubicBezTo>
                    <a:pt x="1097" y="535"/>
                    <a:pt x="1078" y="423"/>
                    <a:pt x="1028" y="327"/>
                  </a:cubicBezTo>
                  <a:cubicBezTo>
                    <a:pt x="1020" y="311"/>
                    <a:pt x="1000" y="305"/>
                    <a:pt x="985" y="314"/>
                  </a:cubicBezTo>
                  <a:cubicBezTo>
                    <a:pt x="969" y="322"/>
                    <a:pt x="963" y="341"/>
                    <a:pt x="971" y="357"/>
                  </a:cubicBezTo>
                  <a:cubicBezTo>
                    <a:pt x="1058" y="523"/>
                    <a:pt x="1034" y="721"/>
                    <a:pt x="914" y="861"/>
                  </a:cubicBezTo>
                  <a:cubicBezTo>
                    <a:pt x="874" y="772"/>
                    <a:pt x="794" y="706"/>
                    <a:pt x="699" y="683"/>
                  </a:cubicBezTo>
                  <a:cubicBezTo>
                    <a:pt x="731" y="650"/>
                    <a:pt x="751" y="605"/>
                    <a:pt x="751" y="555"/>
                  </a:cubicBezTo>
                  <a:cubicBezTo>
                    <a:pt x="751" y="455"/>
                    <a:pt x="751" y="455"/>
                    <a:pt x="751" y="455"/>
                  </a:cubicBezTo>
                  <a:cubicBezTo>
                    <a:pt x="751" y="354"/>
                    <a:pt x="669" y="272"/>
                    <a:pt x="568" y="272"/>
                  </a:cubicBezTo>
                  <a:cubicBezTo>
                    <a:pt x="467" y="272"/>
                    <a:pt x="385" y="354"/>
                    <a:pt x="385" y="455"/>
                  </a:cubicBezTo>
                  <a:cubicBezTo>
                    <a:pt x="385" y="555"/>
                    <a:pt x="385" y="555"/>
                    <a:pt x="385" y="555"/>
                  </a:cubicBezTo>
                  <a:cubicBezTo>
                    <a:pt x="385" y="605"/>
                    <a:pt x="405" y="650"/>
                    <a:pt x="438" y="683"/>
                  </a:cubicBezTo>
                  <a:cubicBezTo>
                    <a:pt x="343" y="706"/>
                    <a:pt x="263" y="772"/>
                    <a:pt x="222" y="861"/>
                  </a:cubicBezTo>
                  <a:cubicBezTo>
                    <a:pt x="70" y="683"/>
                    <a:pt x="78" y="414"/>
                    <a:pt x="247" y="245"/>
                  </a:cubicBezTo>
                  <a:cubicBezTo>
                    <a:pt x="393" y="99"/>
                    <a:pt x="619" y="70"/>
                    <a:pt x="798" y="174"/>
                  </a:cubicBezTo>
                  <a:cubicBezTo>
                    <a:pt x="813" y="183"/>
                    <a:pt x="832" y="178"/>
                    <a:pt x="841" y="163"/>
                  </a:cubicBezTo>
                  <a:cubicBezTo>
                    <a:pt x="850" y="148"/>
                    <a:pt x="845" y="128"/>
                    <a:pt x="830" y="119"/>
                  </a:cubicBezTo>
                  <a:cubicBezTo>
                    <a:pt x="627" y="0"/>
                    <a:pt x="368" y="34"/>
                    <a:pt x="202" y="200"/>
                  </a:cubicBezTo>
                  <a:cubicBezTo>
                    <a:pt x="0" y="402"/>
                    <a:pt x="0" y="731"/>
                    <a:pt x="202" y="933"/>
                  </a:cubicBezTo>
                  <a:cubicBezTo>
                    <a:pt x="268" y="1000"/>
                    <a:pt x="349" y="1045"/>
                    <a:pt x="434" y="1067"/>
                  </a:cubicBezTo>
                  <a:cubicBezTo>
                    <a:pt x="434" y="1182"/>
                    <a:pt x="434" y="1182"/>
                    <a:pt x="434" y="1182"/>
                  </a:cubicBezTo>
                  <a:cubicBezTo>
                    <a:pt x="344" y="1092"/>
                    <a:pt x="344" y="1092"/>
                    <a:pt x="344" y="1092"/>
                  </a:cubicBezTo>
                  <a:cubicBezTo>
                    <a:pt x="331" y="1079"/>
                    <a:pt x="311" y="1079"/>
                    <a:pt x="299" y="1092"/>
                  </a:cubicBezTo>
                  <a:cubicBezTo>
                    <a:pt x="141" y="1250"/>
                    <a:pt x="141" y="1250"/>
                    <a:pt x="141" y="1250"/>
                  </a:cubicBezTo>
                  <a:cubicBezTo>
                    <a:pt x="128" y="1262"/>
                    <a:pt x="128" y="1282"/>
                    <a:pt x="141" y="1295"/>
                  </a:cubicBezTo>
                  <a:cubicBezTo>
                    <a:pt x="147" y="1301"/>
                    <a:pt x="155" y="1304"/>
                    <a:pt x="163" y="1304"/>
                  </a:cubicBezTo>
                  <a:cubicBezTo>
                    <a:pt x="172" y="1304"/>
                    <a:pt x="180" y="1301"/>
                    <a:pt x="186" y="1295"/>
                  </a:cubicBezTo>
                  <a:cubicBezTo>
                    <a:pt x="321" y="1160"/>
                    <a:pt x="321" y="1160"/>
                    <a:pt x="321" y="1160"/>
                  </a:cubicBezTo>
                  <a:cubicBezTo>
                    <a:pt x="434" y="1272"/>
                    <a:pt x="434" y="1272"/>
                    <a:pt x="434" y="1272"/>
                  </a:cubicBezTo>
                  <a:cubicBezTo>
                    <a:pt x="434" y="1552"/>
                    <a:pt x="434" y="1552"/>
                    <a:pt x="434" y="1552"/>
                  </a:cubicBezTo>
                  <a:cubicBezTo>
                    <a:pt x="434" y="1626"/>
                    <a:pt x="494" y="1687"/>
                    <a:pt x="568" y="1687"/>
                  </a:cubicBezTo>
                  <a:cubicBezTo>
                    <a:pt x="642" y="1687"/>
                    <a:pt x="703" y="1626"/>
                    <a:pt x="703" y="1552"/>
                  </a:cubicBezTo>
                  <a:cubicBezTo>
                    <a:pt x="703" y="1541"/>
                    <a:pt x="703" y="1541"/>
                    <a:pt x="703" y="1541"/>
                  </a:cubicBezTo>
                  <a:cubicBezTo>
                    <a:pt x="753" y="1591"/>
                    <a:pt x="753" y="1591"/>
                    <a:pt x="753" y="1591"/>
                  </a:cubicBezTo>
                  <a:cubicBezTo>
                    <a:pt x="759" y="1598"/>
                    <a:pt x="767" y="1601"/>
                    <a:pt x="775" y="1601"/>
                  </a:cubicBezTo>
                  <a:cubicBezTo>
                    <a:pt x="784" y="1601"/>
                    <a:pt x="792" y="1598"/>
                    <a:pt x="798" y="1591"/>
                  </a:cubicBezTo>
                  <a:cubicBezTo>
                    <a:pt x="1323" y="1066"/>
                    <a:pt x="1323" y="1066"/>
                    <a:pt x="1323" y="1066"/>
                  </a:cubicBezTo>
                  <a:cubicBezTo>
                    <a:pt x="1323" y="1101"/>
                    <a:pt x="1323" y="1101"/>
                    <a:pt x="1323" y="1101"/>
                  </a:cubicBezTo>
                  <a:cubicBezTo>
                    <a:pt x="1323" y="1118"/>
                    <a:pt x="1338" y="1133"/>
                    <a:pt x="1355" y="1133"/>
                  </a:cubicBezTo>
                  <a:cubicBezTo>
                    <a:pt x="1373" y="1133"/>
                    <a:pt x="1387" y="1118"/>
                    <a:pt x="1387" y="1101"/>
                  </a:cubicBezTo>
                  <a:cubicBezTo>
                    <a:pt x="1387" y="989"/>
                    <a:pt x="1387" y="989"/>
                    <a:pt x="1387" y="989"/>
                  </a:cubicBezTo>
                  <a:cubicBezTo>
                    <a:pt x="1387" y="971"/>
                    <a:pt x="1373" y="957"/>
                    <a:pt x="1355" y="957"/>
                  </a:cubicBezTo>
                  <a:close/>
                  <a:moveTo>
                    <a:pt x="568" y="336"/>
                  </a:moveTo>
                  <a:cubicBezTo>
                    <a:pt x="627" y="336"/>
                    <a:pt x="675" y="379"/>
                    <a:pt x="685" y="434"/>
                  </a:cubicBezTo>
                  <a:cubicBezTo>
                    <a:pt x="634" y="404"/>
                    <a:pt x="634" y="404"/>
                    <a:pt x="634" y="404"/>
                  </a:cubicBezTo>
                  <a:cubicBezTo>
                    <a:pt x="621" y="397"/>
                    <a:pt x="604" y="399"/>
                    <a:pt x="594" y="411"/>
                  </a:cubicBezTo>
                  <a:cubicBezTo>
                    <a:pt x="568" y="442"/>
                    <a:pt x="531" y="459"/>
                    <a:pt x="491" y="459"/>
                  </a:cubicBezTo>
                  <a:cubicBezTo>
                    <a:pt x="449" y="459"/>
                    <a:pt x="449" y="459"/>
                    <a:pt x="449" y="459"/>
                  </a:cubicBezTo>
                  <a:cubicBezTo>
                    <a:pt x="449" y="455"/>
                    <a:pt x="449" y="455"/>
                    <a:pt x="449" y="455"/>
                  </a:cubicBezTo>
                  <a:cubicBezTo>
                    <a:pt x="449" y="390"/>
                    <a:pt x="503" y="336"/>
                    <a:pt x="568" y="336"/>
                  </a:cubicBezTo>
                  <a:close/>
                  <a:moveTo>
                    <a:pt x="449" y="523"/>
                  </a:moveTo>
                  <a:cubicBezTo>
                    <a:pt x="491" y="523"/>
                    <a:pt x="491" y="523"/>
                    <a:pt x="491" y="523"/>
                  </a:cubicBezTo>
                  <a:cubicBezTo>
                    <a:pt x="541" y="523"/>
                    <a:pt x="587" y="505"/>
                    <a:pt x="624" y="472"/>
                  </a:cubicBezTo>
                  <a:cubicBezTo>
                    <a:pt x="687" y="510"/>
                    <a:pt x="687" y="510"/>
                    <a:pt x="687" y="510"/>
                  </a:cubicBezTo>
                  <a:cubicBezTo>
                    <a:pt x="687" y="555"/>
                    <a:pt x="687" y="555"/>
                    <a:pt x="687" y="555"/>
                  </a:cubicBezTo>
                  <a:cubicBezTo>
                    <a:pt x="687" y="621"/>
                    <a:pt x="634" y="674"/>
                    <a:pt x="568" y="674"/>
                  </a:cubicBezTo>
                  <a:cubicBezTo>
                    <a:pt x="503" y="674"/>
                    <a:pt x="449" y="621"/>
                    <a:pt x="449" y="555"/>
                  </a:cubicBezTo>
                  <a:cubicBezTo>
                    <a:pt x="449" y="523"/>
                    <a:pt x="449" y="523"/>
                    <a:pt x="449" y="523"/>
                  </a:cubicBezTo>
                  <a:close/>
                  <a:moveTo>
                    <a:pt x="639" y="1552"/>
                  </a:moveTo>
                  <a:cubicBezTo>
                    <a:pt x="639" y="1591"/>
                    <a:pt x="607" y="1623"/>
                    <a:pt x="568" y="1623"/>
                  </a:cubicBezTo>
                  <a:cubicBezTo>
                    <a:pt x="529" y="1623"/>
                    <a:pt x="498" y="1591"/>
                    <a:pt x="498" y="1552"/>
                  </a:cubicBezTo>
                  <a:cubicBezTo>
                    <a:pt x="498" y="1080"/>
                    <a:pt x="498" y="1080"/>
                    <a:pt x="498" y="1080"/>
                  </a:cubicBezTo>
                  <a:cubicBezTo>
                    <a:pt x="521" y="1083"/>
                    <a:pt x="545" y="1085"/>
                    <a:pt x="568" y="1085"/>
                  </a:cubicBezTo>
                  <a:cubicBezTo>
                    <a:pt x="592" y="1085"/>
                    <a:pt x="615" y="1083"/>
                    <a:pt x="639" y="1080"/>
                  </a:cubicBezTo>
                  <a:lnTo>
                    <a:pt x="639" y="1552"/>
                  </a:lnTo>
                  <a:close/>
                  <a:moveTo>
                    <a:pt x="568" y="1021"/>
                  </a:moveTo>
                  <a:cubicBezTo>
                    <a:pt x="462" y="1021"/>
                    <a:pt x="356" y="984"/>
                    <a:pt x="271" y="911"/>
                  </a:cubicBezTo>
                  <a:cubicBezTo>
                    <a:pt x="306" y="808"/>
                    <a:pt x="403" y="738"/>
                    <a:pt x="513" y="738"/>
                  </a:cubicBezTo>
                  <a:cubicBezTo>
                    <a:pt x="536" y="738"/>
                    <a:pt x="536" y="738"/>
                    <a:pt x="536" y="738"/>
                  </a:cubicBezTo>
                  <a:cubicBezTo>
                    <a:pt x="536" y="856"/>
                    <a:pt x="536" y="856"/>
                    <a:pt x="536" y="856"/>
                  </a:cubicBezTo>
                  <a:cubicBezTo>
                    <a:pt x="536" y="874"/>
                    <a:pt x="551" y="888"/>
                    <a:pt x="568" y="888"/>
                  </a:cubicBezTo>
                  <a:cubicBezTo>
                    <a:pt x="586" y="888"/>
                    <a:pt x="600" y="874"/>
                    <a:pt x="600" y="856"/>
                  </a:cubicBezTo>
                  <a:cubicBezTo>
                    <a:pt x="600" y="738"/>
                    <a:pt x="600" y="738"/>
                    <a:pt x="600" y="738"/>
                  </a:cubicBezTo>
                  <a:cubicBezTo>
                    <a:pt x="623" y="738"/>
                    <a:pt x="623" y="738"/>
                    <a:pt x="623" y="738"/>
                  </a:cubicBezTo>
                  <a:cubicBezTo>
                    <a:pt x="733" y="738"/>
                    <a:pt x="830" y="808"/>
                    <a:pt x="865" y="911"/>
                  </a:cubicBezTo>
                  <a:cubicBezTo>
                    <a:pt x="780" y="984"/>
                    <a:pt x="674" y="1021"/>
                    <a:pt x="568" y="1021"/>
                  </a:cubicBezTo>
                  <a:close/>
                  <a:moveTo>
                    <a:pt x="568" y="1021"/>
                  </a:moveTo>
                  <a:cubicBezTo>
                    <a:pt x="568" y="1021"/>
                    <a:pt x="568" y="1021"/>
                    <a:pt x="568" y="10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41"/>
            <p:cNvSpPr>
              <a:spLocks noEditPoints="1"/>
            </p:cNvSpPr>
            <p:nvPr/>
          </p:nvSpPr>
          <p:spPr bwMode="auto">
            <a:xfrm>
              <a:off x="795" y="3402"/>
              <a:ext cx="532" cy="528"/>
            </a:xfrm>
            <a:custGeom>
              <a:avLst/>
              <a:gdLst>
                <a:gd name="T0" fmla="*/ 269 w 281"/>
                <a:gd name="T1" fmla="*/ 13 h 279"/>
                <a:gd name="T2" fmla="*/ 224 w 281"/>
                <a:gd name="T3" fmla="*/ 13 h 279"/>
                <a:gd name="T4" fmla="*/ 12 w 281"/>
                <a:gd name="T5" fmla="*/ 224 h 279"/>
                <a:gd name="T6" fmla="*/ 12 w 281"/>
                <a:gd name="T7" fmla="*/ 269 h 279"/>
                <a:gd name="T8" fmla="*/ 35 w 281"/>
                <a:gd name="T9" fmla="*/ 279 h 279"/>
                <a:gd name="T10" fmla="*/ 58 w 281"/>
                <a:gd name="T11" fmla="*/ 269 h 279"/>
                <a:gd name="T12" fmla="*/ 269 w 281"/>
                <a:gd name="T13" fmla="*/ 58 h 279"/>
                <a:gd name="T14" fmla="*/ 269 w 281"/>
                <a:gd name="T15" fmla="*/ 13 h 279"/>
                <a:gd name="T16" fmla="*/ 269 w 281"/>
                <a:gd name="T17" fmla="*/ 13 h 279"/>
                <a:gd name="T18" fmla="*/ 269 w 281"/>
                <a:gd name="T19" fmla="*/ 1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1" h="279">
                  <a:moveTo>
                    <a:pt x="269" y="13"/>
                  </a:moveTo>
                  <a:cubicBezTo>
                    <a:pt x="256" y="0"/>
                    <a:pt x="236" y="0"/>
                    <a:pt x="224" y="13"/>
                  </a:cubicBezTo>
                  <a:cubicBezTo>
                    <a:pt x="12" y="224"/>
                    <a:pt x="12" y="224"/>
                    <a:pt x="12" y="224"/>
                  </a:cubicBezTo>
                  <a:cubicBezTo>
                    <a:pt x="0" y="237"/>
                    <a:pt x="0" y="257"/>
                    <a:pt x="12" y="269"/>
                  </a:cubicBezTo>
                  <a:cubicBezTo>
                    <a:pt x="19" y="276"/>
                    <a:pt x="27" y="279"/>
                    <a:pt x="35" y="279"/>
                  </a:cubicBezTo>
                  <a:cubicBezTo>
                    <a:pt x="43" y="279"/>
                    <a:pt x="51" y="276"/>
                    <a:pt x="58" y="269"/>
                  </a:cubicBezTo>
                  <a:cubicBezTo>
                    <a:pt x="269" y="58"/>
                    <a:pt x="269" y="58"/>
                    <a:pt x="269" y="58"/>
                  </a:cubicBezTo>
                  <a:cubicBezTo>
                    <a:pt x="281" y="46"/>
                    <a:pt x="281" y="25"/>
                    <a:pt x="269" y="13"/>
                  </a:cubicBezTo>
                  <a:close/>
                  <a:moveTo>
                    <a:pt x="269" y="13"/>
                  </a:moveTo>
                  <a:cubicBezTo>
                    <a:pt x="269" y="13"/>
                    <a:pt x="269" y="13"/>
                    <a:pt x="269"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42"/>
            <p:cNvSpPr>
              <a:spLocks noEditPoints="1"/>
            </p:cNvSpPr>
            <p:nvPr/>
          </p:nvSpPr>
          <p:spPr bwMode="auto">
            <a:xfrm>
              <a:off x="1371" y="3240"/>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9"/>
                    <a:pt x="9" y="55"/>
                  </a:cubicBezTo>
                  <a:cubicBezTo>
                    <a:pt x="15" y="60"/>
                    <a:pt x="23" y="64"/>
                    <a:pt x="32" y="64"/>
                  </a:cubicBezTo>
                  <a:cubicBezTo>
                    <a:pt x="40" y="64"/>
                    <a:pt x="48" y="60"/>
                    <a:pt x="54" y="55"/>
                  </a:cubicBezTo>
                  <a:cubicBezTo>
                    <a:pt x="60" y="49"/>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43"/>
            <p:cNvSpPr>
              <a:spLocks noEditPoints="1"/>
            </p:cNvSpPr>
            <p:nvPr/>
          </p:nvSpPr>
          <p:spPr bwMode="auto">
            <a:xfrm>
              <a:off x="2942" y="1099"/>
              <a:ext cx="122" cy="121"/>
            </a:xfrm>
            <a:custGeom>
              <a:avLst/>
              <a:gdLst>
                <a:gd name="T0" fmla="*/ 64 w 64"/>
                <a:gd name="T1" fmla="*/ 32 h 64"/>
                <a:gd name="T2" fmla="*/ 32 w 64"/>
                <a:gd name="T3" fmla="*/ 64 h 64"/>
                <a:gd name="T4" fmla="*/ 0 w 64"/>
                <a:gd name="T5" fmla="*/ 32 h 64"/>
                <a:gd name="T6" fmla="*/ 32 w 64"/>
                <a:gd name="T7" fmla="*/ 0 h 64"/>
                <a:gd name="T8" fmla="*/ 64 w 64"/>
                <a:gd name="T9" fmla="*/ 32 h 64"/>
                <a:gd name="T10" fmla="*/ 64 w 64"/>
                <a:gd name="T11" fmla="*/ 32 h 64"/>
                <a:gd name="T12" fmla="*/ 64 w 64"/>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64" h="64">
                  <a:moveTo>
                    <a:pt x="64" y="32"/>
                  </a:moveTo>
                  <a:cubicBezTo>
                    <a:pt x="64" y="49"/>
                    <a:pt x="50" y="64"/>
                    <a:pt x="32" y="64"/>
                  </a:cubicBezTo>
                  <a:cubicBezTo>
                    <a:pt x="14" y="64"/>
                    <a:pt x="0" y="49"/>
                    <a:pt x="0" y="32"/>
                  </a:cubicBezTo>
                  <a:cubicBezTo>
                    <a:pt x="0" y="14"/>
                    <a:pt x="14" y="0"/>
                    <a:pt x="32" y="0"/>
                  </a:cubicBezTo>
                  <a:cubicBezTo>
                    <a:pt x="50" y="0"/>
                    <a:pt x="64" y="14"/>
                    <a:pt x="64" y="32"/>
                  </a:cubicBezTo>
                  <a:close/>
                  <a:moveTo>
                    <a:pt x="64" y="32"/>
                  </a:moveTo>
                  <a:cubicBezTo>
                    <a:pt x="64" y="32"/>
                    <a:pt x="64" y="32"/>
                    <a:pt x="64"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95" name="Shape 192">
            <a:extLst>
              <a:ext uri="{FF2B5EF4-FFF2-40B4-BE49-F238E27FC236}">
                <a16:creationId xmlns:a16="http://schemas.microsoft.com/office/drawing/2014/main" id="{1649FF29-0F13-4294-B523-E997689E5CC2}"/>
              </a:ext>
            </a:extLst>
          </p:cNvPr>
          <p:cNvPicPr preferRelativeResize="0">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460313" y="2114819"/>
            <a:ext cx="936625" cy="32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16">
            <a:extLst>
              <a:ext uri="{FF2B5EF4-FFF2-40B4-BE49-F238E27FC236}">
                <a16:creationId xmlns:a16="http://schemas.microsoft.com/office/drawing/2014/main" id="{3795D0C7-C60F-4D1E-AE70-8C33E9BEEF27}"/>
              </a:ext>
            </a:extLst>
          </p:cNvPr>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566675" y="2819162"/>
            <a:ext cx="723900"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Shape 209">
            <a:extLst>
              <a:ext uri="{FF2B5EF4-FFF2-40B4-BE49-F238E27FC236}">
                <a16:creationId xmlns:a16="http://schemas.microsoft.com/office/drawing/2014/main" id="{F887C3B6-F0FD-455A-A930-6E7485DF45F4}"/>
              </a:ext>
            </a:extLst>
          </p:cNvPr>
          <p:cNvPicPr preferRelativeResize="0">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272591" y="3657851"/>
            <a:ext cx="1312069" cy="2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Shape 191">
            <a:extLst>
              <a:ext uri="{FF2B5EF4-FFF2-40B4-BE49-F238E27FC236}">
                <a16:creationId xmlns:a16="http://schemas.microsoft.com/office/drawing/2014/main" id="{C7131AC9-8053-4736-8907-8228E3435459}"/>
              </a:ext>
            </a:extLst>
          </p:cNvPr>
          <p:cNvPicPr preferRelativeResize="0">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218219" y="1372667"/>
            <a:ext cx="14208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Shape 182">
            <a:extLst>
              <a:ext uri="{FF2B5EF4-FFF2-40B4-BE49-F238E27FC236}">
                <a16:creationId xmlns:a16="http://schemas.microsoft.com/office/drawing/2014/main" id="{7DE328EF-FA67-42C3-A948-92C05A4FDBE2}"/>
              </a:ext>
            </a:extLst>
          </p:cNvPr>
          <p:cNvPicPr preferRelativeResize="0">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309500" y="4288459"/>
            <a:ext cx="123825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4049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
        <p:nvSpPr>
          <p:cNvPr id="6" name="Rectangle 5"/>
          <p:cNvSpPr/>
          <p:nvPr/>
        </p:nvSpPr>
        <p:spPr>
          <a:xfrm>
            <a:off x="0" y="0"/>
            <a:ext cx="12192000" cy="6858000"/>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488087" y="4064052"/>
            <a:ext cx="11009646" cy="923330"/>
          </a:xfrm>
          <a:prstGeom prst="rect">
            <a:avLst/>
          </a:prstGeom>
          <a:ln>
            <a:noFill/>
          </a:ln>
        </p:spPr>
        <p:txBody>
          <a:bodyPr wrap="square">
            <a:spAutoFit/>
          </a:bodyPr>
          <a:lstStyle/>
          <a:p>
            <a:r>
              <a:rPr lang="en-US" sz="5400" b="1" dirty="0">
                <a:solidFill>
                  <a:schemeClr val="bg1"/>
                </a:solidFill>
                <a:latin typeface="+mj-lt"/>
              </a:rPr>
              <a:t>Transition Page</a:t>
            </a:r>
          </a:p>
        </p:txBody>
      </p:sp>
      <p:sp>
        <p:nvSpPr>
          <p:cNvPr id="46" name="TextBox 45"/>
          <p:cNvSpPr txBox="1"/>
          <p:nvPr>
            <p:custDataLst>
              <p:tags r:id="rId1"/>
            </p:custDataLst>
          </p:nvPr>
        </p:nvSpPr>
        <p:spPr>
          <a:xfrm>
            <a:off x="488087" y="4987382"/>
            <a:ext cx="9014521" cy="338554"/>
          </a:xfrm>
          <a:prstGeom prst="rect">
            <a:avLst/>
          </a:prstGeom>
          <a:noFill/>
          <a:ln>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fontAlgn="ctr">
              <a:lnSpc>
                <a:spcPct val="100000"/>
              </a:lnSpc>
              <a:buClr>
                <a:srgbClr val="002E6E"/>
              </a:buClr>
              <a:buNone/>
              <a:defRPr/>
            </a:pPr>
            <a:r>
              <a:rPr lang="en-US" sz="1600" dirty="0">
                <a:solidFill>
                  <a:schemeClr val="bg1"/>
                </a:solidFill>
                <a:latin typeface="+mj-lt"/>
                <a:cs typeface="Times New Roman" pitchFamily="18" charset="0"/>
              </a:rPr>
              <a:t>Optional Subtitle Goes Here</a:t>
            </a:r>
          </a:p>
        </p:txBody>
      </p:sp>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7635" y="2968109"/>
            <a:ext cx="3695826" cy="921782"/>
          </a:xfrm>
          <a:prstGeom prst="rect">
            <a:avLst/>
          </a:prstGeom>
        </p:spPr>
      </p:pic>
    </p:spTree>
    <p:extLst>
      <p:ext uri="{BB962C8B-B14F-4D97-AF65-F5344CB8AC3E}">
        <p14:creationId xmlns:p14="http://schemas.microsoft.com/office/powerpoint/2010/main" val="23159300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
        <p:nvSpPr>
          <p:cNvPr id="45" name="Rectangle 44"/>
          <p:cNvSpPr/>
          <p:nvPr/>
        </p:nvSpPr>
        <p:spPr>
          <a:xfrm>
            <a:off x="488087" y="4064052"/>
            <a:ext cx="11009646" cy="923330"/>
          </a:xfrm>
          <a:prstGeom prst="rect">
            <a:avLst/>
          </a:prstGeom>
          <a:ln>
            <a:noFill/>
          </a:ln>
        </p:spPr>
        <p:txBody>
          <a:bodyPr wrap="square">
            <a:spAutoFit/>
          </a:bodyPr>
          <a:lstStyle/>
          <a:p>
            <a:r>
              <a:rPr lang="en-US" sz="5400" b="1" dirty="0">
                <a:solidFill>
                  <a:schemeClr val="bg1"/>
                </a:solidFill>
                <a:latin typeface="+mj-lt"/>
              </a:rPr>
              <a:t>Transition page</a:t>
            </a:r>
          </a:p>
        </p:txBody>
      </p:sp>
      <p:sp>
        <p:nvSpPr>
          <p:cNvPr id="46" name="TextBox 45"/>
          <p:cNvSpPr txBox="1"/>
          <p:nvPr>
            <p:custDataLst>
              <p:tags r:id="rId1"/>
            </p:custDataLst>
          </p:nvPr>
        </p:nvSpPr>
        <p:spPr>
          <a:xfrm>
            <a:off x="488087" y="4987382"/>
            <a:ext cx="9014521" cy="338554"/>
          </a:xfrm>
          <a:prstGeom prst="rect">
            <a:avLst/>
          </a:prstGeom>
          <a:noFill/>
          <a:ln>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fontAlgn="ctr">
              <a:lnSpc>
                <a:spcPct val="100000"/>
              </a:lnSpc>
              <a:buClr>
                <a:srgbClr val="002E6E"/>
              </a:buClr>
              <a:buNone/>
              <a:defRPr/>
            </a:pPr>
            <a:r>
              <a:rPr lang="en-US" sz="1600" dirty="0">
                <a:solidFill>
                  <a:schemeClr val="bg1"/>
                </a:solidFill>
                <a:latin typeface="+mj-lt"/>
                <a:cs typeface="Times New Roman" pitchFamily="18" charset="0"/>
              </a:rPr>
              <a:t>Optional Subtitle Goes Here</a:t>
            </a:r>
          </a:p>
        </p:txBody>
      </p:sp>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7635" y="2968109"/>
            <a:ext cx="3695826" cy="921782"/>
          </a:xfrm>
          <a:prstGeom prst="rect">
            <a:avLst/>
          </a:prstGeom>
        </p:spPr>
      </p:pic>
    </p:spTree>
    <p:extLst>
      <p:ext uri="{BB962C8B-B14F-4D97-AF65-F5344CB8AC3E}">
        <p14:creationId xmlns:p14="http://schemas.microsoft.com/office/powerpoint/2010/main" val="41622043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Blank Slide</a:t>
            </a:r>
          </a:p>
        </p:txBody>
      </p:sp>
    </p:spTree>
    <p:extLst>
      <p:ext uri="{BB962C8B-B14F-4D97-AF65-F5344CB8AC3E}">
        <p14:creationId xmlns:p14="http://schemas.microsoft.com/office/powerpoint/2010/main" val="1461779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trong Global Carrier Customer Base</a:t>
            </a:r>
          </a:p>
        </p:txBody>
      </p:sp>
      <p:grpSp>
        <p:nvGrpSpPr>
          <p:cNvPr id="2" name="Group 1">
            <a:extLst>
              <a:ext uri="{FF2B5EF4-FFF2-40B4-BE49-F238E27FC236}">
                <a16:creationId xmlns:a16="http://schemas.microsoft.com/office/drawing/2014/main" id="{E96341E4-9BA0-1748-892A-F4555A5023B7}"/>
              </a:ext>
            </a:extLst>
          </p:cNvPr>
          <p:cNvGrpSpPr/>
          <p:nvPr/>
        </p:nvGrpSpPr>
        <p:grpSpPr>
          <a:xfrm>
            <a:off x="992515" y="1119757"/>
            <a:ext cx="10177463" cy="4953000"/>
            <a:chOff x="1014285" y="1206843"/>
            <a:chExt cx="10177463" cy="4953000"/>
          </a:xfrm>
        </p:grpSpPr>
        <p:pic>
          <p:nvPicPr>
            <p:cNvPr id="4" name="Shape 66">
              <a:extLst>
                <a:ext uri="{FF2B5EF4-FFF2-40B4-BE49-F238E27FC236}">
                  <a16:creationId xmlns:a16="http://schemas.microsoft.com/office/drawing/2014/main" id="{1815B6BF-B5C2-CD4E-847E-D2C0D5183C7D}"/>
                </a:ext>
              </a:extLst>
            </p:cNvPr>
            <p:cNvPicPr preferRelativeResize="0">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14285" y="1206843"/>
              <a:ext cx="10177463"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0">
              <a:extLst>
                <a:ext uri="{FF2B5EF4-FFF2-40B4-BE49-F238E27FC236}">
                  <a16:creationId xmlns:a16="http://schemas.microsoft.com/office/drawing/2014/main" id="{5144D7D2-B995-384D-AC3A-797B7ADC5753}"/>
                </a:ext>
              </a:extLst>
            </p:cNvPr>
            <p:cNvGrpSpPr>
              <a:grpSpLocks/>
            </p:cNvGrpSpPr>
            <p:nvPr/>
          </p:nvGrpSpPr>
          <p:grpSpPr bwMode="auto">
            <a:xfrm>
              <a:off x="1928686" y="2227690"/>
              <a:ext cx="3246441" cy="3440634"/>
              <a:chOff x="678264" y="2271358"/>
              <a:chExt cx="2614735" cy="3498899"/>
            </a:xfrm>
          </p:grpSpPr>
          <p:pic>
            <p:nvPicPr>
              <p:cNvPr id="41" name="Shape 129">
                <a:extLst>
                  <a:ext uri="{FF2B5EF4-FFF2-40B4-BE49-F238E27FC236}">
                    <a16:creationId xmlns:a16="http://schemas.microsoft.com/office/drawing/2014/main" id="{B9BCAE2F-A848-494A-8E5F-A70B2BB40626}"/>
                  </a:ext>
                </a:extLst>
              </p:cNvPr>
              <p:cNvPicPr preferRelativeResize="0">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50047" y="3936806"/>
                <a:ext cx="538830" cy="1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Shape 130">
                <a:extLst>
                  <a:ext uri="{FF2B5EF4-FFF2-40B4-BE49-F238E27FC236}">
                    <a16:creationId xmlns:a16="http://schemas.microsoft.com/office/drawing/2014/main" id="{A994F215-4653-4446-885E-8FCB14BB8C3D}"/>
                  </a:ext>
                </a:extLst>
              </p:cNvPr>
              <p:cNvPicPr preferRelativeResize="0">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578042" y="3579916"/>
                <a:ext cx="393188" cy="271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Shape 131">
                <a:extLst>
                  <a:ext uri="{FF2B5EF4-FFF2-40B4-BE49-F238E27FC236}">
                    <a16:creationId xmlns:a16="http://schemas.microsoft.com/office/drawing/2014/main" id="{5B07E4F7-FED0-CF40-BF68-437A12932428}"/>
                  </a:ext>
                </a:extLst>
              </p:cNvPr>
              <p:cNvPicPr preferRelativeResize="0">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602217" y="2863122"/>
                <a:ext cx="829953" cy="319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Shape 132">
                <a:extLst>
                  <a:ext uri="{FF2B5EF4-FFF2-40B4-BE49-F238E27FC236}">
                    <a16:creationId xmlns:a16="http://schemas.microsoft.com/office/drawing/2014/main" id="{023973ED-96B9-014E-AD29-52958D4DBB7A}"/>
                  </a:ext>
                </a:extLst>
              </p:cNvPr>
              <p:cNvPicPr preferRelativeResize="0">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661183" y="4834375"/>
                <a:ext cx="299490" cy="297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Shape 134">
                <a:extLst>
                  <a:ext uri="{FF2B5EF4-FFF2-40B4-BE49-F238E27FC236}">
                    <a16:creationId xmlns:a16="http://schemas.microsoft.com/office/drawing/2014/main" id="{FA229FE0-95B9-D643-8D13-261988AC3C69}"/>
                  </a:ext>
                </a:extLst>
              </p:cNvPr>
              <p:cNvPicPr preferRelativeResize="0">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78047" y="3168114"/>
                <a:ext cx="594781" cy="234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Shape 135">
                <a:extLst>
                  <a:ext uri="{FF2B5EF4-FFF2-40B4-BE49-F238E27FC236}">
                    <a16:creationId xmlns:a16="http://schemas.microsoft.com/office/drawing/2014/main" id="{C0766945-26FE-AC4E-8182-A6A5F07ADCF9}"/>
                  </a:ext>
                </a:extLst>
              </p:cNvPr>
              <p:cNvPicPr preferRelativeResize="0">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78264" y="2927600"/>
                <a:ext cx="841610" cy="21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Shape 136">
                <a:extLst>
                  <a:ext uri="{FF2B5EF4-FFF2-40B4-BE49-F238E27FC236}">
                    <a16:creationId xmlns:a16="http://schemas.microsoft.com/office/drawing/2014/main" id="{D215182A-13F8-D34B-BF9E-CBF9E75C27A5}"/>
                  </a:ext>
                </a:extLst>
              </p:cNvPr>
              <p:cNvPicPr preferRelativeResize="0">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795361" y="4456710"/>
                <a:ext cx="497638" cy="284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Shape 137">
                <a:extLst>
                  <a:ext uri="{FF2B5EF4-FFF2-40B4-BE49-F238E27FC236}">
                    <a16:creationId xmlns:a16="http://schemas.microsoft.com/office/drawing/2014/main" id="{C38DBB0C-F7A7-B345-BDE7-80D83B106E53}"/>
                  </a:ext>
                </a:extLst>
              </p:cNvPr>
              <p:cNvPicPr preferRelativeResize="0">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999725" y="4671252"/>
                <a:ext cx="633625"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Shape 138">
                <a:extLst>
                  <a:ext uri="{FF2B5EF4-FFF2-40B4-BE49-F238E27FC236}">
                    <a16:creationId xmlns:a16="http://schemas.microsoft.com/office/drawing/2014/main" id="{B33357CF-64A5-6B4B-9210-7043516079F4}"/>
                  </a:ext>
                </a:extLst>
              </p:cNvPr>
              <p:cNvPicPr preferRelativeResize="0">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251045" y="3160405"/>
                <a:ext cx="544316" cy="182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Shape 139">
                <a:extLst>
                  <a:ext uri="{FF2B5EF4-FFF2-40B4-BE49-F238E27FC236}">
                    <a16:creationId xmlns:a16="http://schemas.microsoft.com/office/drawing/2014/main" id="{4F1EE144-C810-E149-BCA3-32239DDA63E7}"/>
                  </a:ext>
                </a:extLst>
              </p:cNvPr>
              <p:cNvPicPr preferRelativeResize="0">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351890" y="2726089"/>
                <a:ext cx="685782" cy="177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Shape 140">
                <a:extLst>
                  <a:ext uri="{FF2B5EF4-FFF2-40B4-BE49-F238E27FC236}">
                    <a16:creationId xmlns:a16="http://schemas.microsoft.com/office/drawing/2014/main" id="{2C6081BD-A188-7046-A7D2-EAB11B322F3A}"/>
                  </a:ext>
                </a:extLst>
              </p:cNvPr>
              <p:cNvPicPr preferRelativeResize="0">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121402" y="5559275"/>
                <a:ext cx="586075" cy="210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Shape 141">
                <a:extLst>
                  <a:ext uri="{FF2B5EF4-FFF2-40B4-BE49-F238E27FC236}">
                    <a16:creationId xmlns:a16="http://schemas.microsoft.com/office/drawing/2014/main" id="{3DE9E9EB-8AF9-BD46-B31B-C3A65AE85BD0}"/>
                  </a:ext>
                </a:extLst>
              </p:cNvPr>
              <p:cNvPicPr preferRelativeResize="0">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90267" y="3363709"/>
                <a:ext cx="697452" cy="289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Shape 164">
                <a:extLst>
                  <a:ext uri="{FF2B5EF4-FFF2-40B4-BE49-F238E27FC236}">
                    <a16:creationId xmlns:a16="http://schemas.microsoft.com/office/drawing/2014/main" id="{6208B99E-5B88-0242-8D09-7F29C30E127E}"/>
                  </a:ext>
                </a:extLst>
              </p:cNvPr>
              <p:cNvPicPr preferRelativeResize="0">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110278" y="3370660"/>
                <a:ext cx="524790" cy="222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Shape 165">
                <a:extLst>
                  <a:ext uri="{FF2B5EF4-FFF2-40B4-BE49-F238E27FC236}">
                    <a16:creationId xmlns:a16="http://schemas.microsoft.com/office/drawing/2014/main" id="{8F8C7486-EBC6-144D-B9FF-878CEB632D6C}"/>
                  </a:ext>
                </a:extLst>
              </p:cNvPr>
              <p:cNvPicPr preferRelativeResize="0">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2190773" y="4006957"/>
                <a:ext cx="368656" cy="20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Shape 167">
                <a:extLst>
                  <a:ext uri="{FF2B5EF4-FFF2-40B4-BE49-F238E27FC236}">
                    <a16:creationId xmlns:a16="http://schemas.microsoft.com/office/drawing/2014/main" id="{71121203-53D2-7042-8ECA-475EEAAC64C0}"/>
                  </a:ext>
                </a:extLst>
              </p:cNvPr>
              <p:cNvPicPr preferRelativeResize="0">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92249" y="2271358"/>
                <a:ext cx="768199" cy="124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Shape 168">
                <a:extLst>
                  <a:ext uri="{FF2B5EF4-FFF2-40B4-BE49-F238E27FC236}">
                    <a16:creationId xmlns:a16="http://schemas.microsoft.com/office/drawing/2014/main" id="{1321ADAA-0800-504B-BF40-CF5928348A2C}"/>
                  </a:ext>
                </a:extLst>
              </p:cNvPr>
              <p:cNvPicPr preferRelativeResize="0">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502200" y="2504765"/>
                <a:ext cx="594775" cy="135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Shape 169">
                <a:extLst>
                  <a:ext uri="{FF2B5EF4-FFF2-40B4-BE49-F238E27FC236}">
                    <a16:creationId xmlns:a16="http://schemas.microsoft.com/office/drawing/2014/main" id="{D70B68BA-2120-4B4F-B307-2D8C728CF4B7}"/>
                  </a:ext>
                </a:extLst>
              </p:cNvPr>
              <p:cNvPicPr preferRelativeResize="0">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1247348" y="2477325"/>
                <a:ext cx="685775" cy="167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Shape 170">
                <a:extLst>
                  <a:ext uri="{FF2B5EF4-FFF2-40B4-BE49-F238E27FC236}">
                    <a16:creationId xmlns:a16="http://schemas.microsoft.com/office/drawing/2014/main" id="{D1A54543-2D46-AB4A-B27F-7D2C9FFD3682}"/>
                  </a:ext>
                </a:extLst>
              </p:cNvPr>
              <p:cNvPicPr preferRelativeResize="0">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1997537" y="2434442"/>
                <a:ext cx="750299" cy="423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Shape 172">
                <a:extLst>
                  <a:ext uri="{FF2B5EF4-FFF2-40B4-BE49-F238E27FC236}">
                    <a16:creationId xmlns:a16="http://schemas.microsoft.com/office/drawing/2014/main" id="{F4CFE7DE-F3C4-D541-A24A-D8DE83E72B0E}"/>
                  </a:ext>
                </a:extLst>
              </p:cNvPr>
              <p:cNvPicPr preferRelativeResize="0">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932000" y="3209900"/>
                <a:ext cx="463874" cy="13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Shape 175">
                <a:extLst>
                  <a:ext uri="{FF2B5EF4-FFF2-40B4-BE49-F238E27FC236}">
                    <a16:creationId xmlns:a16="http://schemas.microsoft.com/office/drawing/2014/main" id="{7FC5E5A9-7B35-E746-9D87-EF092CB187E7}"/>
                  </a:ext>
                </a:extLst>
              </p:cNvPr>
              <p:cNvPicPr preferRelativeResize="0">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762624" y="2683391"/>
                <a:ext cx="544299" cy="179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4" descr="http://www.telecom.na/images/Telecom-logo-Brand-Promise-Full-Resolution-3.png">
              <a:extLst>
                <a:ext uri="{FF2B5EF4-FFF2-40B4-BE49-F238E27FC236}">
                  <a16:creationId xmlns:a16="http://schemas.microsoft.com/office/drawing/2014/main" id="{B0016D13-D6FE-0B42-8A9F-9CAD4462D727}"/>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6210584" y="4798713"/>
              <a:ext cx="1052108" cy="246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Shape 150">
              <a:extLst>
                <a:ext uri="{FF2B5EF4-FFF2-40B4-BE49-F238E27FC236}">
                  <a16:creationId xmlns:a16="http://schemas.microsoft.com/office/drawing/2014/main" id="{1EBEAE3A-F91E-5348-AA7F-EC0CC589474D}"/>
                </a:ext>
              </a:extLst>
            </p:cNvPr>
            <p:cNvPicPr preferRelativeResize="0">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6729291" y="3966912"/>
              <a:ext cx="762001" cy="53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Shape 155">
              <a:extLst>
                <a:ext uri="{FF2B5EF4-FFF2-40B4-BE49-F238E27FC236}">
                  <a16:creationId xmlns:a16="http://schemas.microsoft.com/office/drawing/2014/main" id="{6265269A-E1C8-F949-9FBA-7FCF29E8C610}"/>
                </a:ext>
              </a:extLst>
            </p:cNvPr>
            <p:cNvPicPr preferRelativeResize="0">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5814890" y="3841047"/>
              <a:ext cx="1023349" cy="23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Shape 156">
              <a:extLst>
                <a:ext uri="{FF2B5EF4-FFF2-40B4-BE49-F238E27FC236}">
                  <a16:creationId xmlns:a16="http://schemas.microsoft.com/office/drawing/2014/main" id="{24670EBB-188A-3E49-8045-7E2C536FB4D7}"/>
                </a:ext>
              </a:extLst>
            </p:cNvPr>
            <p:cNvPicPr preferRelativeResize="0">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5738690" y="3513202"/>
              <a:ext cx="1037740" cy="330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Shape 145">
              <a:extLst>
                <a:ext uri="{FF2B5EF4-FFF2-40B4-BE49-F238E27FC236}">
                  <a16:creationId xmlns:a16="http://schemas.microsoft.com/office/drawing/2014/main" id="{66221CC5-14BA-EC49-AECA-650476417CFC}"/>
                </a:ext>
              </a:extLst>
            </p:cNvPr>
            <p:cNvPicPr preferRelativeResize="0">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7034092" y="3748464"/>
              <a:ext cx="647701" cy="254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Shape 174">
              <a:extLst>
                <a:ext uri="{FF2B5EF4-FFF2-40B4-BE49-F238E27FC236}">
                  <a16:creationId xmlns:a16="http://schemas.microsoft.com/office/drawing/2014/main" id="{AFEB1DBF-2E88-4842-919C-DE3EA1DC43C6}"/>
                </a:ext>
              </a:extLst>
            </p:cNvPr>
            <p:cNvPicPr preferRelativeResize="0">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6871632" y="3551011"/>
              <a:ext cx="352960" cy="307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Shape 153">
              <a:extLst>
                <a:ext uri="{FF2B5EF4-FFF2-40B4-BE49-F238E27FC236}">
                  <a16:creationId xmlns:a16="http://schemas.microsoft.com/office/drawing/2014/main" id="{2342AED1-01DC-C84B-ACD3-40F3C54DC896}"/>
                </a:ext>
              </a:extLst>
            </p:cNvPr>
            <p:cNvPicPr preferRelativeResize="0">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6462591" y="3146236"/>
              <a:ext cx="581819" cy="407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4">
              <a:extLst>
                <a:ext uri="{FF2B5EF4-FFF2-40B4-BE49-F238E27FC236}">
                  <a16:creationId xmlns:a16="http://schemas.microsoft.com/office/drawing/2014/main" id="{5AEAA50A-CB4A-A844-B06C-B4A5310D595C}"/>
                </a:ext>
              </a:extLst>
            </p:cNvPr>
            <p:cNvPicPr>
              <a:picLocks noChangeAspect="1"/>
            </p:cNvPicPr>
            <p:nvPr/>
          </p:nvPicPr>
          <p:blipFill>
            <a:blip r:embed="rId30" cstate="email">
              <a:extLst>
                <a:ext uri="{28A0092B-C50C-407E-A947-70E740481C1C}">
                  <a14:useLocalDpi xmlns:a14="http://schemas.microsoft.com/office/drawing/2010/main"/>
                </a:ext>
              </a:extLst>
            </a:blip>
            <a:srcRect/>
            <a:stretch>
              <a:fillRect/>
            </a:stretch>
          </p:blipFill>
          <p:spPr bwMode="auto">
            <a:xfrm>
              <a:off x="6242027" y="2983874"/>
              <a:ext cx="715865" cy="18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Shape 146">
              <a:extLst>
                <a:ext uri="{FF2B5EF4-FFF2-40B4-BE49-F238E27FC236}">
                  <a16:creationId xmlns:a16="http://schemas.microsoft.com/office/drawing/2014/main" id="{82978FEC-C413-DD4D-A0DA-4FE724A67D41}"/>
                </a:ext>
              </a:extLst>
            </p:cNvPr>
            <p:cNvPicPr preferRelativeResize="0">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5984745" y="2114263"/>
              <a:ext cx="563958" cy="415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Shape 173">
              <a:extLst>
                <a:ext uri="{FF2B5EF4-FFF2-40B4-BE49-F238E27FC236}">
                  <a16:creationId xmlns:a16="http://schemas.microsoft.com/office/drawing/2014/main" id="{8B83FE29-53DE-BB44-BA96-67B13705E4CB}"/>
                </a:ext>
              </a:extLst>
            </p:cNvPr>
            <p:cNvPicPr preferRelativeResize="0">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6310191" y="1887408"/>
              <a:ext cx="542132" cy="435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Shape 151">
              <a:extLst>
                <a:ext uri="{FF2B5EF4-FFF2-40B4-BE49-F238E27FC236}">
                  <a16:creationId xmlns:a16="http://schemas.microsoft.com/office/drawing/2014/main" id="{ED6A853D-88FC-CA41-80A2-352C4A366D6E}"/>
                </a:ext>
              </a:extLst>
            </p:cNvPr>
            <p:cNvPicPr preferRelativeResize="0">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7110292" y="1695841"/>
              <a:ext cx="717330" cy="229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Shape 159">
              <a:extLst>
                <a:ext uri="{FF2B5EF4-FFF2-40B4-BE49-F238E27FC236}">
                  <a16:creationId xmlns:a16="http://schemas.microsoft.com/office/drawing/2014/main" id="{4896F005-F887-B941-8DE3-5F1985C6E822}"/>
                </a:ext>
              </a:extLst>
            </p:cNvPr>
            <p:cNvPicPr preferRelativeResize="0">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6881692" y="1963026"/>
              <a:ext cx="890511" cy="221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Shape 160">
              <a:extLst>
                <a:ext uri="{FF2B5EF4-FFF2-40B4-BE49-F238E27FC236}">
                  <a16:creationId xmlns:a16="http://schemas.microsoft.com/office/drawing/2014/main" id="{6DC38E36-2F8D-224E-B233-4E9A13D230F1}"/>
                </a:ext>
              </a:extLst>
            </p:cNvPr>
            <p:cNvPicPr preferRelativeResize="0">
              <a:picLocks noChangeAspect="1" noChangeArrowheads="1"/>
            </p:cNvPicPr>
            <p:nvPr/>
          </p:nvPicPr>
          <p:blipFill>
            <a:blip r:embed="rId35" cstate="email">
              <a:extLst>
                <a:ext uri="{28A0092B-C50C-407E-A947-70E740481C1C}">
                  <a14:useLocalDpi xmlns:a14="http://schemas.microsoft.com/office/drawing/2010/main"/>
                </a:ext>
              </a:extLst>
            </a:blip>
            <a:srcRect/>
            <a:stretch>
              <a:fillRect/>
            </a:stretch>
          </p:blipFill>
          <p:spPr bwMode="auto">
            <a:xfrm>
              <a:off x="6843592" y="2265499"/>
              <a:ext cx="989070" cy="2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5">
              <a:extLst>
                <a:ext uri="{FF2B5EF4-FFF2-40B4-BE49-F238E27FC236}">
                  <a16:creationId xmlns:a16="http://schemas.microsoft.com/office/drawing/2014/main" id="{9B6C94EF-A985-6144-87FA-A2FC36DA1DFB}"/>
                </a:ext>
              </a:extLst>
            </p:cNvPr>
            <p:cNvPicPr>
              <a:picLocks noChangeAspect="1"/>
            </p:cNvPicPr>
            <p:nvPr/>
          </p:nvPicPr>
          <p:blipFill>
            <a:blip r:embed="rId36" cstate="email">
              <a:extLst>
                <a:ext uri="{28A0092B-C50C-407E-A947-70E740481C1C}">
                  <a14:useLocalDpi xmlns:a14="http://schemas.microsoft.com/office/drawing/2010/main"/>
                </a:ext>
              </a:extLst>
            </a:blip>
            <a:srcRect/>
            <a:stretch>
              <a:fillRect/>
            </a:stretch>
          </p:blipFill>
          <p:spPr bwMode="auto">
            <a:xfrm>
              <a:off x="7110292" y="2416736"/>
              <a:ext cx="457200" cy="453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그림 116">
              <a:extLst>
                <a:ext uri="{FF2B5EF4-FFF2-40B4-BE49-F238E27FC236}">
                  <a16:creationId xmlns:a16="http://schemas.microsoft.com/office/drawing/2014/main" id="{241F7682-8047-FD43-B282-556AA8278180}"/>
                </a:ext>
              </a:extLst>
            </p:cNvPr>
            <p:cNvPicPr>
              <a:picLocks noChangeAspect="1"/>
            </p:cNvPicPr>
            <p:nvPr/>
          </p:nvPicPr>
          <p:blipFill>
            <a:blip r:embed="rId37" cstate="email">
              <a:extLst>
                <a:ext uri="{28A0092B-C50C-407E-A947-70E740481C1C}">
                  <a14:useLocalDpi xmlns:a14="http://schemas.microsoft.com/office/drawing/2010/main"/>
                </a:ext>
              </a:extLst>
            </a:blip>
            <a:srcRect/>
            <a:stretch>
              <a:fillRect/>
            </a:stretch>
          </p:blipFill>
          <p:spPr bwMode="auto">
            <a:xfrm>
              <a:off x="6919792" y="2794828"/>
              <a:ext cx="815082" cy="22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그림 115">
              <a:extLst>
                <a:ext uri="{FF2B5EF4-FFF2-40B4-BE49-F238E27FC236}">
                  <a16:creationId xmlns:a16="http://schemas.microsoft.com/office/drawing/2014/main" id="{31A9C730-663E-DB47-9392-1A7998676599}"/>
                </a:ext>
              </a:extLst>
            </p:cNvPr>
            <p:cNvPicPr>
              <a:picLocks noChangeAspect="1"/>
            </p:cNvPicPr>
            <p:nvPr/>
          </p:nvPicPr>
          <p:blipFill>
            <a:blip r:embed="rId38" cstate="email">
              <a:extLst>
                <a:ext uri="{28A0092B-C50C-407E-A947-70E740481C1C}">
                  <a14:useLocalDpi xmlns:a14="http://schemas.microsoft.com/office/drawing/2010/main"/>
                </a:ext>
              </a:extLst>
            </a:blip>
            <a:srcRect/>
            <a:stretch>
              <a:fillRect/>
            </a:stretch>
          </p:blipFill>
          <p:spPr bwMode="auto">
            <a:xfrm>
              <a:off x="7229861" y="3059492"/>
              <a:ext cx="794832" cy="163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그림 114">
              <a:extLst>
                <a:ext uri="{FF2B5EF4-FFF2-40B4-BE49-F238E27FC236}">
                  <a16:creationId xmlns:a16="http://schemas.microsoft.com/office/drawing/2014/main" id="{43CC0A19-DEC7-9C48-9788-502FB1646A3E}"/>
                </a:ext>
              </a:extLst>
            </p:cNvPr>
            <p:cNvPicPr>
              <a:picLocks noChangeAspect="1"/>
            </p:cNvPicPr>
            <p:nvPr/>
          </p:nvPicPr>
          <p:blipFill>
            <a:blip r:embed="rId39" cstate="email">
              <a:extLst>
                <a:ext uri="{28A0092B-C50C-407E-A947-70E740481C1C}">
                  <a14:useLocalDpi xmlns:a14="http://schemas.microsoft.com/office/drawing/2010/main"/>
                </a:ext>
              </a:extLst>
            </a:blip>
            <a:srcRect/>
            <a:stretch>
              <a:fillRect/>
            </a:stretch>
          </p:blipFill>
          <p:spPr bwMode="auto">
            <a:xfrm>
              <a:off x="7872293" y="3626629"/>
              <a:ext cx="459461" cy="212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Shape 142">
              <a:extLst>
                <a:ext uri="{FF2B5EF4-FFF2-40B4-BE49-F238E27FC236}">
                  <a16:creationId xmlns:a16="http://schemas.microsoft.com/office/drawing/2014/main" id="{E36B3D99-31FD-B244-A418-314019BAD0C3}"/>
                </a:ext>
              </a:extLst>
            </p:cNvPr>
            <p:cNvPicPr preferRelativeResize="0">
              <a:picLocks noChangeAspect="1" noChangeArrowheads="1"/>
            </p:cNvPicPr>
            <p:nvPr/>
          </p:nvPicPr>
          <p:blipFill>
            <a:blip r:embed="rId40" cstate="email">
              <a:extLst>
                <a:ext uri="{28A0092B-C50C-407E-A947-70E740481C1C}">
                  <a14:useLocalDpi xmlns:a14="http://schemas.microsoft.com/office/drawing/2010/main"/>
                </a:ext>
              </a:extLst>
            </a:blip>
            <a:srcRect/>
            <a:stretch>
              <a:fillRect/>
            </a:stretch>
          </p:blipFill>
          <p:spPr bwMode="auto">
            <a:xfrm>
              <a:off x="8024693" y="3886597"/>
              <a:ext cx="280194" cy="31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그림 112">
              <a:extLst>
                <a:ext uri="{FF2B5EF4-FFF2-40B4-BE49-F238E27FC236}">
                  <a16:creationId xmlns:a16="http://schemas.microsoft.com/office/drawing/2014/main" id="{9072370F-A6CC-B844-A709-3B7CEE058B06}"/>
                </a:ext>
              </a:extLst>
            </p:cNvPr>
            <p:cNvPicPr>
              <a:picLocks noChangeAspect="1"/>
            </p:cNvPicPr>
            <p:nvPr/>
          </p:nvPicPr>
          <p:blipFill>
            <a:blip r:embed="rId41" cstate="email">
              <a:extLst>
                <a:ext uri="{28A0092B-C50C-407E-A947-70E740481C1C}">
                  <a14:useLocalDpi xmlns:a14="http://schemas.microsoft.com/office/drawing/2010/main"/>
                </a:ext>
              </a:extLst>
            </a:blip>
            <a:srcRect/>
            <a:stretch>
              <a:fillRect/>
            </a:stretch>
          </p:blipFill>
          <p:spPr bwMode="auto">
            <a:xfrm>
              <a:off x="8329493" y="3740057"/>
              <a:ext cx="369393" cy="226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Shape 163">
              <a:extLst>
                <a:ext uri="{FF2B5EF4-FFF2-40B4-BE49-F238E27FC236}">
                  <a16:creationId xmlns:a16="http://schemas.microsoft.com/office/drawing/2014/main" id="{6F5E56AB-27E5-1C41-A11F-EA0526322161}"/>
                </a:ext>
              </a:extLst>
            </p:cNvPr>
            <p:cNvPicPr preferRelativeResize="0">
              <a:picLocks noChangeAspect="1" noChangeArrowheads="1"/>
            </p:cNvPicPr>
            <p:nvPr/>
          </p:nvPicPr>
          <p:blipFill>
            <a:blip r:embed="rId42" cstate="email">
              <a:extLst>
                <a:ext uri="{28A0092B-C50C-407E-A947-70E740481C1C}">
                  <a14:useLocalDpi xmlns:a14="http://schemas.microsoft.com/office/drawing/2010/main"/>
                </a:ext>
              </a:extLst>
            </a:blip>
            <a:srcRect/>
            <a:stretch>
              <a:fillRect/>
            </a:stretch>
          </p:blipFill>
          <p:spPr bwMode="auto">
            <a:xfrm>
              <a:off x="8329493" y="3476015"/>
              <a:ext cx="365919" cy="22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그림 118">
              <a:extLst>
                <a:ext uri="{FF2B5EF4-FFF2-40B4-BE49-F238E27FC236}">
                  <a16:creationId xmlns:a16="http://schemas.microsoft.com/office/drawing/2014/main" id="{7077B74A-1211-5F4A-BC88-51EF7C5F524E}"/>
                </a:ext>
              </a:extLst>
            </p:cNvPr>
            <p:cNvPicPr>
              <a:picLocks noChangeAspect="1"/>
            </p:cNvPicPr>
            <p:nvPr/>
          </p:nvPicPr>
          <p:blipFill>
            <a:blip r:embed="rId43" cstate="email">
              <a:extLst>
                <a:ext uri="{28A0092B-C50C-407E-A947-70E740481C1C}">
                  <a14:useLocalDpi xmlns:a14="http://schemas.microsoft.com/office/drawing/2010/main"/>
                </a:ext>
              </a:extLst>
            </a:blip>
            <a:srcRect/>
            <a:stretch>
              <a:fillRect/>
            </a:stretch>
          </p:blipFill>
          <p:spPr bwMode="auto">
            <a:xfrm>
              <a:off x="9548694" y="5025568"/>
              <a:ext cx="779875" cy="285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그림 119">
              <a:extLst>
                <a:ext uri="{FF2B5EF4-FFF2-40B4-BE49-F238E27FC236}">
                  <a16:creationId xmlns:a16="http://schemas.microsoft.com/office/drawing/2014/main" id="{62CFC67F-F627-CB4A-85F2-65622924E585}"/>
                </a:ext>
              </a:extLst>
            </p:cNvPr>
            <p:cNvPicPr>
              <a:picLocks noChangeAspect="1"/>
            </p:cNvPicPr>
            <p:nvPr/>
          </p:nvPicPr>
          <p:blipFill>
            <a:blip r:embed="rId44"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9472494" y="4685286"/>
              <a:ext cx="751827" cy="295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그림 113">
              <a:extLst>
                <a:ext uri="{FF2B5EF4-FFF2-40B4-BE49-F238E27FC236}">
                  <a16:creationId xmlns:a16="http://schemas.microsoft.com/office/drawing/2014/main" id="{AC3B3DB8-8F2B-934A-B37D-D697B42BE4BE}"/>
                </a:ext>
              </a:extLst>
            </p:cNvPr>
            <p:cNvPicPr>
              <a:picLocks noChangeAspect="1"/>
            </p:cNvPicPr>
            <p:nvPr/>
          </p:nvPicPr>
          <p:blipFill>
            <a:blip r:embed="rId45" cstate="email">
              <a:extLst>
                <a:ext uri="{28A0092B-C50C-407E-A947-70E740481C1C}">
                  <a14:useLocalDpi xmlns:a14="http://schemas.microsoft.com/office/drawing/2010/main"/>
                </a:ext>
              </a:extLst>
            </a:blip>
            <a:srcRect/>
            <a:stretch>
              <a:fillRect/>
            </a:stretch>
          </p:blipFill>
          <p:spPr bwMode="auto">
            <a:xfrm>
              <a:off x="9015294" y="4420622"/>
              <a:ext cx="479425" cy="143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그림 111">
              <a:extLst>
                <a:ext uri="{FF2B5EF4-FFF2-40B4-BE49-F238E27FC236}">
                  <a16:creationId xmlns:a16="http://schemas.microsoft.com/office/drawing/2014/main" id="{24E02D12-B4B2-8446-A9DB-BAC77336CEEE}"/>
                </a:ext>
              </a:extLst>
            </p:cNvPr>
            <p:cNvPicPr>
              <a:picLocks noChangeAspect="1"/>
            </p:cNvPicPr>
            <p:nvPr/>
          </p:nvPicPr>
          <p:blipFill>
            <a:blip r:embed="rId46" cstate="email">
              <a:extLst>
                <a:ext uri="{28A0092B-C50C-407E-A947-70E740481C1C}">
                  <a14:useLocalDpi xmlns:a14="http://schemas.microsoft.com/office/drawing/2010/main"/>
                </a:ext>
              </a:extLst>
            </a:blip>
            <a:srcRect/>
            <a:stretch>
              <a:fillRect/>
            </a:stretch>
          </p:blipFill>
          <p:spPr bwMode="auto">
            <a:xfrm>
              <a:off x="8862894" y="4155958"/>
              <a:ext cx="732036" cy="176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Shape 148">
              <a:extLst>
                <a:ext uri="{FF2B5EF4-FFF2-40B4-BE49-F238E27FC236}">
                  <a16:creationId xmlns:a16="http://schemas.microsoft.com/office/drawing/2014/main" id="{EAE0F70A-9A53-3647-AE17-4FB9EA6C3357}"/>
                </a:ext>
              </a:extLst>
            </p:cNvPr>
            <p:cNvPicPr preferRelativeResize="0">
              <a:picLocks noChangeAspect="1" noChangeArrowheads="1"/>
            </p:cNvPicPr>
            <p:nvPr/>
          </p:nvPicPr>
          <p:blipFill>
            <a:blip r:embed="rId47" cstate="email">
              <a:extLst>
                <a:ext uri="{28A0092B-C50C-407E-A947-70E740481C1C}">
                  <a14:useLocalDpi xmlns:a14="http://schemas.microsoft.com/office/drawing/2010/main"/>
                </a:ext>
              </a:extLst>
            </a:blip>
            <a:srcRect/>
            <a:stretch>
              <a:fillRect/>
            </a:stretch>
          </p:blipFill>
          <p:spPr bwMode="auto">
            <a:xfrm>
              <a:off x="9434394" y="2567973"/>
              <a:ext cx="243681" cy="227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Shape 149">
              <a:extLst>
                <a:ext uri="{FF2B5EF4-FFF2-40B4-BE49-F238E27FC236}">
                  <a16:creationId xmlns:a16="http://schemas.microsoft.com/office/drawing/2014/main" id="{CC0B1C69-1F5F-5F4C-80FC-D0B61749D738}"/>
                </a:ext>
              </a:extLst>
            </p:cNvPr>
            <p:cNvPicPr preferRelativeResize="0">
              <a:picLocks noChangeAspect="1"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9167694" y="2794828"/>
              <a:ext cx="724545" cy="24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Shape 158">
              <a:extLst>
                <a:ext uri="{FF2B5EF4-FFF2-40B4-BE49-F238E27FC236}">
                  <a16:creationId xmlns:a16="http://schemas.microsoft.com/office/drawing/2014/main" id="{ED113EBB-E1D6-D940-ACE9-45D68A7744F6}"/>
                </a:ext>
              </a:extLst>
            </p:cNvPr>
            <p:cNvPicPr preferRelativeResize="0">
              <a:picLocks noChangeAspect="1" noChangeArrowheads="1"/>
            </p:cNvPicPr>
            <p:nvPr/>
          </p:nvPicPr>
          <p:blipFill>
            <a:blip r:embed="rId49" cstate="email">
              <a:extLst>
                <a:ext uri="{28A0092B-C50C-407E-A947-70E740481C1C}">
                  <a14:useLocalDpi xmlns:a14="http://schemas.microsoft.com/office/drawing/2010/main"/>
                </a:ext>
              </a:extLst>
            </a:blip>
            <a:srcRect/>
            <a:stretch>
              <a:fillRect/>
            </a:stretch>
          </p:blipFill>
          <p:spPr bwMode="auto">
            <a:xfrm>
              <a:off x="9909323" y="2832637"/>
              <a:ext cx="896672" cy="15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Shape 147">
              <a:extLst>
                <a:ext uri="{FF2B5EF4-FFF2-40B4-BE49-F238E27FC236}">
                  <a16:creationId xmlns:a16="http://schemas.microsoft.com/office/drawing/2014/main" id="{ED91B65C-DAED-5A43-A918-7A03660A9BC8}"/>
                </a:ext>
              </a:extLst>
            </p:cNvPr>
            <p:cNvPicPr preferRelativeResize="0">
              <a:picLocks noChangeAspect="1" noChangeArrowheads="1"/>
            </p:cNvPicPr>
            <p:nvPr/>
          </p:nvPicPr>
          <p:blipFill>
            <a:blip r:embed="rId50" cstate="email">
              <a:extLst>
                <a:ext uri="{28A0092B-C50C-407E-A947-70E740481C1C}">
                  <a14:useLocalDpi xmlns:a14="http://schemas.microsoft.com/office/drawing/2010/main"/>
                </a:ext>
              </a:extLst>
            </a:blip>
            <a:srcRect/>
            <a:stretch>
              <a:fillRect/>
            </a:stretch>
          </p:blipFill>
          <p:spPr bwMode="auto">
            <a:xfrm>
              <a:off x="9891595" y="2946064"/>
              <a:ext cx="495301" cy="522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Shape 157">
              <a:extLst>
                <a:ext uri="{FF2B5EF4-FFF2-40B4-BE49-F238E27FC236}">
                  <a16:creationId xmlns:a16="http://schemas.microsoft.com/office/drawing/2014/main" id="{40809809-4481-F747-BE8F-3847A3A87C18}"/>
                </a:ext>
              </a:extLst>
            </p:cNvPr>
            <p:cNvPicPr preferRelativeResize="0">
              <a:picLocks noChangeAspect="1" noChangeArrowheads="1"/>
            </p:cNvPicPr>
            <p:nvPr/>
          </p:nvPicPr>
          <p:blipFill>
            <a:blip r:embed="rId51" cstate="email">
              <a:extLst>
                <a:ext uri="{28A0092B-C50C-407E-A947-70E740481C1C}">
                  <a14:useLocalDpi xmlns:a14="http://schemas.microsoft.com/office/drawing/2010/main"/>
                </a:ext>
              </a:extLst>
            </a:blip>
            <a:srcRect/>
            <a:stretch>
              <a:fillRect/>
            </a:stretch>
          </p:blipFill>
          <p:spPr bwMode="auto">
            <a:xfrm>
              <a:off x="9053394" y="2983874"/>
              <a:ext cx="768628" cy="302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Shape 152">
              <a:extLst>
                <a:ext uri="{FF2B5EF4-FFF2-40B4-BE49-F238E27FC236}">
                  <a16:creationId xmlns:a16="http://schemas.microsoft.com/office/drawing/2014/main" id="{55030A7C-CEC6-B843-A13B-D9FA7C15A08F}"/>
                </a:ext>
              </a:extLst>
            </p:cNvPr>
            <p:cNvPicPr preferRelativeResize="0">
              <a:picLocks noChangeAspect="1" noChangeArrowheads="1"/>
            </p:cNvPicPr>
            <p:nvPr/>
          </p:nvPicPr>
          <p:blipFill>
            <a:blip r:embed="rId52" cstate="email">
              <a:extLst>
                <a:ext uri="{28A0092B-C50C-407E-A947-70E740481C1C}">
                  <a14:useLocalDpi xmlns:a14="http://schemas.microsoft.com/office/drawing/2010/main"/>
                </a:ext>
              </a:extLst>
            </a:blip>
            <a:srcRect/>
            <a:stretch>
              <a:fillRect/>
            </a:stretch>
          </p:blipFill>
          <p:spPr bwMode="auto">
            <a:xfrm>
              <a:off x="9739195" y="3324156"/>
              <a:ext cx="464343" cy="177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Shape 161">
              <a:extLst>
                <a:ext uri="{FF2B5EF4-FFF2-40B4-BE49-F238E27FC236}">
                  <a16:creationId xmlns:a16="http://schemas.microsoft.com/office/drawing/2014/main" id="{8E2A624F-4E78-2549-BA67-3EC9CB1F141F}"/>
                </a:ext>
              </a:extLst>
            </p:cNvPr>
            <p:cNvPicPr preferRelativeResize="0">
              <a:picLocks noChangeAspect="1" noChangeArrowheads="1"/>
            </p:cNvPicPr>
            <p:nvPr/>
          </p:nvPicPr>
          <p:blipFill>
            <a:blip r:embed="rId53" cstate="email">
              <a:extLst>
                <a:ext uri="{28A0092B-C50C-407E-A947-70E740481C1C}">
                  <a14:useLocalDpi xmlns:a14="http://schemas.microsoft.com/office/drawing/2010/main"/>
                </a:ext>
              </a:extLst>
            </a:blip>
            <a:srcRect/>
            <a:stretch>
              <a:fillRect/>
            </a:stretch>
          </p:blipFill>
          <p:spPr bwMode="auto">
            <a:xfrm>
              <a:off x="8868337" y="3361965"/>
              <a:ext cx="719477" cy="185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그림 120">
              <a:extLst>
                <a:ext uri="{FF2B5EF4-FFF2-40B4-BE49-F238E27FC236}">
                  <a16:creationId xmlns:a16="http://schemas.microsoft.com/office/drawing/2014/main" id="{B7425251-8CF9-D54B-8322-995047B8F54D}"/>
                </a:ext>
              </a:extLst>
            </p:cNvPr>
            <p:cNvPicPr>
              <a:picLocks noChangeAspect="1"/>
            </p:cNvPicPr>
            <p:nvPr/>
          </p:nvPicPr>
          <p:blipFill>
            <a:blip r:embed="rId54" cstate="email">
              <a:extLst>
                <a:ext uri="{28A0092B-C50C-407E-A947-70E740481C1C}">
                  <a14:useLocalDpi xmlns:a14="http://schemas.microsoft.com/office/drawing/2010/main"/>
                </a:ext>
              </a:extLst>
            </a:blip>
            <a:srcRect/>
            <a:stretch>
              <a:fillRect/>
            </a:stretch>
          </p:blipFill>
          <p:spPr bwMode="auto">
            <a:xfrm>
              <a:off x="9091494" y="3528021"/>
              <a:ext cx="252413" cy="287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Shape 144">
              <a:extLst>
                <a:ext uri="{FF2B5EF4-FFF2-40B4-BE49-F238E27FC236}">
                  <a16:creationId xmlns:a16="http://schemas.microsoft.com/office/drawing/2014/main" id="{3823BB4F-F327-E144-ABEB-32AD19B80167}"/>
                </a:ext>
              </a:extLst>
            </p:cNvPr>
            <p:cNvPicPr preferRelativeResize="0">
              <a:picLocks noChangeAspect="1" noChangeArrowheads="1"/>
            </p:cNvPicPr>
            <p:nvPr/>
          </p:nvPicPr>
          <p:blipFill>
            <a:blip r:embed="rId55" cstate="email">
              <a:extLst>
                <a:ext uri="{28A0092B-C50C-407E-A947-70E740481C1C}">
                  <a14:useLocalDpi xmlns:a14="http://schemas.microsoft.com/office/drawing/2010/main"/>
                </a:ext>
              </a:extLst>
            </a:blip>
            <a:srcRect/>
            <a:stretch>
              <a:fillRect/>
            </a:stretch>
          </p:blipFill>
          <p:spPr bwMode="auto">
            <a:xfrm>
              <a:off x="9358194" y="3551011"/>
              <a:ext cx="679838" cy="212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Shape 154">
              <a:extLst>
                <a:ext uri="{FF2B5EF4-FFF2-40B4-BE49-F238E27FC236}">
                  <a16:creationId xmlns:a16="http://schemas.microsoft.com/office/drawing/2014/main" id="{9E22D59C-323C-7E4A-A256-F77EC02D89CF}"/>
                </a:ext>
              </a:extLst>
            </p:cNvPr>
            <p:cNvPicPr preferRelativeResize="0">
              <a:picLocks noChangeAspect="1" noChangeArrowheads="1"/>
            </p:cNvPicPr>
            <p:nvPr/>
          </p:nvPicPr>
          <p:blipFill>
            <a:blip r:embed="rId56" cstate="email">
              <a:extLst>
                <a:ext uri="{28A0092B-C50C-407E-A947-70E740481C1C}">
                  <a14:useLocalDpi xmlns:a14="http://schemas.microsoft.com/office/drawing/2010/main"/>
                </a:ext>
              </a:extLst>
            </a:blip>
            <a:srcRect/>
            <a:stretch>
              <a:fillRect/>
            </a:stretch>
          </p:blipFill>
          <p:spPr bwMode="auto">
            <a:xfrm>
              <a:off x="9285399" y="3777866"/>
              <a:ext cx="633921" cy="226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79910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p:cNvPicPr>
            <a:picLocks noGrp="1" noChangeAspect="1"/>
          </p:cNvPicPr>
          <p:nvPr>
            <p:ph type="pic" sz="quarter" idx="12"/>
          </p:nvPr>
        </p:nvPicPr>
        <p:blipFill>
          <a:blip r:embed="rId7" cstate="screen">
            <a:extLst>
              <a:ext uri="{28A0092B-C50C-407E-A947-70E740481C1C}">
                <a14:useLocalDpi xmlns:a14="http://schemas.microsoft.com/office/drawing/2010/main"/>
              </a:ext>
            </a:extLst>
          </a:blip>
          <a:stretch>
            <a:fillRect/>
          </a:stretch>
        </p:blipFill>
        <p:spPr>
          <a:xfrm>
            <a:off x="536510" y="1826821"/>
            <a:ext cx="1239609" cy="1611493"/>
          </a:xfrm>
        </p:spPr>
      </p:pic>
      <p:pic>
        <p:nvPicPr>
          <p:cNvPr id="40" name="Picture Placeholder 39"/>
          <p:cNvPicPr>
            <a:picLocks noGrp="1" noChangeAspect="1"/>
          </p:cNvPicPr>
          <p:nvPr>
            <p:ph type="pic" sz="quarter" idx="17"/>
          </p:nvPr>
        </p:nvPicPr>
        <p:blipFill>
          <a:blip r:embed="rId8" cstate="screen">
            <a:extLst>
              <a:ext uri="{28A0092B-C50C-407E-A947-70E740481C1C}">
                <a14:useLocalDpi xmlns:a14="http://schemas.microsoft.com/office/drawing/2010/main"/>
              </a:ext>
            </a:extLst>
          </a:blip>
          <a:stretch>
            <a:fillRect/>
          </a:stretch>
        </p:blipFill>
        <p:spPr>
          <a:xfrm>
            <a:off x="3096901" y="1826821"/>
            <a:ext cx="1239609" cy="1611493"/>
          </a:xfrm>
        </p:spPr>
      </p:pic>
      <p:pic>
        <p:nvPicPr>
          <p:cNvPr id="41" name="Picture Placeholder 40"/>
          <p:cNvPicPr>
            <a:picLocks noGrp="1" noChangeAspect="1"/>
          </p:cNvPicPr>
          <p:nvPr>
            <p:ph type="pic" sz="quarter" idx="18"/>
          </p:nvPr>
        </p:nvPicPr>
        <p:blipFill>
          <a:blip r:embed="rId9" cstate="screen">
            <a:extLst>
              <a:ext uri="{28A0092B-C50C-407E-A947-70E740481C1C}">
                <a14:useLocalDpi xmlns:a14="http://schemas.microsoft.com/office/drawing/2010/main"/>
              </a:ext>
            </a:extLst>
          </a:blip>
          <a:stretch>
            <a:fillRect/>
          </a:stretch>
        </p:blipFill>
        <p:spPr>
          <a:xfrm>
            <a:off x="5598677" y="1826821"/>
            <a:ext cx="1239609" cy="1611493"/>
          </a:xfrm>
        </p:spPr>
      </p:pic>
      <p:pic>
        <p:nvPicPr>
          <p:cNvPr id="42" name="Picture Placeholder 41"/>
          <p:cNvPicPr>
            <a:picLocks noGrp="1" noChangeAspect="1"/>
          </p:cNvPicPr>
          <p:nvPr>
            <p:ph type="pic" sz="quarter" idx="19"/>
          </p:nvPr>
        </p:nvPicPr>
        <p:blipFill>
          <a:blip r:embed="rId10" cstate="screen">
            <a:extLst>
              <a:ext uri="{28A0092B-C50C-407E-A947-70E740481C1C}">
                <a14:useLocalDpi xmlns:a14="http://schemas.microsoft.com/office/drawing/2010/main"/>
              </a:ext>
            </a:extLst>
          </a:blip>
          <a:stretch>
            <a:fillRect/>
          </a:stretch>
        </p:blipFill>
        <p:spPr>
          <a:xfrm>
            <a:off x="8112176" y="1826821"/>
            <a:ext cx="1239609" cy="1611493"/>
          </a:xfrm>
        </p:spPr>
      </p:pic>
      <p:pic>
        <p:nvPicPr>
          <p:cNvPr id="43" name="Picture Placeholder 42"/>
          <p:cNvPicPr>
            <a:picLocks noGrp="1" noChangeAspect="1"/>
          </p:cNvPicPr>
          <p:nvPr>
            <p:ph type="pic" sz="quarter" idx="20"/>
          </p:nvPr>
        </p:nvPicPr>
        <p:blipFill>
          <a:blip r:embed="rId11" cstate="screen">
            <a:extLst>
              <a:ext uri="{28A0092B-C50C-407E-A947-70E740481C1C}">
                <a14:useLocalDpi xmlns:a14="http://schemas.microsoft.com/office/drawing/2010/main"/>
              </a:ext>
            </a:extLst>
          </a:blip>
          <a:stretch>
            <a:fillRect/>
          </a:stretch>
        </p:blipFill>
        <p:spPr>
          <a:xfrm>
            <a:off x="10554678" y="1826821"/>
            <a:ext cx="1287817" cy="1611493"/>
          </a:xfrm>
        </p:spPr>
      </p:pic>
      <p:sp>
        <p:nvSpPr>
          <p:cNvPr id="12" name="Text Placeholder 11"/>
          <p:cNvSpPr>
            <a:spLocks noGrp="1"/>
          </p:cNvSpPr>
          <p:nvPr>
            <p:ph type="body" sz="quarter" idx="13"/>
          </p:nvPr>
        </p:nvSpPr>
        <p:spPr>
          <a:xfrm>
            <a:off x="501650" y="287338"/>
            <a:ext cx="11690350" cy="498475"/>
          </a:xfrm>
        </p:spPr>
        <p:txBody>
          <a:bodyPr/>
          <a:lstStyle/>
          <a:p>
            <a:r>
              <a:rPr lang="en-US" dirty="0"/>
              <a:t>Leadership cont.</a:t>
            </a:r>
          </a:p>
        </p:txBody>
      </p:sp>
      <p:sp>
        <p:nvSpPr>
          <p:cNvPr id="16" name="TextBox 15"/>
          <p:cNvSpPr txBox="1"/>
          <p:nvPr>
            <p:custDataLst>
              <p:tags r:id="rId1"/>
            </p:custDataLst>
          </p:nvPr>
        </p:nvSpPr>
        <p:spPr>
          <a:xfrm>
            <a:off x="160277" y="3600534"/>
            <a:ext cx="2098427" cy="2062103"/>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Keith </a:t>
            </a:r>
            <a:r>
              <a:rPr lang="en-US" sz="1800" b="1" dirty="0" err="1">
                <a:solidFill>
                  <a:schemeClr val="accent1"/>
                </a:solidFill>
                <a:latin typeface="+mj-lt"/>
                <a:cs typeface="Times New Roman" pitchFamily="18" charset="0"/>
              </a:rPr>
              <a:t>Nauman</a:t>
            </a:r>
            <a:endParaRPr lang="en-US" sz="1800" b="1" dirty="0">
              <a:solidFill>
                <a:schemeClr val="accent1"/>
              </a:solidFill>
              <a:latin typeface="+mj-lt"/>
              <a:cs typeface="Times New Roman" pitchFamily="18" charset="0"/>
            </a:endParaRP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SVP, Quality and Service</a:t>
            </a:r>
          </a:p>
          <a:p>
            <a:pPr indent="0" algn="ctr" fontAlgn="ctr">
              <a:lnSpc>
                <a:spcPct val="100000"/>
              </a:lnSpc>
              <a:spcBef>
                <a:spcPts val="0"/>
              </a:spcBef>
              <a:spcAft>
                <a:spcPts val="0"/>
              </a:spcAft>
              <a:buClr>
                <a:srgbClr val="007CC2"/>
              </a:buClr>
              <a:buNone/>
              <a:defRPr/>
            </a:pPr>
            <a:endParaRPr lang="en-US" sz="800" dirty="0">
              <a:solidFill>
                <a:schemeClr val="accent1"/>
              </a:solidFill>
              <a:latin typeface="+mj-lt"/>
              <a:cs typeface="Times New Roman" pitchFamily="18" charset="0"/>
            </a:endParaRP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30+ years in industry</a:t>
            </a: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Various management roles design, development, test and support</a:t>
            </a:r>
          </a:p>
        </p:txBody>
      </p:sp>
      <p:sp>
        <p:nvSpPr>
          <p:cNvPr id="21" name="TextBox 20"/>
          <p:cNvSpPr txBox="1"/>
          <p:nvPr>
            <p:custDataLst>
              <p:tags r:id="rId2"/>
            </p:custDataLst>
          </p:nvPr>
        </p:nvSpPr>
        <p:spPr>
          <a:xfrm>
            <a:off x="2791077" y="3600437"/>
            <a:ext cx="2098427" cy="2062103"/>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Pei Hung</a:t>
            </a: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VP, Finance and IR</a:t>
            </a:r>
          </a:p>
          <a:p>
            <a:pPr indent="0" algn="ctr">
              <a:lnSpc>
                <a:spcPct val="100000"/>
              </a:lnSpc>
              <a:spcBef>
                <a:spcPts val="0"/>
              </a:spcBef>
              <a:spcAft>
                <a:spcPts val="0"/>
              </a:spcAft>
              <a:buClr>
                <a:schemeClr val="accent3"/>
              </a:buClr>
              <a:buNone/>
            </a:pPr>
            <a:endParaRPr lang="en-US" sz="2400" dirty="0">
              <a:solidFill>
                <a:schemeClr val="accent1"/>
              </a:solidFill>
              <a:latin typeface="+mj-lt"/>
            </a:endParaRPr>
          </a:p>
          <a:p>
            <a:pPr indent="0" algn="ctr">
              <a:lnSpc>
                <a:spcPct val="100000"/>
              </a:lnSpc>
              <a:spcBef>
                <a:spcPts val="0"/>
              </a:spcBef>
              <a:spcAft>
                <a:spcPts val="0"/>
              </a:spcAft>
              <a:buClr>
                <a:schemeClr val="accent3"/>
              </a:buClr>
              <a:buNone/>
            </a:pPr>
            <a:r>
              <a:rPr lang="en-US" sz="1400" dirty="0">
                <a:solidFill>
                  <a:schemeClr val="accent1"/>
                </a:solidFill>
                <a:latin typeface="+mj-lt"/>
              </a:rPr>
              <a:t>12+ years of investor relations experience</a:t>
            </a:r>
          </a:p>
          <a:p>
            <a:pPr indent="0" algn="ctr">
              <a:lnSpc>
                <a:spcPct val="100000"/>
              </a:lnSpc>
              <a:spcBef>
                <a:spcPts val="0"/>
              </a:spcBef>
              <a:spcAft>
                <a:spcPts val="0"/>
              </a:spcAft>
              <a:buClr>
                <a:schemeClr val="accent3"/>
              </a:buClr>
              <a:buNone/>
            </a:pPr>
            <a:r>
              <a:rPr lang="en-US" sz="1400" dirty="0">
                <a:solidFill>
                  <a:schemeClr val="accent1"/>
                </a:solidFill>
                <a:latin typeface="+mj-lt"/>
              </a:rPr>
              <a:t>Various management roles in banking, and credit investing</a:t>
            </a:r>
          </a:p>
        </p:txBody>
      </p:sp>
      <p:sp>
        <p:nvSpPr>
          <p:cNvPr id="23" name="TextBox 22"/>
          <p:cNvSpPr txBox="1"/>
          <p:nvPr>
            <p:custDataLst>
              <p:tags r:id="rId3"/>
            </p:custDataLst>
          </p:nvPr>
        </p:nvSpPr>
        <p:spPr>
          <a:xfrm>
            <a:off x="7733760" y="3600534"/>
            <a:ext cx="2141561" cy="2308324"/>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Daniel Won</a:t>
            </a: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President of Korean Business Unit </a:t>
            </a:r>
          </a:p>
          <a:p>
            <a:pPr indent="0" algn="ctr" fontAlgn="ctr">
              <a:lnSpc>
                <a:spcPct val="100000"/>
              </a:lnSpc>
              <a:spcBef>
                <a:spcPts val="0"/>
              </a:spcBef>
              <a:spcAft>
                <a:spcPts val="0"/>
              </a:spcAft>
              <a:buClr>
                <a:srgbClr val="007CC2"/>
              </a:buClr>
              <a:buNone/>
              <a:defRPr/>
            </a:pPr>
            <a:endParaRPr lang="en-US" sz="800" dirty="0">
              <a:solidFill>
                <a:schemeClr val="accent1"/>
              </a:solidFill>
              <a:latin typeface="+mj-lt"/>
              <a:cs typeface="Times New Roman" pitchFamily="18" charset="0"/>
            </a:endParaRP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30+ years experience across executive management, engineering, and sales in telecommunications</a:t>
            </a:r>
          </a:p>
          <a:p>
            <a:pPr marL="171450" indent="-171450" defTabSz="1219200" eaLnBrk="0" fontAlgn="base" hangingPunct="0">
              <a:lnSpc>
                <a:spcPct val="100000"/>
              </a:lnSpc>
              <a:spcBef>
                <a:spcPct val="0"/>
              </a:spcBef>
              <a:spcAft>
                <a:spcPct val="0"/>
              </a:spcAft>
              <a:buFontTx/>
              <a:buChar char="•"/>
              <a:defRPr/>
            </a:pPr>
            <a:endParaRPr lang="en-US" altLang="en-US" sz="1600" dirty="0">
              <a:solidFill>
                <a:srgbClr val="A7A7A7">
                  <a:lumMod val="50000"/>
                </a:srgbClr>
              </a:solidFill>
              <a:cs typeface="Arial" panose="020B0604020202020204" pitchFamily="34" charset="0"/>
              <a:sym typeface="Arial" panose="020B0604020202020204" pitchFamily="34" charset="0"/>
            </a:endParaRPr>
          </a:p>
        </p:txBody>
      </p:sp>
      <p:sp>
        <p:nvSpPr>
          <p:cNvPr id="24" name="TextBox 23"/>
          <p:cNvSpPr txBox="1"/>
          <p:nvPr>
            <p:custDataLst>
              <p:tags r:id="rId4"/>
            </p:custDataLst>
          </p:nvPr>
        </p:nvSpPr>
        <p:spPr>
          <a:xfrm>
            <a:off x="10156250" y="3600534"/>
            <a:ext cx="2111778" cy="2215991"/>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Alex </a:t>
            </a:r>
            <a:r>
              <a:rPr lang="en-US" sz="1800" b="1" dirty="0" err="1">
                <a:solidFill>
                  <a:schemeClr val="accent1"/>
                </a:solidFill>
                <a:latin typeface="+mj-lt"/>
                <a:cs typeface="Times New Roman" pitchFamily="18" charset="0"/>
              </a:rPr>
              <a:t>Yastremski</a:t>
            </a:r>
            <a:endParaRPr lang="en-US" sz="1800" b="1" dirty="0">
              <a:solidFill>
                <a:schemeClr val="accent1"/>
              </a:solidFill>
              <a:latin typeface="+mj-lt"/>
              <a:cs typeface="Times New Roman" pitchFamily="18" charset="0"/>
            </a:endParaRP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General Counsel</a:t>
            </a:r>
          </a:p>
          <a:p>
            <a:pPr indent="0" algn="ctr">
              <a:lnSpc>
                <a:spcPct val="100000"/>
              </a:lnSpc>
              <a:spcBef>
                <a:spcPts val="0"/>
              </a:spcBef>
              <a:spcAft>
                <a:spcPts val="0"/>
              </a:spcAft>
              <a:buClr>
                <a:schemeClr val="accent3"/>
              </a:buClr>
              <a:buNone/>
            </a:pPr>
            <a:endParaRPr lang="en-US" sz="2000" dirty="0">
              <a:solidFill>
                <a:schemeClr val="accent1"/>
              </a:solidFill>
              <a:latin typeface="+mj-lt"/>
            </a:endParaRPr>
          </a:p>
          <a:p>
            <a:pPr indent="0" algn="ctr">
              <a:lnSpc>
                <a:spcPct val="100000"/>
              </a:lnSpc>
              <a:spcBef>
                <a:spcPts val="0"/>
              </a:spcBef>
              <a:spcAft>
                <a:spcPts val="0"/>
              </a:spcAft>
              <a:buClr>
                <a:schemeClr val="accent3"/>
              </a:buClr>
              <a:buNone/>
            </a:pPr>
            <a:r>
              <a:rPr lang="en-US" sz="1400" dirty="0">
                <a:solidFill>
                  <a:schemeClr val="accent1"/>
                </a:solidFill>
                <a:latin typeface="+mj-lt"/>
              </a:rPr>
              <a:t>18+ years of legal executive expertise</a:t>
            </a:r>
          </a:p>
          <a:p>
            <a:pPr indent="0" algn="ctr">
              <a:lnSpc>
                <a:spcPct val="100000"/>
              </a:lnSpc>
              <a:spcBef>
                <a:spcPts val="0"/>
              </a:spcBef>
              <a:spcAft>
                <a:spcPts val="0"/>
              </a:spcAft>
              <a:buClr>
                <a:schemeClr val="accent3"/>
              </a:buClr>
              <a:buNone/>
            </a:pPr>
            <a:r>
              <a:rPr lang="en-US" sz="1400" dirty="0">
                <a:solidFill>
                  <a:schemeClr val="accent1"/>
                </a:solidFill>
                <a:latin typeface="+mj-lt"/>
              </a:rPr>
              <a:t>General Counsel for </a:t>
            </a:r>
            <a:r>
              <a:rPr lang="en-US" sz="1400" dirty="0" err="1">
                <a:solidFill>
                  <a:schemeClr val="accent1"/>
                </a:solidFill>
                <a:latin typeface="+mj-lt"/>
              </a:rPr>
              <a:t>Bitfury</a:t>
            </a:r>
            <a:r>
              <a:rPr lang="en-US" sz="1400" dirty="0">
                <a:solidFill>
                  <a:schemeClr val="accent1"/>
                </a:solidFill>
                <a:latin typeface="+mj-lt"/>
              </a:rPr>
              <a:t>, </a:t>
            </a:r>
            <a:r>
              <a:rPr lang="en-US" sz="1400" dirty="0" err="1">
                <a:solidFill>
                  <a:schemeClr val="accent1"/>
                </a:solidFill>
                <a:latin typeface="+mj-lt"/>
              </a:rPr>
              <a:t>Coudert</a:t>
            </a:r>
            <a:r>
              <a:rPr lang="en-US" sz="1400" dirty="0">
                <a:solidFill>
                  <a:schemeClr val="accent1"/>
                </a:solidFill>
                <a:latin typeface="+mj-lt"/>
              </a:rPr>
              <a:t> Brothers, Bingham McCutchen LLP</a:t>
            </a:r>
          </a:p>
        </p:txBody>
      </p:sp>
      <p:pic>
        <p:nvPicPr>
          <p:cNvPr id="13" name="Picture 47">
            <a:extLst>
              <a:ext uri="{FF2B5EF4-FFF2-40B4-BE49-F238E27FC236}">
                <a16:creationId xmlns:a16="http://schemas.microsoft.com/office/drawing/2014/main" id="{3295E66A-8399-471A-96E3-548BC27C4C8C}"/>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48694" y="1537087"/>
            <a:ext cx="1018704" cy="195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8" descr="AT&amp;T Bell Labs">
            <a:extLst>
              <a:ext uri="{FF2B5EF4-FFF2-40B4-BE49-F238E27FC236}">
                <a16:creationId xmlns:a16="http://schemas.microsoft.com/office/drawing/2014/main" id="{A23F4E54-A294-4F0A-9F2F-8DD51C1C08CA}"/>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539614" y="1467966"/>
            <a:ext cx="303191" cy="3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1">
            <a:extLst>
              <a:ext uri="{FF2B5EF4-FFF2-40B4-BE49-F238E27FC236}">
                <a16:creationId xmlns:a16="http://schemas.microsoft.com/office/drawing/2014/main" id="{181A91D3-58AA-4344-BAFD-4AF083E27C49}"/>
              </a:ext>
            </a:extLst>
          </p:cNvPr>
          <p:cNvPicPr>
            <a:picLocks noChangeAspect="1"/>
          </p:cNvPicPr>
          <p:nvPr/>
        </p:nvPicPr>
        <p:blipFill>
          <a:blip r:embed="rId14" cstate="email">
            <a:extLst>
              <a:ext uri="{28A0092B-C50C-407E-A947-70E740481C1C}">
                <a14:useLocalDpi xmlns:a14="http://schemas.microsoft.com/office/drawing/2010/main"/>
              </a:ext>
            </a:extLst>
          </a:blip>
          <a:srcRect/>
          <a:stretch>
            <a:fillRect/>
          </a:stretch>
        </p:blipFill>
        <p:spPr bwMode="auto">
          <a:xfrm>
            <a:off x="5567668" y="1553136"/>
            <a:ext cx="863449"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3">
            <a:extLst>
              <a:ext uri="{FF2B5EF4-FFF2-40B4-BE49-F238E27FC236}">
                <a16:creationId xmlns:a16="http://schemas.microsoft.com/office/drawing/2014/main" id="{8A13CBB9-D761-4E90-B6D6-2A9FF21431A2}"/>
              </a:ext>
            </a:extLst>
          </p:cNvPr>
          <p:cNvPicPr>
            <a:picLocks noChangeAspect="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442840" y="1513641"/>
            <a:ext cx="616206"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2">
            <a:extLst>
              <a:ext uri="{FF2B5EF4-FFF2-40B4-BE49-F238E27FC236}">
                <a16:creationId xmlns:a16="http://schemas.microsoft.com/office/drawing/2014/main" id="{17982063-F7CF-4F91-AEEB-19852BC2F8F3}"/>
              </a:ext>
            </a:extLst>
          </p:cNvPr>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135304" y="1548667"/>
            <a:ext cx="634068" cy="199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8919160" y="1514922"/>
            <a:ext cx="413519" cy="232491"/>
          </a:xfrm>
          <a:prstGeom prst="rect">
            <a:avLst/>
          </a:prstGeom>
        </p:spPr>
      </p:pic>
      <p:pic>
        <p:nvPicPr>
          <p:cNvPr id="25" name="Picture 8" descr="Bitfury">
            <a:extLst>
              <a:ext uri="{FF2B5EF4-FFF2-40B4-BE49-F238E27FC236}">
                <a16:creationId xmlns:a16="http://schemas.microsoft.com/office/drawing/2014/main" id="{01352363-DB73-4F6A-97B8-29E64DA1F29D}"/>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1047710" y="1596167"/>
            <a:ext cx="446088"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452492" y="1456490"/>
            <a:ext cx="687769" cy="364939"/>
          </a:xfrm>
          <a:prstGeom prst="rect">
            <a:avLst/>
          </a:prstGeom>
        </p:spPr>
      </p:pic>
      <p:sp>
        <p:nvSpPr>
          <p:cNvPr id="26" name="TextBox 25"/>
          <p:cNvSpPr txBox="1"/>
          <p:nvPr>
            <p:custDataLst>
              <p:tags r:id="rId5"/>
            </p:custDataLst>
          </p:nvPr>
        </p:nvSpPr>
        <p:spPr>
          <a:xfrm>
            <a:off x="5282184" y="3600534"/>
            <a:ext cx="2098427" cy="2308324"/>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Michael Fischer</a:t>
            </a: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SVP, Sales, Americas</a:t>
            </a:r>
          </a:p>
          <a:p>
            <a:pPr indent="0" algn="ctr" defTabSz="1219200" eaLnBrk="0" fontAlgn="base" hangingPunct="0">
              <a:lnSpc>
                <a:spcPct val="100000"/>
              </a:lnSpc>
              <a:spcBef>
                <a:spcPct val="0"/>
              </a:spcBef>
              <a:spcAft>
                <a:spcPct val="0"/>
              </a:spcAft>
              <a:buNone/>
              <a:defRPr/>
            </a:pPr>
            <a:endParaRPr lang="en-US" altLang="en-US" sz="2400" dirty="0">
              <a:solidFill>
                <a:srgbClr val="A7A7A7">
                  <a:lumMod val="50000"/>
                </a:srgbClr>
              </a:solidFill>
              <a:cs typeface="Arial" panose="020B0604020202020204" pitchFamily="34" charset="0"/>
              <a:sym typeface="Arial" panose="020B0604020202020204" pitchFamily="34" charset="0"/>
            </a:endParaRP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20+ years in industry</a:t>
            </a: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Various senior sales positions at AFC, </a:t>
            </a:r>
            <a:r>
              <a:rPr lang="en-US" altLang="en-US" sz="1400" dirty="0" err="1">
                <a:solidFill>
                  <a:srgbClr val="A7A7A7">
                    <a:lumMod val="50000"/>
                  </a:srgbClr>
                </a:solidFill>
                <a:cs typeface="Arial" panose="020B0604020202020204" pitchFamily="34" charset="0"/>
                <a:sym typeface="Arial" panose="020B0604020202020204" pitchFamily="34" charset="0"/>
              </a:rPr>
              <a:t>HickoryTech</a:t>
            </a:r>
            <a:r>
              <a:rPr lang="en-US" altLang="en-US" sz="1400" dirty="0">
                <a:solidFill>
                  <a:srgbClr val="A7A7A7">
                    <a:lumMod val="50000"/>
                  </a:srgbClr>
                </a:solidFill>
                <a:cs typeface="Arial" panose="020B0604020202020204" pitchFamily="34" charset="0"/>
                <a:sym typeface="Arial" panose="020B0604020202020204" pitchFamily="34" charset="0"/>
              </a:rPr>
              <a:t>, </a:t>
            </a:r>
            <a:r>
              <a:rPr lang="en-US" altLang="en-US" sz="1400" dirty="0" err="1">
                <a:solidFill>
                  <a:srgbClr val="A7A7A7">
                    <a:lumMod val="50000"/>
                  </a:srgbClr>
                </a:solidFill>
                <a:cs typeface="Arial" panose="020B0604020202020204" pitchFamily="34" charset="0"/>
                <a:sym typeface="Arial" panose="020B0604020202020204" pitchFamily="34" charset="0"/>
              </a:rPr>
              <a:t>Contel</a:t>
            </a:r>
            <a:r>
              <a:rPr lang="en-US" altLang="en-US" sz="1400" dirty="0">
                <a:solidFill>
                  <a:srgbClr val="A7A7A7">
                    <a:lumMod val="50000"/>
                  </a:srgbClr>
                </a:solidFill>
                <a:cs typeface="Arial" panose="020B0604020202020204" pitchFamily="34" charset="0"/>
                <a:sym typeface="Arial" panose="020B0604020202020204" pitchFamily="34" charset="0"/>
              </a:rPr>
              <a:t>, GTE</a:t>
            </a:r>
          </a:p>
          <a:p>
            <a:pPr marL="171450" indent="-171450" defTabSz="1219200" eaLnBrk="0" fontAlgn="base" hangingPunct="0">
              <a:lnSpc>
                <a:spcPct val="100000"/>
              </a:lnSpc>
              <a:spcBef>
                <a:spcPct val="0"/>
              </a:spcBef>
              <a:spcAft>
                <a:spcPct val="0"/>
              </a:spcAft>
              <a:buFontTx/>
              <a:buChar char="•"/>
              <a:defRPr/>
            </a:pPr>
            <a:endParaRPr lang="en-US" altLang="en-US" sz="1600" dirty="0">
              <a:solidFill>
                <a:srgbClr val="A7A7A7">
                  <a:lumMod val="50000"/>
                </a:srgbClr>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18697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a:t>Tables</a:t>
            </a:r>
          </a:p>
        </p:txBody>
      </p:sp>
      <p:graphicFrame>
        <p:nvGraphicFramePr>
          <p:cNvPr id="8" name="Table 7"/>
          <p:cNvGraphicFramePr>
            <a:graphicFrameLocks noGrp="1"/>
          </p:cNvGraphicFramePr>
          <p:nvPr>
            <p:extLst>
              <p:ext uri="{D42A27DB-BD31-4B8C-83A1-F6EECF244321}">
                <p14:modId xmlns:p14="http://schemas.microsoft.com/office/powerpoint/2010/main" val="3172614276"/>
              </p:ext>
            </p:extLst>
          </p:nvPr>
        </p:nvGraphicFramePr>
        <p:xfrm>
          <a:off x="4" y="1413562"/>
          <a:ext cx="12191995" cy="4377704"/>
        </p:xfrm>
        <a:graphic>
          <a:graphicData uri="http://schemas.openxmlformats.org/drawingml/2006/table">
            <a:tbl>
              <a:tblPr firstRow="1" bandRow="1">
                <a:tableStyleId>{5C22544A-7EE6-4342-B048-85BDC9FD1C3A}</a:tableStyleId>
              </a:tblPr>
              <a:tblGrid>
                <a:gridCol w="2438399">
                  <a:extLst>
                    <a:ext uri="{9D8B030D-6E8A-4147-A177-3AD203B41FA5}">
                      <a16:colId xmlns:a16="http://schemas.microsoft.com/office/drawing/2014/main" val="454735734"/>
                    </a:ext>
                  </a:extLst>
                </a:gridCol>
                <a:gridCol w="2438399">
                  <a:extLst>
                    <a:ext uri="{9D8B030D-6E8A-4147-A177-3AD203B41FA5}">
                      <a16:colId xmlns:a16="http://schemas.microsoft.com/office/drawing/2014/main" val="2141917429"/>
                    </a:ext>
                  </a:extLst>
                </a:gridCol>
                <a:gridCol w="2438399">
                  <a:extLst>
                    <a:ext uri="{9D8B030D-6E8A-4147-A177-3AD203B41FA5}">
                      <a16:colId xmlns:a16="http://schemas.microsoft.com/office/drawing/2014/main" val="1810116728"/>
                    </a:ext>
                  </a:extLst>
                </a:gridCol>
                <a:gridCol w="2438399">
                  <a:extLst>
                    <a:ext uri="{9D8B030D-6E8A-4147-A177-3AD203B41FA5}">
                      <a16:colId xmlns:a16="http://schemas.microsoft.com/office/drawing/2014/main" val="4252984025"/>
                    </a:ext>
                  </a:extLst>
                </a:gridCol>
                <a:gridCol w="2438399">
                  <a:extLst>
                    <a:ext uri="{9D8B030D-6E8A-4147-A177-3AD203B41FA5}">
                      <a16:colId xmlns:a16="http://schemas.microsoft.com/office/drawing/2014/main" val="1947521665"/>
                    </a:ext>
                  </a:extLst>
                </a:gridCol>
              </a:tblGrid>
              <a:tr h="222774">
                <a:tc>
                  <a:txBody>
                    <a:bodyPr/>
                    <a:lstStyle/>
                    <a:p>
                      <a:pPr algn="ctr"/>
                      <a:r>
                        <a:rPr lang="en-US" sz="1100" b="0" dirty="0">
                          <a:solidFill>
                            <a:schemeClr val="accent1"/>
                          </a:solidFill>
                          <a:latin typeface="+mj-lt"/>
                        </a:rPr>
                        <a:t>Lorem </a:t>
                      </a:r>
                      <a:r>
                        <a:rPr lang="en-US" sz="1100" b="0" dirty="0" err="1">
                          <a:solidFill>
                            <a:schemeClr val="accent1"/>
                          </a:solidFill>
                          <a:latin typeface="+mj-lt"/>
                        </a:rPr>
                        <a:t>ipsumc</a:t>
                      </a:r>
                      <a:endParaRPr lang="en-US" sz="1100" b="0" dirty="0">
                        <a:solidFill>
                          <a:schemeClr val="accent1"/>
                        </a:solidFill>
                        <a:latin typeface="+mj-lt"/>
                      </a:endParaRPr>
                    </a:p>
                  </a:txBody>
                  <a:tcPr marL="74299" marR="74299" marT="37148" marB="37148" anchor="ctr">
                    <a:lnB w="38100" cmpd="sng">
                      <a:noFill/>
                    </a:lnB>
                    <a:solidFill>
                      <a:schemeClr val="accent3"/>
                    </a:solidFill>
                  </a:tcPr>
                </a:tc>
                <a:tc>
                  <a:txBody>
                    <a:bodyPr/>
                    <a:lstStyle/>
                    <a:p>
                      <a:pPr algn="ctr"/>
                      <a:r>
                        <a:rPr lang="en-US" sz="1100" b="0" dirty="0">
                          <a:solidFill>
                            <a:schemeClr val="accent1"/>
                          </a:solidFill>
                          <a:latin typeface="+mj-lt"/>
                        </a:rPr>
                        <a:t>Value</a:t>
                      </a:r>
                    </a:p>
                  </a:txBody>
                  <a:tcPr marL="74299" marR="74299" marT="37148" marB="37148" anchor="ctr">
                    <a:lnB w="38100" cmpd="sng">
                      <a:noFill/>
                    </a:lnB>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Value</a:t>
                      </a:r>
                    </a:p>
                  </a:txBody>
                  <a:tcPr marL="74299" marR="74299" marT="37148" marB="37148" anchor="ctr">
                    <a:lnB w="38100" cmpd="sng">
                      <a:noFill/>
                    </a:lnB>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Value</a:t>
                      </a:r>
                    </a:p>
                  </a:txBody>
                  <a:tcPr marL="74299" marR="74299" marT="37148" marB="37148" anchor="ctr">
                    <a:lnB w="38100" cmpd="sng">
                      <a:noFill/>
                    </a:lnB>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Value</a:t>
                      </a:r>
                    </a:p>
                  </a:txBody>
                  <a:tcPr marL="74299" marR="74299" marT="37148" marB="37148" anchor="ctr">
                    <a:lnB w="38100" cmpd="sng">
                      <a:noFill/>
                    </a:lnB>
                    <a:solidFill>
                      <a:schemeClr val="accent3"/>
                    </a:solidFill>
                  </a:tcPr>
                </a:tc>
                <a:extLst>
                  <a:ext uri="{0D108BD9-81ED-4DB2-BD59-A6C34878D82A}">
                    <a16:rowId xmlns:a16="http://schemas.microsoft.com/office/drawing/2014/main" val="1257791923"/>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bg2">
                              <a:lumMod val="50000"/>
                            </a:schemeClr>
                          </a:solidFill>
                          <a:latin typeface="Calibri" panose="020F0502020204030204" pitchFamily="34" charset="0"/>
                          <a:cs typeface="Calibri" panose="020F0502020204030204" pitchFamily="34" charset="0"/>
                        </a:rPr>
                        <a:t>10</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16%</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8</a:t>
                      </a:r>
                    </a:p>
                  </a:txBody>
                  <a:tcPr marL="74299" marR="74299" marT="37148" marB="37148" anchor="ctr">
                    <a:lnL w="12700" cap="flat" cmpd="sng" algn="ctr">
                      <a:noFill/>
                      <a:prstDash val="solid"/>
                      <a:round/>
                      <a:headEnd type="none" w="med" len="med"/>
                      <a:tailEnd type="none" w="med" len="med"/>
                    </a:lnL>
                    <a:lnR w="12700" cmpd="sng">
                      <a:noFill/>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9641726"/>
                  </a:ext>
                </a:extLst>
              </a:tr>
              <a:tr h="2651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3</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1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6</a:t>
                      </a: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4192134"/>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0</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21%</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1</a:t>
                      </a: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1747795"/>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0</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1</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1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1</a:t>
                      </a: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9617461"/>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2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5</a:t>
                      </a: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0904838"/>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0</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0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51%</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1</a:t>
                      </a: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7288275"/>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6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2</a:t>
                      </a: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813995"/>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6</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3</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3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2</a:t>
                      </a: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6908519"/>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0</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3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2</a:t>
                      </a: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4972157"/>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1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2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endParaRP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1430022"/>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2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6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endParaRP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6951016"/>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6</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7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endParaRP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131500"/>
                  </a:ext>
                </a:extLst>
              </a:tr>
              <a:tr h="230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Lorem </a:t>
                      </a:r>
                      <a:r>
                        <a:rPr kumimoji="0" lang="en-US" sz="1100" b="0" i="0" u="none" strike="noStrike" kern="1200" cap="none" spc="0" normalizeH="0" baseline="0" noProof="0" dirty="0" err="1">
                          <a:ln>
                            <a:noFill/>
                          </a:ln>
                          <a:solidFill>
                            <a:schemeClr val="accent1"/>
                          </a:solidFill>
                          <a:effectLst/>
                          <a:uLnTx/>
                          <a:uFillTx/>
                          <a:latin typeface="+mj-lt"/>
                          <a:ea typeface="+mn-ea"/>
                          <a:cs typeface="+mn-cs"/>
                        </a:rPr>
                        <a:t>ipsumc</a:t>
                      </a:r>
                      <a:endParaRPr kumimoji="0" lang="en-US" sz="1100" b="0" i="0" u="none" strike="noStrike" kern="1200" cap="none" spc="0" normalizeH="0" baseline="0" noProof="0" dirty="0">
                        <a:ln>
                          <a:noFill/>
                        </a:ln>
                        <a:solidFill>
                          <a:schemeClr val="accent1"/>
                        </a:solidFill>
                        <a:effectLst/>
                        <a:uLnTx/>
                        <a:uFillTx/>
                        <a:latin typeface="+mj-lt"/>
                        <a:ea typeface="+mn-ea"/>
                        <a:cs typeface="+mn-cs"/>
                      </a:endParaRPr>
                    </a:p>
                  </a:txBody>
                  <a:tcPr marL="74299" marR="74299" marT="37148" marB="37148"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32</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rPr>
                        <a:t>7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25%</a:t>
                      </a:r>
                    </a:p>
                  </a:txBody>
                  <a:tcPr marL="74299" marR="74299"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2">
                            <a:lumMod val="50000"/>
                          </a:schemeClr>
                        </a:solidFill>
                        <a:effectLst/>
                        <a:uLnTx/>
                        <a:uFillTx/>
                        <a:latin typeface="Calibri" panose="020F0502020204030204" pitchFamily="34" charset="0"/>
                        <a:ea typeface="+mn-ea"/>
                        <a:cs typeface="Calibri" panose="020F0502020204030204" pitchFamily="34" charset="0"/>
                      </a:endParaRPr>
                    </a:p>
                  </a:txBody>
                  <a:tcPr marL="74299" marR="74299" marT="37148" marB="37148"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16034"/>
                  </a:ext>
                </a:extLst>
              </a:tr>
            </a:tbl>
          </a:graphicData>
        </a:graphic>
      </p:graphicFrame>
    </p:spTree>
    <p:extLst>
      <p:ext uri="{BB962C8B-B14F-4D97-AF65-F5344CB8AC3E}">
        <p14:creationId xmlns:p14="http://schemas.microsoft.com/office/powerpoint/2010/main" val="2910928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7394114" y="2771283"/>
            <a:ext cx="4382828" cy="861774"/>
          </a:xfrm>
          <a:prstGeom prst="rect">
            <a:avLst/>
          </a:prstGeom>
          <a:noFill/>
        </p:spPr>
        <p:txBody>
          <a:bodyPr wrap="square" rtlCol="0">
            <a:spAutoFit/>
          </a:bodyPr>
          <a:lstStyle/>
          <a:p>
            <a:r>
              <a:rPr lang="en-US" dirty="0">
                <a:solidFill>
                  <a:schemeClr val="accent1"/>
                </a:solidFill>
                <a:latin typeface="+mj-lt"/>
              </a:rPr>
              <a:t>Category Two</a:t>
            </a:r>
            <a:br>
              <a:rPr lang="en-US" dirty="0">
                <a:solidFill>
                  <a:schemeClr val="accent1"/>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sp>
        <p:nvSpPr>
          <p:cNvPr id="30" name="TextBox 29"/>
          <p:cNvSpPr txBox="1"/>
          <p:nvPr/>
        </p:nvSpPr>
        <p:spPr>
          <a:xfrm>
            <a:off x="7394114" y="1762249"/>
            <a:ext cx="4382828" cy="861774"/>
          </a:xfrm>
          <a:prstGeom prst="rect">
            <a:avLst/>
          </a:prstGeom>
          <a:noFill/>
        </p:spPr>
        <p:txBody>
          <a:bodyPr wrap="square" rtlCol="0">
            <a:spAutoFit/>
          </a:bodyPr>
          <a:lstStyle/>
          <a:p>
            <a:r>
              <a:rPr lang="en-US" dirty="0">
                <a:solidFill>
                  <a:schemeClr val="accent1"/>
                </a:solidFill>
                <a:latin typeface="+mj-lt"/>
              </a:rPr>
              <a:t>Category One</a:t>
            </a:r>
            <a:br>
              <a:rPr lang="en-US" dirty="0">
                <a:solidFill>
                  <a:schemeClr val="accent1"/>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sp>
        <p:nvSpPr>
          <p:cNvPr id="31" name="TextBox 30"/>
          <p:cNvSpPr txBox="1"/>
          <p:nvPr/>
        </p:nvSpPr>
        <p:spPr>
          <a:xfrm>
            <a:off x="7394114" y="3754767"/>
            <a:ext cx="4382828" cy="861774"/>
          </a:xfrm>
          <a:prstGeom prst="rect">
            <a:avLst/>
          </a:prstGeom>
          <a:noFill/>
        </p:spPr>
        <p:txBody>
          <a:bodyPr wrap="square" rtlCol="0">
            <a:spAutoFit/>
          </a:bodyPr>
          <a:lstStyle/>
          <a:p>
            <a:r>
              <a:rPr lang="en-US" dirty="0">
                <a:solidFill>
                  <a:schemeClr val="accent1"/>
                </a:solidFill>
                <a:latin typeface="+mj-lt"/>
              </a:rPr>
              <a:t>Category Three</a:t>
            </a:r>
            <a:br>
              <a:rPr lang="en-US" dirty="0">
                <a:solidFill>
                  <a:schemeClr val="accent1"/>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sp>
        <p:nvSpPr>
          <p:cNvPr id="32" name="TextBox 31"/>
          <p:cNvSpPr txBox="1"/>
          <p:nvPr/>
        </p:nvSpPr>
        <p:spPr>
          <a:xfrm>
            <a:off x="7394114" y="4751026"/>
            <a:ext cx="4382828" cy="861774"/>
          </a:xfrm>
          <a:prstGeom prst="rect">
            <a:avLst/>
          </a:prstGeom>
          <a:noFill/>
        </p:spPr>
        <p:txBody>
          <a:bodyPr wrap="square" rtlCol="0">
            <a:spAutoFit/>
          </a:bodyPr>
          <a:lstStyle/>
          <a:p>
            <a:r>
              <a:rPr lang="en-US" dirty="0">
                <a:solidFill>
                  <a:schemeClr val="accent1"/>
                </a:solidFill>
                <a:latin typeface="+mj-lt"/>
              </a:rPr>
              <a:t>Category Four</a:t>
            </a:r>
            <a:br>
              <a:rPr lang="en-US" dirty="0">
                <a:solidFill>
                  <a:schemeClr val="accent1"/>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graphicFrame>
        <p:nvGraphicFramePr>
          <p:cNvPr id="27" name="Chart 26"/>
          <p:cNvGraphicFramePr/>
          <p:nvPr>
            <p:extLst>
              <p:ext uri="{D42A27DB-BD31-4B8C-83A1-F6EECF244321}">
                <p14:modId xmlns:p14="http://schemas.microsoft.com/office/powerpoint/2010/main" val="4175231762"/>
              </p:ext>
            </p:extLst>
          </p:nvPr>
        </p:nvGraphicFramePr>
        <p:xfrm>
          <a:off x="501650" y="1912409"/>
          <a:ext cx="5435600" cy="3623733"/>
        </p:xfrm>
        <a:graphic>
          <a:graphicData uri="http://schemas.openxmlformats.org/drawingml/2006/chart">
            <c:chart xmlns:c="http://schemas.openxmlformats.org/drawingml/2006/chart" xmlns:r="http://schemas.openxmlformats.org/officeDocument/2006/relationships" r:id="rId2"/>
          </a:graphicData>
        </a:graphic>
      </p:graphicFrame>
      <p:sp>
        <p:nvSpPr>
          <p:cNvPr id="29" name="Rectangle 28"/>
          <p:cNvSpPr/>
          <p:nvPr/>
        </p:nvSpPr>
        <p:spPr>
          <a:xfrm>
            <a:off x="4770281" y="3320152"/>
            <a:ext cx="987771" cy="584775"/>
          </a:xfrm>
          <a:prstGeom prst="rect">
            <a:avLst/>
          </a:prstGeom>
        </p:spPr>
        <p:txBody>
          <a:bodyPr wrap="none">
            <a:spAutoFit/>
          </a:bodyPr>
          <a:lstStyle/>
          <a:p>
            <a:r>
              <a:rPr lang="en-US" sz="3200" dirty="0">
                <a:solidFill>
                  <a:schemeClr val="accent4">
                    <a:lumMod val="75000"/>
                  </a:schemeClr>
                </a:solidFill>
                <a:latin typeface="+mj-lt"/>
                <a:cs typeface="Calibri" panose="020F0502020204030204" pitchFamily="34" charset="0"/>
              </a:rPr>
              <a:t>60</a:t>
            </a:r>
            <a:r>
              <a:rPr lang="en-US" sz="3200" dirty="0">
                <a:solidFill>
                  <a:schemeClr val="accent4">
                    <a:lumMod val="75000"/>
                  </a:schemeClr>
                </a:solidFill>
                <a:latin typeface="+mj-lt"/>
              </a:rPr>
              <a:t>%</a:t>
            </a:r>
          </a:p>
        </p:txBody>
      </p:sp>
      <p:sp>
        <p:nvSpPr>
          <p:cNvPr id="33" name="Rectangle 32"/>
          <p:cNvSpPr/>
          <p:nvPr/>
        </p:nvSpPr>
        <p:spPr>
          <a:xfrm>
            <a:off x="902154" y="4166251"/>
            <a:ext cx="1013419" cy="584775"/>
          </a:xfrm>
          <a:prstGeom prst="rect">
            <a:avLst/>
          </a:prstGeom>
        </p:spPr>
        <p:txBody>
          <a:bodyPr wrap="none">
            <a:spAutoFit/>
          </a:bodyPr>
          <a:lstStyle/>
          <a:p>
            <a:r>
              <a:rPr lang="en-US" sz="3200" dirty="0">
                <a:solidFill>
                  <a:schemeClr val="accent2"/>
                </a:solidFill>
                <a:latin typeface="+mj-lt"/>
                <a:cs typeface="Calibri" panose="020F0502020204030204" pitchFamily="34" charset="0"/>
              </a:rPr>
              <a:t>25</a:t>
            </a:r>
            <a:r>
              <a:rPr lang="en-US" sz="3200" dirty="0">
                <a:solidFill>
                  <a:schemeClr val="accent2"/>
                </a:solidFill>
                <a:latin typeface="+mj-lt"/>
              </a:rPr>
              <a:t>%</a:t>
            </a:r>
          </a:p>
        </p:txBody>
      </p:sp>
      <p:sp>
        <p:nvSpPr>
          <p:cNvPr id="34" name="Rectangle 33"/>
          <p:cNvSpPr/>
          <p:nvPr/>
        </p:nvSpPr>
        <p:spPr>
          <a:xfrm>
            <a:off x="2063782" y="1511993"/>
            <a:ext cx="952505" cy="584775"/>
          </a:xfrm>
          <a:prstGeom prst="rect">
            <a:avLst/>
          </a:prstGeom>
        </p:spPr>
        <p:txBody>
          <a:bodyPr wrap="none">
            <a:spAutoFit/>
          </a:bodyPr>
          <a:lstStyle/>
          <a:p>
            <a:r>
              <a:rPr lang="en-US" sz="3200" dirty="0">
                <a:solidFill>
                  <a:schemeClr val="accent4"/>
                </a:solidFill>
                <a:latin typeface="+mj-lt"/>
                <a:cs typeface="Calibri" panose="020F0502020204030204" pitchFamily="34" charset="0"/>
              </a:rPr>
              <a:t>10</a:t>
            </a:r>
            <a:r>
              <a:rPr lang="en-US" sz="3200" dirty="0">
                <a:solidFill>
                  <a:schemeClr val="accent4"/>
                </a:solidFill>
                <a:latin typeface="+mj-lt"/>
              </a:rPr>
              <a:t>%</a:t>
            </a:r>
          </a:p>
        </p:txBody>
      </p:sp>
      <p:sp>
        <p:nvSpPr>
          <p:cNvPr id="35" name="Rectangle 34"/>
          <p:cNvSpPr/>
          <p:nvPr/>
        </p:nvSpPr>
        <p:spPr>
          <a:xfrm>
            <a:off x="902154" y="2462171"/>
            <a:ext cx="909223" cy="584775"/>
          </a:xfrm>
          <a:prstGeom prst="rect">
            <a:avLst/>
          </a:prstGeom>
        </p:spPr>
        <p:txBody>
          <a:bodyPr wrap="none">
            <a:spAutoFit/>
          </a:bodyPr>
          <a:lstStyle/>
          <a:p>
            <a:r>
              <a:rPr lang="en-US" sz="3200" dirty="0">
                <a:solidFill>
                  <a:schemeClr val="accent3"/>
                </a:solidFill>
                <a:latin typeface="+mj-lt"/>
                <a:cs typeface="Calibri" panose="020F0502020204030204" pitchFamily="34" charset="0"/>
              </a:rPr>
              <a:t>15</a:t>
            </a:r>
            <a:r>
              <a:rPr lang="en-US" sz="3200" dirty="0">
                <a:solidFill>
                  <a:schemeClr val="accent3"/>
                </a:solidFill>
                <a:latin typeface="+mj-lt"/>
              </a:rPr>
              <a:t>%</a:t>
            </a:r>
          </a:p>
        </p:txBody>
      </p:sp>
      <p:sp>
        <p:nvSpPr>
          <p:cNvPr id="3" name="Text Placeholder 2"/>
          <p:cNvSpPr>
            <a:spLocks noGrp="1"/>
          </p:cNvSpPr>
          <p:nvPr>
            <p:ph type="body" sz="quarter" idx="13"/>
          </p:nvPr>
        </p:nvSpPr>
        <p:spPr>
          <a:xfrm>
            <a:off x="501650" y="287338"/>
            <a:ext cx="11690350" cy="498475"/>
          </a:xfrm>
        </p:spPr>
        <p:txBody>
          <a:bodyPr/>
          <a:lstStyle/>
          <a:p>
            <a:r>
              <a:rPr lang="en-US" dirty="0"/>
              <a:t>Pie Charts</a:t>
            </a:r>
          </a:p>
        </p:txBody>
      </p:sp>
      <p:grpSp>
        <p:nvGrpSpPr>
          <p:cNvPr id="11" name="Group 4"/>
          <p:cNvGrpSpPr>
            <a:grpSpLocks noChangeAspect="1"/>
          </p:cNvGrpSpPr>
          <p:nvPr/>
        </p:nvGrpSpPr>
        <p:grpSpPr bwMode="auto">
          <a:xfrm>
            <a:off x="6766516" y="4788343"/>
            <a:ext cx="457200" cy="457200"/>
            <a:chOff x="3998" y="815"/>
            <a:chExt cx="3101" cy="3101"/>
          </a:xfrm>
          <a:solidFill>
            <a:schemeClr val="accent1"/>
          </a:solidFill>
        </p:grpSpPr>
        <p:sp>
          <p:nvSpPr>
            <p:cNvPr id="13" name="Freeform 5"/>
            <p:cNvSpPr>
              <a:spLocks noEditPoints="1"/>
            </p:cNvSpPr>
            <p:nvPr/>
          </p:nvSpPr>
          <p:spPr bwMode="auto">
            <a:xfrm>
              <a:off x="6688" y="2411"/>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4"/>
                    <a:pt x="40" y="0"/>
                    <a:pt x="32" y="0"/>
                  </a:cubicBezTo>
                  <a:cubicBezTo>
                    <a:pt x="23" y="0"/>
                    <a:pt x="15" y="4"/>
                    <a:pt x="9" y="9"/>
                  </a:cubicBezTo>
                  <a:cubicBezTo>
                    <a:pt x="3" y="15"/>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3998" y="815"/>
              <a:ext cx="2811" cy="2423"/>
            </a:xfrm>
            <a:custGeom>
              <a:avLst/>
              <a:gdLst>
                <a:gd name="T0" fmla="*/ 1312 w 1485"/>
                <a:gd name="T1" fmla="*/ 128 h 1280"/>
                <a:gd name="T2" fmla="*/ 1203 w 1485"/>
                <a:gd name="T3" fmla="*/ 0 h 1280"/>
                <a:gd name="T4" fmla="*/ 1094 w 1485"/>
                <a:gd name="T5" fmla="*/ 128 h 1280"/>
                <a:gd name="T6" fmla="*/ 851 w 1485"/>
                <a:gd name="T7" fmla="*/ 109 h 1280"/>
                <a:gd name="T8" fmla="*/ 634 w 1485"/>
                <a:gd name="T9" fmla="*/ 109 h 1280"/>
                <a:gd name="T10" fmla="*/ 390 w 1485"/>
                <a:gd name="T11" fmla="*/ 128 h 1280"/>
                <a:gd name="T12" fmla="*/ 282 w 1485"/>
                <a:gd name="T13" fmla="*/ 0 h 1280"/>
                <a:gd name="T14" fmla="*/ 173 w 1485"/>
                <a:gd name="T15" fmla="*/ 128 h 1280"/>
                <a:gd name="T16" fmla="*/ 0 w 1485"/>
                <a:gd name="T17" fmla="*/ 288 h 1280"/>
                <a:gd name="T18" fmla="*/ 96 w 1485"/>
                <a:gd name="T19" fmla="*/ 1280 h 1280"/>
                <a:gd name="T20" fmla="*/ 834 w 1485"/>
                <a:gd name="T21" fmla="*/ 1248 h 1280"/>
                <a:gd name="T22" fmla="*/ 96 w 1485"/>
                <a:gd name="T23" fmla="*/ 1216 h 1280"/>
                <a:gd name="T24" fmla="*/ 64 w 1485"/>
                <a:gd name="T25" fmla="*/ 288 h 1280"/>
                <a:gd name="T26" fmla="*/ 326 w 1485"/>
                <a:gd name="T27" fmla="*/ 192 h 1280"/>
                <a:gd name="T28" fmla="*/ 282 w 1485"/>
                <a:gd name="T29" fmla="*/ 260 h 1280"/>
                <a:gd name="T30" fmla="*/ 282 w 1485"/>
                <a:gd name="T31" fmla="*/ 324 h 1280"/>
                <a:gd name="T32" fmla="*/ 390 w 1485"/>
                <a:gd name="T33" fmla="*/ 192 h 1280"/>
                <a:gd name="T34" fmla="*/ 787 w 1485"/>
                <a:gd name="T35" fmla="*/ 215 h 1280"/>
                <a:gd name="T36" fmla="*/ 710 w 1485"/>
                <a:gd name="T37" fmla="*/ 292 h 1280"/>
                <a:gd name="T38" fmla="*/ 851 w 1485"/>
                <a:gd name="T39" fmla="*/ 215 h 1280"/>
                <a:gd name="T40" fmla="*/ 1248 w 1485"/>
                <a:gd name="T41" fmla="*/ 192 h 1280"/>
                <a:gd name="T42" fmla="*/ 1203 w 1485"/>
                <a:gd name="T43" fmla="*/ 260 h 1280"/>
                <a:gd name="T44" fmla="*/ 1203 w 1485"/>
                <a:gd name="T45" fmla="*/ 324 h 1280"/>
                <a:gd name="T46" fmla="*/ 1312 w 1485"/>
                <a:gd name="T47" fmla="*/ 192 h 1280"/>
                <a:gd name="T48" fmla="*/ 1421 w 1485"/>
                <a:gd name="T49" fmla="*/ 288 h 1280"/>
                <a:gd name="T50" fmla="*/ 301 w 1485"/>
                <a:gd name="T51" fmla="*/ 378 h 1280"/>
                <a:gd name="T52" fmla="*/ 301 w 1485"/>
                <a:gd name="T53" fmla="*/ 442 h 1280"/>
                <a:gd name="T54" fmla="*/ 1421 w 1485"/>
                <a:gd name="T55" fmla="*/ 738 h 1280"/>
                <a:gd name="T56" fmla="*/ 1485 w 1485"/>
                <a:gd name="T57" fmla="*/ 738 h 1280"/>
                <a:gd name="T58" fmla="*/ 1325 w 1485"/>
                <a:gd name="T59" fmla="*/ 128 h 1280"/>
                <a:gd name="T60" fmla="*/ 237 w 1485"/>
                <a:gd name="T61" fmla="*/ 128 h 1280"/>
                <a:gd name="T62" fmla="*/ 282 w 1485"/>
                <a:gd name="T63" fmla="*/ 64 h 1280"/>
                <a:gd name="T64" fmla="*/ 326 w 1485"/>
                <a:gd name="T65" fmla="*/ 128 h 1280"/>
                <a:gd name="T66" fmla="*/ 698 w 1485"/>
                <a:gd name="T67" fmla="*/ 128 h 1280"/>
                <a:gd name="T68" fmla="*/ 742 w 1485"/>
                <a:gd name="T69" fmla="*/ 64 h 1280"/>
                <a:gd name="T70" fmla="*/ 787 w 1485"/>
                <a:gd name="T71" fmla="*/ 128 h 1280"/>
                <a:gd name="T72" fmla="*/ 1158 w 1485"/>
                <a:gd name="T73" fmla="*/ 128 h 1280"/>
                <a:gd name="T74" fmla="*/ 1203 w 1485"/>
                <a:gd name="T75" fmla="*/ 64 h 1280"/>
                <a:gd name="T76" fmla="*/ 1248 w 1485"/>
                <a:gd name="T77" fmla="*/ 128 h 1280"/>
                <a:gd name="T78" fmla="*/ 1248 w 1485"/>
                <a:gd name="T79" fmla="*/ 12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5" h="1280">
                  <a:moveTo>
                    <a:pt x="1325" y="128"/>
                  </a:moveTo>
                  <a:cubicBezTo>
                    <a:pt x="1312" y="128"/>
                    <a:pt x="1312" y="128"/>
                    <a:pt x="1312" y="128"/>
                  </a:cubicBezTo>
                  <a:cubicBezTo>
                    <a:pt x="1312" y="109"/>
                    <a:pt x="1312" y="109"/>
                    <a:pt x="1312" y="109"/>
                  </a:cubicBezTo>
                  <a:cubicBezTo>
                    <a:pt x="1312" y="49"/>
                    <a:pt x="1263" y="0"/>
                    <a:pt x="1203" y="0"/>
                  </a:cubicBezTo>
                  <a:cubicBezTo>
                    <a:pt x="1143" y="0"/>
                    <a:pt x="1094" y="49"/>
                    <a:pt x="1094" y="109"/>
                  </a:cubicBezTo>
                  <a:cubicBezTo>
                    <a:pt x="1094" y="128"/>
                    <a:pt x="1094" y="128"/>
                    <a:pt x="1094" y="128"/>
                  </a:cubicBezTo>
                  <a:cubicBezTo>
                    <a:pt x="851" y="128"/>
                    <a:pt x="851" y="128"/>
                    <a:pt x="851" y="128"/>
                  </a:cubicBezTo>
                  <a:cubicBezTo>
                    <a:pt x="851" y="109"/>
                    <a:pt x="851" y="109"/>
                    <a:pt x="851" y="109"/>
                  </a:cubicBezTo>
                  <a:cubicBezTo>
                    <a:pt x="851" y="49"/>
                    <a:pt x="802" y="0"/>
                    <a:pt x="742" y="0"/>
                  </a:cubicBezTo>
                  <a:cubicBezTo>
                    <a:pt x="682" y="0"/>
                    <a:pt x="634" y="49"/>
                    <a:pt x="634" y="109"/>
                  </a:cubicBezTo>
                  <a:cubicBezTo>
                    <a:pt x="634" y="128"/>
                    <a:pt x="634" y="128"/>
                    <a:pt x="634" y="128"/>
                  </a:cubicBezTo>
                  <a:cubicBezTo>
                    <a:pt x="390" y="128"/>
                    <a:pt x="390" y="128"/>
                    <a:pt x="390" y="128"/>
                  </a:cubicBezTo>
                  <a:cubicBezTo>
                    <a:pt x="390" y="109"/>
                    <a:pt x="390" y="109"/>
                    <a:pt x="390" y="109"/>
                  </a:cubicBezTo>
                  <a:cubicBezTo>
                    <a:pt x="390" y="49"/>
                    <a:pt x="342" y="0"/>
                    <a:pt x="282" y="0"/>
                  </a:cubicBezTo>
                  <a:cubicBezTo>
                    <a:pt x="222" y="0"/>
                    <a:pt x="173" y="49"/>
                    <a:pt x="173" y="109"/>
                  </a:cubicBezTo>
                  <a:cubicBezTo>
                    <a:pt x="173" y="128"/>
                    <a:pt x="173" y="128"/>
                    <a:pt x="173" y="128"/>
                  </a:cubicBezTo>
                  <a:cubicBezTo>
                    <a:pt x="160" y="128"/>
                    <a:pt x="160" y="128"/>
                    <a:pt x="160" y="128"/>
                  </a:cubicBezTo>
                  <a:cubicBezTo>
                    <a:pt x="72" y="128"/>
                    <a:pt x="0" y="200"/>
                    <a:pt x="0" y="288"/>
                  </a:cubicBezTo>
                  <a:cubicBezTo>
                    <a:pt x="0" y="1184"/>
                    <a:pt x="0" y="1184"/>
                    <a:pt x="0" y="1184"/>
                  </a:cubicBezTo>
                  <a:cubicBezTo>
                    <a:pt x="0" y="1237"/>
                    <a:pt x="43" y="1280"/>
                    <a:pt x="96" y="1280"/>
                  </a:cubicBezTo>
                  <a:cubicBezTo>
                    <a:pt x="802" y="1280"/>
                    <a:pt x="802" y="1280"/>
                    <a:pt x="802" y="1280"/>
                  </a:cubicBezTo>
                  <a:cubicBezTo>
                    <a:pt x="820" y="1280"/>
                    <a:pt x="834" y="1266"/>
                    <a:pt x="834" y="1248"/>
                  </a:cubicBezTo>
                  <a:cubicBezTo>
                    <a:pt x="834" y="1230"/>
                    <a:pt x="820" y="1216"/>
                    <a:pt x="802" y="1216"/>
                  </a:cubicBezTo>
                  <a:cubicBezTo>
                    <a:pt x="96" y="1216"/>
                    <a:pt x="96" y="1216"/>
                    <a:pt x="96" y="1216"/>
                  </a:cubicBezTo>
                  <a:cubicBezTo>
                    <a:pt x="78" y="1216"/>
                    <a:pt x="64" y="1202"/>
                    <a:pt x="64" y="1184"/>
                  </a:cubicBezTo>
                  <a:cubicBezTo>
                    <a:pt x="64" y="288"/>
                    <a:pt x="64" y="288"/>
                    <a:pt x="64" y="288"/>
                  </a:cubicBezTo>
                  <a:cubicBezTo>
                    <a:pt x="64" y="235"/>
                    <a:pt x="107" y="192"/>
                    <a:pt x="160" y="192"/>
                  </a:cubicBezTo>
                  <a:cubicBezTo>
                    <a:pt x="326" y="192"/>
                    <a:pt x="326" y="192"/>
                    <a:pt x="326" y="192"/>
                  </a:cubicBezTo>
                  <a:cubicBezTo>
                    <a:pt x="326" y="215"/>
                    <a:pt x="326" y="215"/>
                    <a:pt x="326" y="215"/>
                  </a:cubicBezTo>
                  <a:cubicBezTo>
                    <a:pt x="326" y="240"/>
                    <a:pt x="306" y="260"/>
                    <a:pt x="282" y="260"/>
                  </a:cubicBezTo>
                  <a:cubicBezTo>
                    <a:pt x="264" y="260"/>
                    <a:pt x="250" y="274"/>
                    <a:pt x="250" y="292"/>
                  </a:cubicBezTo>
                  <a:cubicBezTo>
                    <a:pt x="250" y="309"/>
                    <a:pt x="264" y="324"/>
                    <a:pt x="282" y="324"/>
                  </a:cubicBezTo>
                  <a:cubicBezTo>
                    <a:pt x="342" y="324"/>
                    <a:pt x="390" y="275"/>
                    <a:pt x="390" y="215"/>
                  </a:cubicBezTo>
                  <a:cubicBezTo>
                    <a:pt x="390" y="192"/>
                    <a:pt x="390" y="192"/>
                    <a:pt x="390" y="192"/>
                  </a:cubicBezTo>
                  <a:cubicBezTo>
                    <a:pt x="787" y="192"/>
                    <a:pt x="787" y="192"/>
                    <a:pt x="787" y="192"/>
                  </a:cubicBezTo>
                  <a:cubicBezTo>
                    <a:pt x="787" y="215"/>
                    <a:pt x="787" y="215"/>
                    <a:pt x="787" y="215"/>
                  </a:cubicBezTo>
                  <a:cubicBezTo>
                    <a:pt x="787" y="240"/>
                    <a:pt x="767" y="260"/>
                    <a:pt x="742" y="260"/>
                  </a:cubicBezTo>
                  <a:cubicBezTo>
                    <a:pt x="725" y="260"/>
                    <a:pt x="710" y="274"/>
                    <a:pt x="710" y="292"/>
                  </a:cubicBezTo>
                  <a:cubicBezTo>
                    <a:pt x="710" y="309"/>
                    <a:pt x="725" y="324"/>
                    <a:pt x="742" y="324"/>
                  </a:cubicBezTo>
                  <a:cubicBezTo>
                    <a:pt x="802" y="324"/>
                    <a:pt x="851" y="275"/>
                    <a:pt x="851" y="215"/>
                  </a:cubicBezTo>
                  <a:cubicBezTo>
                    <a:pt x="851" y="192"/>
                    <a:pt x="851" y="192"/>
                    <a:pt x="851" y="192"/>
                  </a:cubicBezTo>
                  <a:cubicBezTo>
                    <a:pt x="1248" y="192"/>
                    <a:pt x="1248" y="192"/>
                    <a:pt x="1248" y="192"/>
                  </a:cubicBezTo>
                  <a:cubicBezTo>
                    <a:pt x="1248" y="215"/>
                    <a:pt x="1248" y="215"/>
                    <a:pt x="1248" y="215"/>
                  </a:cubicBezTo>
                  <a:cubicBezTo>
                    <a:pt x="1248" y="240"/>
                    <a:pt x="1228" y="260"/>
                    <a:pt x="1203" y="260"/>
                  </a:cubicBezTo>
                  <a:cubicBezTo>
                    <a:pt x="1185" y="260"/>
                    <a:pt x="1171" y="274"/>
                    <a:pt x="1171" y="292"/>
                  </a:cubicBezTo>
                  <a:cubicBezTo>
                    <a:pt x="1171" y="309"/>
                    <a:pt x="1185" y="324"/>
                    <a:pt x="1203" y="324"/>
                  </a:cubicBezTo>
                  <a:cubicBezTo>
                    <a:pt x="1263" y="324"/>
                    <a:pt x="1312" y="275"/>
                    <a:pt x="1312" y="215"/>
                  </a:cubicBezTo>
                  <a:cubicBezTo>
                    <a:pt x="1312" y="192"/>
                    <a:pt x="1312" y="192"/>
                    <a:pt x="1312" y="192"/>
                  </a:cubicBezTo>
                  <a:cubicBezTo>
                    <a:pt x="1325" y="192"/>
                    <a:pt x="1325" y="192"/>
                    <a:pt x="1325" y="192"/>
                  </a:cubicBezTo>
                  <a:cubicBezTo>
                    <a:pt x="1378" y="192"/>
                    <a:pt x="1421" y="235"/>
                    <a:pt x="1421" y="288"/>
                  </a:cubicBezTo>
                  <a:cubicBezTo>
                    <a:pt x="1421" y="378"/>
                    <a:pt x="1421" y="378"/>
                    <a:pt x="1421" y="378"/>
                  </a:cubicBezTo>
                  <a:cubicBezTo>
                    <a:pt x="301" y="378"/>
                    <a:pt x="301" y="378"/>
                    <a:pt x="301" y="378"/>
                  </a:cubicBezTo>
                  <a:cubicBezTo>
                    <a:pt x="283" y="378"/>
                    <a:pt x="269" y="392"/>
                    <a:pt x="269" y="410"/>
                  </a:cubicBezTo>
                  <a:cubicBezTo>
                    <a:pt x="269" y="427"/>
                    <a:pt x="283" y="442"/>
                    <a:pt x="301" y="442"/>
                  </a:cubicBezTo>
                  <a:cubicBezTo>
                    <a:pt x="1421" y="442"/>
                    <a:pt x="1421" y="442"/>
                    <a:pt x="1421" y="442"/>
                  </a:cubicBezTo>
                  <a:cubicBezTo>
                    <a:pt x="1421" y="738"/>
                    <a:pt x="1421" y="738"/>
                    <a:pt x="1421" y="738"/>
                  </a:cubicBezTo>
                  <a:cubicBezTo>
                    <a:pt x="1421" y="755"/>
                    <a:pt x="1435" y="770"/>
                    <a:pt x="1453" y="770"/>
                  </a:cubicBezTo>
                  <a:cubicBezTo>
                    <a:pt x="1470" y="770"/>
                    <a:pt x="1485" y="755"/>
                    <a:pt x="1485" y="738"/>
                  </a:cubicBezTo>
                  <a:cubicBezTo>
                    <a:pt x="1485" y="288"/>
                    <a:pt x="1485" y="288"/>
                    <a:pt x="1485" y="288"/>
                  </a:cubicBezTo>
                  <a:cubicBezTo>
                    <a:pt x="1485" y="200"/>
                    <a:pt x="1413" y="128"/>
                    <a:pt x="1325" y="128"/>
                  </a:cubicBezTo>
                  <a:close/>
                  <a:moveTo>
                    <a:pt x="326" y="128"/>
                  </a:moveTo>
                  <a:cubicBezTo>
                    <a:pt x="237" y="128"/>
                    <a:pt x="237" y="128"/>
                    <a:pt x="237" y="128"/>
                  </a:cubicBezTo>
                  <a:cubicBezTo>
                    <a:pt x="237" y="109"/>
                    <a:pt x="237" y="109"/>
                    <a:pt x="237" y="109"/>
                  </a:cubicBezTo>
                  <a:cubicBezTo>
                    <a:pt x="237" y="84"/>
                    <a:pt x="257" y="64"/>
                    <a:pt x="282" y="64"/>
                  </a:cubicBezTo>
                  <a:cubicBezTo>
                    <a:pt x="306" y="64"/>
                    <a:pt x="326" y="84"/>
                    <a:pt x="326" y="109"/>
                  </a:cubicBezTo>
                  <a:lnTo>
                    <a:pt x="326" y="128"/>
                  </a:lnTo>
                  <a:close/>
                  <a:moveTo>
                    <a:pt x="787" y="128"/>
                  </a:moveTo>
                  <a:cubicBezTo>
                    <a:pt x="698" y="128"/>
                    <a:pt x="698" y="128"/>
                    <a:pt x="698" y="128"/>
                  </a:cubicBezTo>
                  <a:cubicBezTo>
                    <a:pt x="698" y="109"/>
                    <a:pt x="698" y="109"/>
                    <a:pt x="698" y="109"/>
                  </a:cubicBezTo>
                  <a:cubicBezTo>
                    <a:pt x="698" y="84"/>
                    <a:pt x="718" y="64"/>
                    <a:pt x="742" y="64"/>
                  </a:cubicBezTo>
                  <a:cubicBezTo>
                    <a:pt x="767" y="64"/>
                    <a:pt x="787" y="84"/>
                    <a:pt x="787" y="109"/>
                  </a:cubicBezTo>
                  <a:lnTo>
                    <a:pt x="787" y="128"/>
                  </a:lnTo>
                  <a:close/>
                  <a:moveTo>
                    <a:pt x="1248" y="128"/>
                  </a:moveTo>
                  <a:cubicBezTo>
                    <a:pt x="1158" y="128"/>
                    <a:pt x="1158" y="128"/>
                    <a:pt x="1158" y="128"/>
                  </a:cubicBezTo>
                  <a:cubicBezTo>
                    <a:pt x="1158" y="109"/>
                    <a:pt x="1158" y="109"/>
                    <a:pt x="1158" y="109"/>
                  </a:cubicBezTo>
                  <a:cubicBezTo>
                    <a:pt x="1158" y="84"/>
                    <a:pt x="1178" y="64"/>
                    <a:pt x="1203" y="64"/>
                  </a:cubicBezTo>
                  <a:cubicBezTo>
                    <a:pt x="1228" y="64"/>
                    <a:pt x="1248" y="84"/>
                    <a:pt x="1248" y="109"/>
                  </a:cubicBezTo>
                  <a:lnTo>
                    <a:pt x="1248" y="128"/>
                  </a:lnTo>
                  <a:close/>
                  <a:moveTo>
                    <a:pt x="1248" y="128"/>
                  </a:moveTo>
                  <a:cubicBezTo>
                    <a:pt x="1248" y="128"/>
                    <a:pt x="1248" y="128"/>
                    <a:pt x="1248"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noEditPoints="1"/>
            </p:cNvSpPr>
            <p:nvPr/>
          </p:nvSpPr>
          <p:spPr bwMode="auto">
            <a:xfrm>
              <a:off x="4325" y="2487"/>
              <a:ext cx="460" cy="460"/>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79 h 243"/>
                <a:gd name="T12" fmla="*/ 64 w 243"/>
                <a:gd name="T13" fmla="*/ 122 h 243"/>
                <a:gd name="T14" fmla="*/ 121 w 243"/>
                <a:gd name="T15" fmla="*/ 64 h 243"/>
                <a:gd name="T16" fmla="*/ 179 w 243"/>
                <a:gd name="T17" fmla="*/ 122 h 243"/>
                <a:gd name="T18" fmla="*/ 121 w 243"/>
                <a:gd name="T19" fmla="*/ 179 h 243"/>
                <a:gd name="T20" fmla="*/ 121 w 243"/>
                <a:gd name="T21" fmla="*/ 179 h 243"/>
                <a:gd name="T22" fmla="*/ 121 w 243"/>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79"/>
                  </a:moveTo>
                  <a:cubicBezTo>
                    <a:pt x="90" y="179"/>
                    <a:pt x="64" y="153"/>
                    <a:pt x="64" y="122"/>
                  </a:cubicBezTo>
                  <a:cubicBezTo>
                    <a:pt x="64" y="90"/>
                    <a:pt x="90" y="64"/>
                    <a:pt x="121" y="64"/>
                  </a:cubicBezTo>
                  <a:cubicBezTo>
                    <a:pt x="153" y="64"/>
                    <a:pt x="179" y="90"/>
                    <a:pt x="179" y="122"/>
                  </a:cubicBezTo>
                  <a:cubicBezTo>
                    <a:pt x="179" y="153"/>
                    <a:pt x="153" y="179"/>
                    <a:pt x="121" y="179"/>
                  </a:cubicBezTo>
                  <a:close/>
                  <a:moveTo>
                    <a:pt x="121" y="179"/>
                  </a:moveTo>
                  <a:cubicBezTo>
                    <a:pt x="121" y="179"/>
                    <a:pt x="121" y="179"/>
                    <a:pt x="121"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4890" y="2487"/>
              <a:ext cx="462" cy="460"/>
            </a:xfrm>
            <a:custGeom>
              <a:avLst/>
              <a:gdLst>
                <a:gd name="T0" fmla="*/ 122 w 244"/>
                <a:gd name="T1" fmla="*/ 0 h 243"/>
                <a:gd name="T2" fmla="*/ 0 w 244"/>
                <a:gd name="T3" fmla="*/ 122 h 243"/>
                <a:gd name="T4" fmla="*/ 122 w 244"/>
                <a:gd name="T5" fmla="*/ 243 h 243"/>
                <a:gd name="T6" fmla="*/ 244 w 244"/>
                <a:gd name="T7" fmla="*/ 122 h 243"/>
                <a:gd name="T8" fmla="*/ 122 w 244"/>
                <a:gd name="T9" fmla="*/ 0 h 243"/>
                <a:gd name="T10" fmla="*/ 122 w 244"/>
                <a:gd name="T11" fmla="*/ 179 h 243"/>
                <a:gd name="T12" fmla="*/ 64 w 244"/>
                <a:gd name="T13" fmla="*/ 122 h 243"/>
                <a:gd name="T14" fmla="*/ 122 w 244"/>
                <a:gd name="T15" fmla="*/ 64 h 243"/>
                <a:gd name="T16" fmla="*/ 180 w 244"/>
                <a:gd name="T17" fmla="*/ 122 h 243"/>
                <a:gd name="T18" fmla="*/ 122 w 244"/>
                <a:gd name="T19" fmla="*/ 179 h 243"/>
                <a:gd name="T20" fmla="*/ 122 w 244"/>
                <a:gd name="T21" fmla="*/ 179 h 243"/>
                <a:gd name="T22" fmla="*/ 122 w 244"/>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43">
                  <a:moveTo>
                    <a:pt x="122" y="0"/>
                  </a:moveTo>
                  <a:cubicBezTo>
                    <a:pt x="55" y="0"/>
                    <a:pt x="0" y="55"/>
                    <a:pt x="0" y="122"/>
                  </a:cubicBezTo>
                  <a:cubicBezTo>
                    <a:pt x="0" y="189"/>
                    <a:pt x="55" y="243"/>
                    <a:pt x="122" y="243"/>
                  </a:cubicBezTo>
                  <a:cubicBezTo>
                    <a:pt x="189" y="243"/>
                    <a:pt x="244" y="189"/>
                    <a:pt x="244" y="122"/>
                  </a:cubicBezTo>
                  <a:cubicBezTo>
                    <a:pt x="244" y="55"/>
                    <a:pt x="189" y="0"/>
                    <a:pt x="122" y="0"/>
                  </a:cubicBezTo>
                  <a:close/>
                  <a:moveTo>
                    <a:pt x="122" y="179"/>
                  </a:moveTo>
                  <a:cubicBezTo>
                    <a:pt x="90" y="179"/>
                    <a:pt x="64" y="153"/>
                    <a:pt x="64" y="122"/>
                  </a:cubicBezTo>
                  <a:cubicBezTo>
                    <a:pt x="64" y="90"/>
                    <a:pt x="90" y="64"/>
                    <a:pt x="122" y="64"/>
                  </a:cubicBezTo>
                  <a:cubicBezTo>
                    <a:pt x="154" y="64"/>
                    <a:pt x="180" y="90"/>
                    <a:pt x="180" y="122"/>
                  </a:cubicBezTo>
                  <a:cubicBezTo>
                    <a:pt x="180" y="153"/>
                    <a:pt x="154" y="179"/>
                    <a:pt x="122" y="179"/>
                  </a:cubicBezTo>
                  <a:close/>
                  <a:moveTo>
                    <a:pt x="122" y="179"/>
                  </a:moveTo>
                  <a:cubicBezTo>
                    <a:pt x="122" y="179"/>
                    <a:pt x="122" y="179"/>
                    <a:pt x="12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noEditPoints="1"/>
            </p:cNvSpPr>
            <p:nvPr/>
          </p:nvSpPr>
          <p:spPr bwMode="auto">
            <a:xfrm>
              <a:off x="5456" y="2487"/>
              <a:ext cx="460" cy="460"/>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122 w 243"/>
                <a:gd name="T11" fmla="*/ 179 h 243"/>
                <a:gd name="T12" fmla="*/ 64 w 243"/>
                <a:gd name="T13" fmla="*/ 122 h 243"/>
                <a:gd name="T14" fmla="*/ 122 w 243"/>
                <a:gd name="T15" fmla="*/ 64 h 243"/>
                <a:gd name="T16" fmla="*/ 179 w 243"/>
                <a:gd name="T17" fmla="*/ 122 h 243"/>
                <a:gd name="T18" fmla="*/ 122 w 243"/>
                <a:gd name="T19" fmla="*/ 179 h 243"/>
                <a:gd name="T20" fmla="*/ 122 w 243"/>
                <a:gd name="T21" fmla="*/ 179 h 243"/>
                <a:gd name="T22" fmla="*/ 122 w 243"/>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122" y="179"/>
                  </a:moveTo>
                  <a:cubicBezTo>
                    <a:pt x="90" y="179"/>
                    <a:pt x="64" y="153"/>
                    <a:pt x="64" y="122"/>
                  </a:cubicBezTo>
                  <a:cubicBezTo>
                    <a:pt x="64" y="90"/>
                    <a:pt x="90" y="64"/>
                    <a:pt x="122" y="64"/>
                  </a:cubicBezTo>
                  <a:cubicBezTo>
                    <a:pt x="153" y="64"/>
                    <a:pt x="179" y="90"/>
                    <a:pt x="179" y="122"/>
                  </a:cubicBezTo>
                  <a:cubicBezTo>
                    <a:pt x="179" y="153"/>
                    <a:pt x="153" y="179"/>
                    <a:pt x="122" y="179"/>
                  </a:cubicBezTo>
                  <a:close/>
                  <a:moveTo>
                    <a:pt x="122" y="179"/>
                  </a:moveTo>
                  <a:cubicBezTo>
                    <a:pt x="122" y="179"/>
                    <a:pt x="122" y="179"/>
                    <a:pt x="12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4325" y="1856"/>
              <a:ext cx="460" cy="462"/>
            </a:xfrm>
            <a:custGeom>
              <a:avLst/>
              <a:gdLst>
                <a:gd name="T0" fmla="*/ 121 w 243"/>
                <a:gd name="T1" fmla="*/ 0 h 244"/>
                <a:gd name="T2" fmla="*/ 0 w 243"/>
                <a:gd name="T3" fmla="*/ 122 h 244"/>
                <a:gd name="T4" fmla="*/ 121 w 243"/>
                <a:gd name="T5" fmla="*/ 244 h 244"/>
                <a:gd name="T6" fmla="*/ 243 w 243"/>
                <a:gd name="T7" fmla="*/ 122 h 244"/>
                <a:gd name="T8" fmla="*/ 121 w 243"/>
                <a:gd name="T9" fmla="*/ 0 h 244"/>
                <a:gd name="T10" fmla="*/ 121 w 243"/>
                <a:gd name="T11" fmla="*/ 180 h 244"/>
                <a:gd name="T12" fmla="*/ 64 w 243"/>
                <a:gd name="T13" fmla="*/ 122 h 244"/>
                <a:gd name="T14" fmla="*/ 121 w 243"/>
                <a:gd name="T15" fmla="*/ 64 h 244"/>
                <a:gd name="T16" fmla="*/ 179 w 243"/>
                <a:gd name="T17" fmla="*/ 122 h 244"/>
                <a:gd name="T18" fmla="*/ 121 w 243"/>
                <a:gd name="T19" fmla="*/ 180 h 244"/>
                <a:gd name="T20" fmla="*/ 121 w 243"/>
                <a:gd name="T21" fmla="*/ 180 h 244"/>
                <a:gd name="T22" fmla="*/ 121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moveTo>
                    <a:pt x="121" y="180"/>
                  </a:moveTo>
                  <a:cubicBezTo>
                    <a:pt x="90" y="180"/>
                    <a:pt x="64" y="154"/>
                    <a:pt x="64" y="122"/>
                  </a:cubicBezTo>
                  <a:cubicBezTo>
                    <a:pt x="64" y="90"/>
                    <a:pt x="90" y="64"/>
                    <a:pt x="121" y="64"/>
                  </a:cubicBezTo>
                  <a:cubicBezTo>
                    <a:pt x="153" y="64"/>
                    <a:pt x="179" y="90"/>
                    <a:pt x="179" y="122"/>
                  </a:cubicBezTo>
                  <a:cubicBezTo>
                    <a:pt x="179" y="154"/>
                    <a:pt x="153" y="180"/>
                    <a:pt x="121" y="180"/>
                  </a:cubicBezTo>
                  <a:close/>
                  <a:moveTo>
                    <a:pt x="121" y="180"/>
                  </a:moveTo>
                  <a:cubicBezTo>
                    <a:pt x="121" y="180"/>
                    <a:pt x="121" y="180"/>
                    <a:pt x="121"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p:cNvSpPr>
              <a:spLocks noEditPoints="1"/>
            </p:cNvSpPr>
            <p:nvPr/>
          </p:nvSpPr>
          <p:spPr bwMode="auto">
            <a:xfrm>
              <a:off x="5456" y="1856"/>
              <a:ext cx="460" cy="462"/>
            </a:xfrm>
            <a:custGeom>
              <a:avLst/>
              <a:gdLst>
                <a:gd name="T0" fmla="*/ 122 w 243"/>
                <a:gd name="T1" fmla="*/ 0 h 244"/>
                <a:gd name="T2" fmla="*/ 0 w 243"/>
                <a:gd name="T3" fmla="*/ 122 h 244"/>
                <a:gd name="T4" fmla="*/ 122 w 243"/>
                <a:gd name="T5" fmla="*/ 244 h 244"/>
                <a:gd name="T6" fmla="*/ 243 w 243"/>
                <a:gd name="T7" fmla="*/ 122 h 244"/>
                <a:gd name="T8" fmla="*/ 122 w 243"/>
                <a:gd name="T9" fmla="*/ 0 h 244"/>
                <a:gd name="T10" fmla="*/ 122 w 243"/>
                <a:gd name="T11" fmla="*/ 180 h 244"/>
                <a:gd name="T12" fmla="*/ 64 w 243"/>
                <a:gd name="T13" fmla="*/ 122 h 244"/>
                <a:gd name="T14" fmla="*/ 122 w 243"/>
                <a:gd name="T15" fmla="*/ 64 h 244"/>
                <a:gd name="T16" fmla="*/ 179 w 243"/>
                <a:gd name="T17" fmla="*/ 122 h 244"/>
                <a:gd name="T18" fmla="*/ 122 w 243"/>
                <a:gd name="T19" fmla="*/ 180 h 244"/>
                <a:gd name="T20" fmla="*/ 122 w 243"/>
                <a:gd name="T21" fmla="*/ 180 h 244"/>
                <a:gd name="T22" fmla="*/ 122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2" y="0"/>
                  </a:moveTo>
                  <a:cubicBezTo>
                    <a:pt x="55" y="0"/>
                    <a:pt x="0" y="55"/>
                    <a:pt x="0" y="122"/>
                  </a:cubicBezTo>
                  <a:cubicBezTo>
                    <a:pt x="0" y="189"/>
                    <a:pt x="55" y="244"/>
                    <a:pt x="122" y="244"/>
                  </a:cubicBezTo>
                  <a:cubicBezTo>
                    <a:pt x="189" y="244"/>
                    <a:pt x="243" y="189"/>
                    <a:pt x="243" y="122"/>
                  </a:cubicBezTo>
                  <a:cubicBezTo>
                    <a:pt x="243" y="55"/>
                    <a:pt x="189" y="0"/>
                    <a:pt x="122" y="0"/>
                  </a:cubicBezTo>
                  <a:close/>
                  <a:moveTo>
                    <a:pt x="122" y="180"/>
                  </a:moveTo>
                  <a:cubicBezTo>
                    <a:pt x="90" y="180"/>
                    <a:pt x="64" y="154"/>
                    <a:pt x="64" y="122"/>
                  </a:cubicBezTo>
                  <a:cubicBezTo>
                    <a:pt x="64" y="90"/>
                    <a:pt x="90" y="64"/>
                    <a:pt x="122" y="64"/>
                  </a:cubicBezTo>
                  <a:cubicBezTo>
                    <a:pt x="153" y="64"/>
                    <a:pt x="179" y="90"/>
                    <a:pt x="179" y="122"/>
                  </a:cubicBezTo>
                  <a:cubicBezTo>
                    <a:pt x="179" y="154"/>
                    <a:pt x="153" y="180"/>
                    <a:pt x="122" y="180"/>
                  </a:cubicBezTo>
                  <a:close/>
                  <a:moveTo>
                    <a:pt x="122" y="180"/>
                  </a:moveTo>
                  <a:cubicBezTo>
                    <a:pt x="122" y="180"/>
                    <a:pt x="122" y="180"/>
                    <a:pt x="122"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p:cNvSpPr>
              <a:spLocks noEditPoints="1"/>
            </p:cNvSpPr>
            <p:nvPr/>
          </p:nvSpPr>
          <p:spPr bwMode="auto">
            <a:xfrm>
              <a:off x="6022" y="1856"/>
              <a:ext cx="460" cy="462"/>
            </a:xfrm>
            <a:custGeom>
              <a:avLst/>
              <a:gdLst>
                <a:gd name="T0" fmla="*/ 121 w 243"/>
                <a:gd name="T1" fmla="*/ 0 h 244"/>
                <a:gd name="T2" fmla="*/ 0 w 243"/>
                <a:gd name="T3" fmla="*/ 122 h 244"/>
                <a:gd name="T4" fmla="*/ 121 w 243"/>
                <a:gd name="T5" fmla="*/ 244 h 244"/>
                <a:gd name="T6" fmla="*/ 243 w 243"/>
                <a:gd name="T7" fmla="*/ 122 h 244"/>
                <a:gd name="T8" fmla="*/ 121 w 243"/>
                <a:gd name="T9" fmla="*/ 0 h 244"/>
                <a:gd name="T10" fmla="*/ 121 w 243"/>
                <a:gd name="T11" fmla="*/ 180 h 244"/>
                <a:gd name="T12" fmla="*/ 64 w 243"/>
                <a:gd name="T13" fmla="*/ 122 h 244"/>
                <a:gd name="T14" fmla="*/ 121 w 243"/>
                <a:gd name="T15" fmla="*/ 64 h 244"/>
                <a:gd name="T16" fmla="*/ 179 w 243"/>
                <a:gd name="T17" fmla="*/ 122 h 244"/>
                <a:gd name="T18" fmla="*/ 121 w 243"/>
                <a:gd name="T19" fmla="*/ 180 h 244"/>
                <a:gd name="T20" fmla="*/ 121 w 243"/>
                <a:gd name="T21" fmla="*/ 180 h 244"/>
                <a:gd name="T22" fmla="*/ 121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moveTo>
                    <a:pt x="121" y="180"/>
                  </a:moveTo>
                  <a:cubicBezTo>
                    <a:pt x="90" y="180"/>
                    <a:pt x="64" y="154"/>
                    <a:pt x="64" y="122"/>
                  </a:cubicBezTo>
                  <a:cubicBezTo>
                    <a:pt x="64" y="90"/>
                    <a:pt x="90" y="64"/>
                    <a:pt x="121" y="64"/>
                  </a:cubicBezTo>
                  <a:cubicBezTo>
                    <a:pt x="153" y="64"/>
                    <a:pt x="179" y="90"/>
                    <a:pt x="179" y="122"/>
                  </a:cubicBezTo>
                  <a:cubicBezTo>
                    <a:pt x="179" y="154"/>
                    <a:pt x="153" y="180"/>
                    <a:pt x="121" y="180"/>
                  </a:cubicBezTo>
                  <a:close/>
                  <a:moveTo>
                    <a:pt x="121" y="180"/>
                  </a:moveTo>
                  <a:cubicBezTo>
                    <a:pt x="121" y="180"/>
                    <a:pt x="121" y="180"/>
                    <a:pt x="121"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p:cNvSpPr>
              <a:spLocks noEditPoints="1"/>
            </p:cNvSpPr>
            <p:nvPr/>
          </p:nvSpPr>
          <p:spPr bwMode="auto">
            <a:xfrm>
              <a:off x="4890" y="1856"/>
              <a:ext cx="462" cy="462"/>
            </a:xfrm>
            <a:custGeom>
              <a:avLst/>
              <a:gdLst>
                <a:gd name="T0" fmla="*/ 122 w 244"/>
                <a:gd name="T1" fmla="*/ 0 h 244"/>
                <a:gd name="T2" fmla="*/ 0 w 244"/>
                <a:gd name="T3" fmla="*/ 122 h 244"/>
                <a:gd name="T4" fmla="*/ 122 w 244"/>
                <a:gd name="T5" fmla="*/ 244 h 244"/>
                <a:gd name="T6" fmla="*/ 244 w 244"/>
                <a:gd name="T7" fmla="*/ 122 h 244"/>
                <a:gd name="T8" fmla="*/ 122 w 244"/>
                <a:gd name="T9" fmla="*/ 0 h 244"/>
                <a:gd name="T10" fmla="*/ 122 w 244"/>
                <a:gd name="T11" fmla="*/ 180 h 244"/>
                <a:gd name="T12" fmla="*/ 64 w 244"/>
                <a:gd name="T13" fmla="*/ 122 h 244"/>
                <a:gd name="T14" fmla="*/ 122 w 244"/>
                <a:gd name="T15" fmla="*/ 64 h 244"/>
                <a:gd name="T16" fmla="*/ 180 w 244"/>
                <a:gd name="T17" fmla="*/ 122 h 244"/>
                <a:gd name="T18" fmla="*/ 122 w 244"/>
                <a:gd name="T19" fmla="*/ 180 h 244"/>
                <a:gd name="T20" fmla="*/ 122 w 244"/>
                <a:gd name="T21" fmla="*/ 180 h 244"/>
                <a:gd name="T22" fmla="*/ 122 w 244"/>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44">
                  <a:moveTo>
                    <a:pt x="122" y="0"/>
                  </a:moveTo>
                  <a:cubicBezTo>
                    <a:pt x="55" y="0"/>
                    <a:pt x="0" y="55"/>
                    <a:pt x="0" y="122"/>
                  </a:cubicBezTo>
                  <a:cubicBezTo>
                    <a:pt x="0" y="189"/>
                    <a:pt x="55" y="244"/>
                    <a:pt x="122" y="244"/>
                  </a:cubicBezTo>
                  <a:cubicBezTo>
                    <a:pt x="189" y="244"/>
                    <a:pt x="244" y="189"/>
                    <a:pt x="244" y="122"/>
                  </a:cubicBezTo>
                  <a:cubicBezTo>
                    <a:pt x="244" y="55"/>
                    <a:pt x="189" y="0"/>
                    <a:pt x="122" y="0"/>
                  </a:cubicBezTo>
                  <a:close/>
                  <a:moveTo>
                    <a:pt x="122" y="180"/>
                  </a:moveTo>
                  <a:cubicBezTo>
                    <a:pt x="90" y="180"/>
                    <a:pt x="64" y="154"/>
                    <a:pt x="64" y="122"/>
                  </a:cubicBezTo>
                  <a:cubicBezTo>
                    <a:pt x="64" y="90"/>
                    <a:pt x="90" y="64"/>
                    <a:pt x="122" y="64"/>
                  </a:cubicBezTo>
                  <a:cubicBezTo>
                    <a:pt x="154" y="64"/>
                    <a:pt x="180" y="90"/>
                    <a:pt x="180" y="122"/>
                  </a:cubicBezTo>
                  <a:cubicBezTo>
                    <a:pt x="180" y="154"/>
                    <a:pt x="154" y="180"/>
                    <a:pt x="122" y="180"/>
                  </a:cubicBezTo>
                  <a:close/>
                  <a:moveTo>
                    <a:pt x="122" y="180"/>
                  </a:moveTo>
                  <a:cubicBezTo>
                    <a:pt x="122" y="180"/>
                    <a:pt x="122" y="180"/>
                    <a:pt x="122"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p:cNvSpPr>
              <a:spLocks noEditPoints="1"/>
            </p:cNvSpPr>
            <p:nvPr/>
          </p:nvSpPr>
          <p:spPr bwMode="auto">
            <a:xfrm>
              <a:off x="4271" y="1531"/>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5"/>
            <p:cNvSpPr>
              <a:spLocks noEditPoints="1"/>
            </p:cNvSpPr>
            <p:nvPr/>
          </p:nvSpPr>
          <p:spPr bwMode="auto">
            <a:xfrm>
              <a:off x="5766" y="2583"/>
              <a:ext cx="1333" cy="1333"/>
            </a:xfrm>
            <a:custGeom>
              <a:avLst/>
              <a:gdLst>
                <a:gd name="T0" fmla="*/ 352 w 704"/>
                <a:gd name="T1" fmla="*/ 0 h 704"/>
                <a:gd name="T2" fmla="*/ 0 w 704"/>
                <a:gd name="T3" fmla="*/ 352 h 704"/>
                <a:gd name="T4" fmla="*/ 352 w 704"/>
                <a:gd name="T5" fmla="*/ 704 h 704"/>
                <a:gd name="T6" fmla="*/ 704 w 704"/>
                <a:gd name="T7" fmla="*/ 352 h 704"/>
                <a:gd name="T8" fmla="*/ 352 w 704"/>
                <a:gd name="T9" fmla="*/ 0 h 704"/>
                <a:gd name="T10" fmla="*/ 352 w 704"/>
                <a:gd name="T11" fmla="*/ 640 h 704"/>
                <a:gd name="T12" fmla="*/ 64 w 704"/>
                <a:gd name="T13" fmla="*/ 352 h 704"/>
                <a:gd name="T14" fmla="*/ 352 w 704"/>
                <a:gd name="T15" fmla="*/ 64 h 704"/>
                <a:gd name="T16" fmla="*/ 640 w 704"/>
                <a:gd name="T17" fmla="*/ 352 h 704"/>
                <a:gd name="T18" fmla="*/ 352 w 704"/>
                <a:gd name="T19" fmla="*/ 640 h 704"/>
                <a:gd name="T20" fmla="*/ 352 w 704"/>
                <a:gd name="T21" fmla="*/ 640 h 704"/>
                <a:gd name="T22" fmla="*/ 352 w 704"/>
                <a:gd name="T2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4" h="704">
                  <a:moveTo>
                    <a:pt x="352" y="0"/>
                  </a:moveTo>
                  <a:cubicBezTo>
                    <a:pt x="158" y="0"/>
                    <a:pt x="0" y="158"/>
                    <a:pt x="0" y="352"/>
                  </a:cubicBezTo>
                  <a:cubicBezTo>
                    <a:pt x="0" y="547"/>
                    <a:pt x="158" y="704"/>
                    <a:pt x="352" y="704"/>
                  </a:cubicBezTo>
                  <a:cubicBezTo>
                    <a:pt x="546" y="704"/>
                    <a:pt x="704" y="547"/>
                    <a:pt x="704" y="352"/>
                  </a:cubicBezTo>
                  <a:cubicBezTo>
                    <a:pt x="704" y="158"/>
                    <a:pt x="546" y="0"/>
                    <a:pt x="352" y="0"/>
                  </a:cubicBezTo>
                  <a:close/>
                  <a:moveTo>
                    <a:pt x="352" y="640"/>
                  </a:moveTo>
                  <a:cubicBezTo>
                    <a:pt x="194" y="640"/>
                    <a:pt x="64" y="511"/>
                    <a:pt x="64" y="352"/>
                  </a:cubicBezTo>
                  <a:cubicBezTo>
                    <a:pt x="64" y="194"/>
                    <a:pt x="194" y="64"/>
                    <a:pt x="352" y="64"/>
                  </a:cubicBezTo>
                  <a:cubicBezTo>
                    <a:pt x="511" y="64"/>
                    <a:pt x="640" y="194"/>
                    <a:pt x="640" y="352"/>
                  </a:cubicBezTo>
                  <a:cubicBezTo>
                    <a:pt x="640" y="511"/>
                    <a:pt x="511" y="640"/>
                    <a:pt x="352" y="640"/>
                  </a:cubicBezTo>
                  <a:close/>
                  <a:moveTo>
                    <a:pt x="352" y="640"/>
                  </a:moveTo>
                  <a:cubicBezTo>
                    <a:pt x="352" y="640"/>
                    <a:pt x="352" y="640"/>
                    <a:pt x="352" y="6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6"/>
            <p:cNvSpPr>
              <a:spLocks noEditPoints="1"/>
            </p:cNvSpPr>
            <p:nvPr/>
          </p:nvSpPr>
          <p:spPr bwMode="auto">
            <a:xfrm>
              <a:off x="6016" y="3015"/>
              <a:ext cx="824" cy="456"/>
            </a:xfrm>
            <a:custGeom>
              <a:avLst/>
              <a:gdLst>
                <a:gd name="T0" fmla="*/ 403 w 435"/>
                <a:gd name="T1" fmla="*/ 0 h 241"/>
                <a:gd name="T2" fmla="*/ 332 w 435"/>
                <a:gd name="T3" fmla="*/ 0 h 241"/>
                <a:gd name="T4" fmla="*/ 300 w 435"/>
                <a:gd name="T5" fmla="*/ 32 h 241"/>
                <a:gd name="T6" fmla="*/ 323 w 435"/>
                <a:gd name="T7" fmla="*/ 62 h 241"/>
                <a:gd name="T8" fmla="*/ 235 w 435"/>
                <a:gd name="T9" fmla="*/ 149 h 241"/>
                <a:gd name="T10" fmla="*/ 165 w 435"/>
                <a:gd name="T11" fmla="*/ 79 h 241"/>
                <a:gd name="T12" fmla="*/ 119 w 435"/>
                <a:gd name="T13" fmla="*/ 79 h 241"/>
                <a:gd name="T14" fmla="*/ 12 w 435"/>
                <a:gd name="T15" fmla="*/ 186 h 241"/>
                <a:gd name="T16" fmla="*/ 12 w 435"/>
                <a:gd name="T17" fmla="*/ 231 h 241"/>
                <a:gd name="T18" fmla="*/ 35 w 435"/>
                <a:gd name="T19" fmla="*/ 241 h 241"/>
                <a:gd name="T20" fmla="*/ 57 w 435"/>
                <a:gd name="T21" fmla="*/ 231 h 241"/>
                <a:gd name="T22" fmla="*/ 142 w 435"/>
                <a:gd name="T23" fmla="*/ 147 h 241"/>
                <a:gd name="T24" fmla="*/ 213 w 435"/>
                <a:gd name="T25" fmla="*/ 217 h 241"/>
                <a:gd name="T26" fmla="*/ 258 w 435"/>
                <a:gd name="T27" fmla="*/ 217 h 241"/>
                <a:gd name="T28" fmla="*/ 371 w 435"/>
                <a:gd name="T29" fmla="*/ 104 h 241"/>
                <a:gd name="T30" fmla="*/ 403 w 435"/>
                <a:gd name="T31" fmla="*/ 134 h 241"/>
                <a:gd name="T32" fmla="*/ 435 w 435"/>
                <a:gd name="T33" fmla="*/ 102 h 241"/>
                <a:gd name="T34" fmla="*/ 435 w 435"/>
                <a:gd name="T35" fmla="*/ 32 h 241"/>
                <a:gd name="T36" fmla="*/ 403 w 435"/>
                <a:gd name="T37" fmla="*/ 0 h 241"/>
                <a:gd name="T38" fmla="*/ 403 w 435"/>
                <a:gd name="T39" fmla="*/ 0 h 241"/>
                <a:gd name="T40" fmla="*/ 403 w 435"/>
                <a:gd name="T41"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5" h="241">
                  <a:moveTo>
                    <a:pt x="403" y="0"/>
                  </a:moveTo>
                  <a:cubicBezTo>
                    <a:pt x="332" y="0"/>
                    <a:pt x="332" y="0"/>
                    <a:pt x="332" y="0"/>
                  </a:cubicBezTo>
                  <a:cubicBezTo>
                    <a:pt x="315" y="0"/>
                    <a:pt x="300" y="14"/>
                    <a:pt x="300" y="32"/>
                  </a:cubicBezTo>
                  <a:cubicBezTo>
                    <a:pt x="300" y="46"/>
                    <a:pt x="310" y="58"/>
                    <a:pt x="323" y="62"/>
                  </a:cubicBezTo>
                  <a:cubicBezTo>
                    <a:pt x="235" y="149"/>
                    <a:pt x="235" y="149"/>
                    <a:pt x="235" y="149"/>
                  </a:cubicBezTo>
                  <a:cubicBezTo>
                    <a:pt x="165" y="79"/>
                    <a:pt x="165" y="79"/>
                    <a:pt x="165" y="79"/>
                  </a:cubicBezTo>
                  <a:cubicBezTo>
                    <a:pt x="152" y="66"/>
                    <a:pt x="132" y="66"/>
                    <a:pt x="119" y="79"/>
                  </a:cubicBezTo>
                  <a:cubicBezTo>
                    <a:pt x="12" y="186"/>
                    <a:pt x="12" y="186"/>
                    <a:pt x="12" y="186"/>
                  </a:cubicBezTo>
                  <a:cubicBezTo>
                    <a:pt x="0" y="198"/>
                    <a:pt x="0" y="219"/>
                    <a:pt x="12" y="231"/>
                  </a:cubicBezTo>
                  <a:cubicBezTo>
                    <a:pt x="18" y="237"/>
                    <a:pt x="27" y="241"/>
                    <a:pt x="35" y="241"/>
                  </a:cubicBezTo>
                  <a:cubicBezTo>
                    <a:pt x="43" y="241"/>
                    <a:pt x="51" y="237"/>
                    <a:pt x="57" y="231"/>
                  </a:cubicBezTo>
                  <a:cubicBezTo>
                    <a:pt x="142" y="147"/>
                    <a:pt x="142" y="147"/>
                    <a:pt x="142" y="147"/>
                  </a:cubicBezTo>
                  <a:cubicBezTo>
                    <a:pt x="213" y="217"/>
                    <a:pt x="213" y="217"/>
                    <a:pt x="213" y="217"/>
                  </a:cubicBezTo>
                  <a:cubicBezTo>
                    <a:pt x="225" y="230"/>
                    <a:pt x="245" y="230"/>
                    <a:pt x="258" y="217"/>
                  </a:cubicBezTo>
                  <a:cubicBezTo>
                    <a:pt x="371" y="104"/>
                    <a:pt x="371" y="104"/>
                    <a:pt x="371" y="104"/>
                  </a:cubicBezTo>
                  <a:cubicBezTo>
                    <a:pt x="372" y="121"/>
                    <a:pt x="386" y="134"/>
                    <a:pt x="403" y="134"/>
                  </a:cubicBezTo>
                  <a:cubicBezTo>
                    <a:pt x="420" y="134"/>
                    <a:pt x="435" y="120"/>
                    <a:pt x="435" y="102"/>
                  </a:cubicBezTo>
                  <a:cubicBezTo>
                    <a:pt x="435" y="32"/>
                    <a:pt x="435" y="32"/>
                    <a:pt x="435" y="32"/>
                  </a:cubicBezTo>
                  <a:cubicBezTo>
                    <a:pt x="435" y="14"/>
                    <a:pt x="420" y="0"/>
                    <a:pt x="403" y="0"/>
                  </a:cubicBezTo>
                  <a:close/>
                  <a:moveTo>
                    <a:pt x="403" y="0"/>
                  </a:moveTo>
                  <a:cubicBezTo>
                    <a:pt x="403" y="0"/>
                    <a:pt x="403" y="0"/>
                    <a:pt x="4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 name="Group 19"/>
          <p:cNvGrpSpPr>
            <a:grpSpLocks noChangeAspect="1"/>
          </p:cNvGrpSpPr>
          <p:nvPr/>
        </p:nvGrpSpPr>
        <p:grpSpPr bwMode="auto">
          <a:xfrm>
            <a:off x="6766516" y="3779813"/>
            <a:ext cx="457200" cy="457200"/>
            <a:chOff x="3857" y="528"/>
            <a:chExt cx="3101" cy="3101"/>
          </a:xfrm>
          <a:solidFill>
            <a:schemeClr val="accent1"/>
          </a:solidFill>
        </p:grpSpPr>
        <p:sp>
          <p:nvSpPr>
            <p:cNvPr id="40" name="Freeform 20"/>
            <p:cNvSpPr>
              <a:spLocks noEditPoints="1"/>
            </p:cNvSpPr>
            <p:nvPr/>
          </p:nvSpPr>
          <p:spPr bwMode="auto">
            <a:xfrm>
              <a:off x="3857" y="528"/>
              <a:ext cx="3101" cy="3101"/>
            </a:xfrm>
            <a:custGeom>
              <a:avLst/>
              <a:gdLst>
                <a:gd name="T0" fmla="*/ 1629 w 1638"/>
                <a:gd name="T1" fmla="*/ 301 h 1638"/>
                <a:gd name="T2" fmla="*/ 1338 w 1638"/>
                <a:gd name="T3" fmla="*/ 9 h 1638"/>
                <a:gd name="T4" fmla="*/ 1315 w 1638"/>
                <a:gd name="T5" fmla="*/ 0 h 1638"/>
                <a:gd name="T6" fmla="*/ 365 w 1638"/>
                <a:gd name="T7" fmla="*/ 0 h 1638"/>
                <a:gd name="T8" fmla="*/ 269 w 1638"/>
                <a:gd name="T9" fmla="*/ 96 h 1638"/>
                <a:gd name="T10" fmla="*/ 269 w 1638"/>
                <a:gd name="T11" fmla="*/ 157 h 1638"/>
                <a:gd name="T12" fmla="*/ 0 w 1638"/>
                <a:gd name="T13" fmla="*/ 551 h 1638"/>
                <a:gd name="T14" fmla="*/ 32 w 1638"/>
                <a:gd name="T15" fmla="*/ 583 h 1638"/>
                <a:gd name="T16" fmla="*/ 423 w 1638"/>
                <a:gd name="T17" fmla="*/ 583 h 1638"/>
                <a:gd name="T18" fmla="*/ 455 w 1638"/>
                <a:gd name="T19" fmla="*/ 551 h 1638"/>
                <a:gd name="T20" fmla="*/ 455 w 1638"/>
                <a:gd name="T21" fmla="*/ 160 h 1638"/>
                <a:gd name="T22" fmla="*/ 423 w 1638"/>
                <a:gd name="T23" fmla="*/ 128 h 1638"/>
                <a:gd name="T24" fmla="*/ 333 w 1638"/>
                <a:gd name="T25" fmla="*/ 138 h 1638"/>
                <a:gd name="T26" fmla="*/ 333 w 1638"/>
                <a:gd name="T27" fmla="*/ 96 h 1638"/>
                <a:gd name="T28" fmla="*/ 365 w 1638"/>
                <a:gd name="T29" fmla="*/ 64 h 1638"/>
                <a:gd name="T30" fmla="*/ 1283 w 1638"/>
                <a:gd name="T31" fmla="*/ 64 h 1638"/>
                <a:gd name="T32" fmla="*/ 1283 w 1638"/>
                <a:gd name="T33" fmla="*/ 259 h 1638"/>
                <a:gd name="T34" fmla="*/ 1379 w 1638"/>
                <a:gd name="T35" fmla="*/ 355 h 1638"/>
                <a:gd name="T36" fmla="*/ 1574 w 1638"/>
                <a:gd name="T37" fmla="*/ 355 h 1638"/>
                <a:gd name="T38" fmla="*/ 1574 w 1638"/>
                <a:gd name="T39" fmla="*/ 1542 h 1638"/>
                <a:gd name="T40" fmla="*/ 1542 w 1638"/>
                <a:gd name="T41" fmla="*/ 1574 h 1638"/>
                <a:gd name="T42" fmla="*/ 365 w 1638"/>
                <a:gd name="T43" fmla="*/ 1574 h 1638"/>
                <a:gd name="T44" fmla="*/ 333 w 1638"/>
                <a:gd name="T45" fmla="*/ 1542 h 1638"/>
                <a:gd name="T46" fmla="*/ 333 w 1638"/>
                <a:gd name="T47" fmla="*/ 1268 h 1638"/>
                <a:gd name="T48" fmla="*/ 301 w 1638"/>
                <a:gd name="T49" fmla="*/ 1236 h 1638"/>
                <a:gd name="T50" fmla="*/ 269 w 1638"/>
                <a:gd name="T51" fmla="*/ 1268 h 1638"/>
                <a:gd name="T52" fmla="*/ 269 w 1638"/>
                <a:gd name="T53" fmla="*/ 1542 h 1638"/>
                <a:gd name="T54" fmla="*/ 365 w 1638"/>
                <a:gd name="T55" fmla="*/ 1638 h 1638"/>
                <a:gd name="T56" fmla="*/ 1542 w 1638"/>
                <a:gd name="T57" fmla="*/ 1638 h 1638"/>
                <a:gd name="T58" fmla="*/ 1638 w 1638"/>
                <a:gd name="T59" fmla="*/ 1542 h 1638"/>
                <a:gd name="T60" fmla="*/ 1638 w 1638"/>
                <a:gd name="T61" fmla="*/ 323 h 1638"/>
                <a:gd name="T62" fmla="*/ 1629 w 1638"/>
                <a:gd name="T63" fmla="*/ 301 h 1638"/>
                <a:gd name="T64" fmla="*/ 391 w 1638"/>
                <a:gd name="T65" fmla="*/ 193 h 1638"/>
                <a:gd name="T66" fmla="*/ 391 w 1638"/>
                <a:gd name="T67" fmla="*/ 519 h 1638"/>
                <a:gd name="T68" fmla="*/ 65 w 1638"/>
                <a:gd name="T69" fmla="*/ 519 h 1638"/>
                <a:gd name="T70" fmla="*/ 391 w 1638"/>
                <a:gd name="T71" fmla="*/ 193 h 1638"/>
                <a:gd name="T72" fmla="*/ 1379 w 1638"/>
                <a:gd name="T73" fmla="*/ 291 h 1638"/>
                <a:gd name="T74" fmla="*/ 1347 w 1638"/>
                <a:gd name="T75" fmla="*/ 259 h 1638"/>
                <a:gd name="T76" fmla="*/ 1347 w 1638"/>
                <a:gd name="T77" fmla="*/ 109 h 1638"/>
                <a:gd name="T78" fmla="*/ 1529 w 1638"/>
                <a:gd name="T79" fmla="*/ 291 h 1638"/>
                <a:gd name="T80" fmla="*/ 1379 w 1638"/>
                <a:gd name="T81" fmla="*/ 291 h 1638"/>
                <a:gd name="T82" fmla="*/ 1379 w 1638"/>
                <a:gd name="T83" fmla="*/ 291 h 1638"/>
                <a:gd name="T84" fmla="*/ 1379 w 1638"/>
                <a:gd name="T85" fmla="*/ 291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 h="1638">
                  <a:moveTo>
                    <a:pt x="1629" y="301"/>
                  </a:moveTo>
                  <a:cubicBezTo>
                    <a:pt x="1338" y="9"/>
                    <a:pt x="1338" y="9"/>
                    <a:pt x="1338" y="9"/>
                  </a:cubicBezTo>
                  <a:cubicBezTo>
                    <a:pt x="1332" y="3"/>
                    <a:pt x="1324" y="0"/>
                    <a:pt x="1315" y="0"/>
                  </a:cubicBezTo>
                  <a:cubicBezTo>
                    <a:pt x="365" y="0"/>
                    <a:pt x="365" y="0"/>
                    <a:pt x="365" y="0"/>
                  </a:cubicBezTo>
                  <a:cubicBezTo>
                    <a:pt x="312" y="0"/>
                    <a:pt x="269" y="43"/>
                    <a:pt x="269" y="96"/>
                  </a:cubicBezTo>
                  <a:cubicBezTo>
                    <a:pt x="269" y="157"/>
                    <a:pt x="269" y="157"/>
                    <a:pt x="269" y="157"/>
                  </a:cubicBezTo>
                  <a:cubicBezTo>
                    <a:pt x="112" y="219"/>
                    <a:pt x="0" y="372"/>
                    <a:pt x="0" y="551"/>
                  </a:cubicBezTo>
                  <a:cubicBezTo>
                    <a:pt x="0" y="568"/>
                    <a:pt x="14" y="583"/>
                    <a:pt x="32" y="583"/>
                  </a:cubicBezTo>
                  <a:cubicBezTo>
                    <a:pt x="423" y="583"/>
                    <a:pt x="423" y="583"/>
                    <a:pt x="423" y="583"/>
                  </a:cubicBezTo>
                  <a:cubicBezTo>
                    <a:pt x="440" y="583"/>
                    <a:pt x="455" y="568"/>
                    <a:pt x="455" y="551"/>
                  </a:cubicBezTo>
                  <a:cubicBezTo>
                    <a:pt x="455" y="160"/>
                    <a:pt x="455" y="160"/>
                    <a:pt x="455" y="160"/>
                  </a:cubicBezTo>
                  <a:cubicBezTo>
                    <a:pt x="455" y="142"/>
                    <a:pt x="440" y="128"/>
                    <a:pt x="423" y="128"/>
                  </a:cubicBezTo>
                  <a:cubicBezTo>
                    <a:pt x="392" y="128"/>
                    <a:pt x="362" y="131"/>
                    <a:pt x="333" y="138"/>
                  </a:cubicBezTo>
                  <a:cubicBezTo>
                    <a:pt x="333" y="96"/>
                    <a:pt x="333" y="96"/>
                    <a:pt x="333" y="96"/>
                  </a:cubicBezTo>
                  <a:cubicBezTo>
                    <a:pt x="333" y="78"/>
                    <a:pt x="347" y="64"/>
                    <a:pt x="365" y="64"/>
                  </a:cubicBezTo>
                  <a:cubicBezTo>
                    <a:pt x="1283" y="64"/>
                    <a:pt x="1283" y="64"/>
                    <a:pt x="1283" y="64"/>
                  </a:cubicBezTo>
                  <a:cubicBezTo>
                    <a:pt x="1283" y="259"/>
                    <a:pt x="1283" y="259"/>
                    <a:pt x="1283" y="259"/>
                  </a:cubicBezTo>
                  <a:cubicBezTo>
                    <a:pt x="1283" y="312"/>
                    <a:pt x="1326" y="355"/>
                    <a:pt x="1379" y="355"/>
                  </a:cubicBezTo>
                  <a:cubicBezTo>
                    <a:pt x="1574" y="355"/>
                    <a:pt x="1574" y="355"/>
                    <a:pt x="1574" y="355"/>
                  </a:cubicBezTo>
                  <a:cubicBezTo>
                    <a:pt x="1574" y="1542"/>
                    <a:pt x="1574" y="1542"/>
                    <a:pt x="1574" y="1542"/>
                  </a:cubicBezTo>
                  <a:cubicBezTo>
                    <a:pt x="1574" y="1560"/>
                    <a:pt x="1560" y="1574"/>
                    <a:pt x="1542" y="1574"/>
                  </a:cubicBezTo>
                  <a:cubicBezTo>
                    <a:pt x="365" y="1574"/>
                    <a:pt x="365" y="1574"/>
                    <a:pt x="365" y="1574"/>
                  </a:cubicBezTo>
                  <a:cubicBezTo>
                    <a:pt x="347" y="1574"/>
                    <a:pt x="333" y="1560"/>
                    <a:pt x="333" y="1542"/>
                  </a:cubicBezTo>
                  <a:cubicBezTo>
                    <a:pt x="333" y="1268"/>
                    <a:pt x="333" y="1268"/>
                    <a:pt x="333" y="1268"/>
                  </a:cubicBezTo>
                  <a:cubicBezTo>
                    <a:pt x="333" y="1251"/>
                    <a:pt x="318" y="1236"/>
                    <a:pt x="301" y="1236"/>
                  </a:cubicBezTo>
                  <a:cubicBezTo>
                    <a:pt x="283" y="1236"/>
                    <a:pt x="269" y="1251"/>
                    <a:pt x="269" y="1268"/>
                  </a:cubicBezTo>
                  <a:cubicBezTo>
                    <a:pt x="269" y="1542"/>
                    <a:pt x="269" y="1542"/>
                    <a:pt x="269" y="1542"/>
                  </a:cubicBezTo>
                  <a:cubicBezTo>
                    <a:pt x="269" y="1595"/>
                    <a:pt x="312" y="1638"/>
                    <a:pt x="365" y="1638"/>
                  </a:cubicBezTo>
                  <a:cubicBezTo>
                    <a:pt x="1542" y="1638"/>
                    <a:pt x="1542" y="1638"/>
                    <a:pt x="1542" y="1638"/>
                  </a:cubicBezTo>
                  <a:cubicBezTo>
                    <a:pt x="1595" y="1638"/>
                    <a:pt x="1638" y="1595"/>
                    <a:pt x="1638" y="1542"/>
                  </a:cubicBezTo>
                  <a:cubicBezTo>
                    <a:pt x="1638" y="323"/>
                    <a:pt x="1638" y="323"/>
                    <a:pt x="1638" y="323"/>
                  </a:cubicBezTo>
                  <a:cubicBezTo>
                    <a:pt x="1638" y="315"/>
                    <a:pt x="1635" y="307"/>
                    <a:pt x="1629" y="301"/>
                  </a:cubicBezTo>
                  <a:close/>
                  <a:moveTo>
                    <a:pt x="391" y="193"/>
                  </a:moveTo>
                  <a:cubicBezTo>
                    <a:pt x="391" y="519"/>
                    <a:pt x="391" y="519"/>
                    <a:pt x="391" y="519"/>
                  </a:cubicBezTo>
                  <a:cubicBezTo>
                    <a:pt x="65" y="519"/>
                    <a:pt x="65" y="519"/>
                    <a:pt x="65" y="519"/>
                  </a:cubicBezTo>
                  <a:cubicBezTo>
                    <a:pt x="81" y="346"/>
                    <a:pt x="218" y="209"/>
                    <a:pt x="391" y="193"/>
                  </a:cubicBezTo>
                  <a:close/>
                  <a:moveTo>
                    <a:pt x="1379" y="291"/>
                  </a:moveTo>
                  <a:cubicBezTo>
                    <a:pt x="1362" y="291"/>
                    <a:pt x="1347" y="277"/>
                    <a:pt x="1347" y="259"/>
                  </a:cubicBezTo>
                  <a:cubicBezTo>
                    <a:pt x="1347" y="109"/>
                    <a:pt x="1347" y="109"/>
                    <a:pt x="1347" y="109"/>
                  </a:cubicBezTo>
                  <a:cubicBezTo>
                    <a:pt x="1529" y="291"/>
                    <a:pt x="1529" y="291"/>
                    <a:pt x="1529" y="291"/>
                  </a:cubicBezTo>
                  <a:lnTo>
                    <a:pt x="1379" y="291"/>
                  </a:lnTo>
                  <a:close/>
                  <a:moveTo>
                    <a:pt x="1379" y="291"/>
                  </a:moveTo>
                  <a:cubicBezTo>
                    <a:pt x="1379" y="291"/>
                    <a:pt x="1379" y="291"/>
                    <a:pt x="1379" y="2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1"/>
            <p:cNvSpPr>
              <a:spLocks noEditPoints="1"/>
            </p:cNvSpPr>
            <p:nvPr/>
          </p:nvSpPr>
          <p:spPr bwMode="auto">
            <a:xfrm>
              <a:off x="4366" y="2648"/>
              <a:ext cx="121" cy="122"/>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8"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2"/>
            <p:cNvSpPr>
              <a:spLocks noEditPoints="1"/>
            </p:cNvSpPr>
            <p:nvPr/>
          </p:nvSpPr>
          <p:spPr bwMode="auto">
            <a:xfrm>
              <a:off x="4075" y="988"/>
              <a:ext cx="1599" cy="1600"/>
            </a:xfrm>
            <a:custGeom>
              <a:avLst/>
              <a:gdLst>
                <a:gd name="T0" fmla="*/ 422 w 845"/>
                <a:gd name="T1" fmla="*/ 0 h 845"/>
                <a:gd name="T2" fmla="*/ 390 w 845"/>
                <a:gd name="T3" fmla="*/ 32 h 845"/>
                <a:gd name="T4" fmla="*/ 390 w 845"/>
                <a:gd name="T5" fmla="*/ 390 h 845"/>
                <a:gd name="T6" fmla="*/ 32 w 845"/>
                <a:gd name="T7" fmla="*/ 390 h 845"/>
                <a:gd name="T8" fmla="*/ 0 w 845"/>
                <a:gd name="T9" fmla="*/ 422 h 845"/>
                <a:gd name="T10" fmla="*/ 422 w 845"/>
                <a:gd name="T11" fmla="*/ 845 h 845"/>
                <a:gd name="T12" fmla="*/ 845 w 845"/>
                <a:gd name="T13" fmla="*/ 422 h 845"/>
                <a:gd name="T14" fmla="*/ 422 w 845"/>
                <a:gd name="T15" fmla="*/ 0 h 845"/>
                <a:gd name="T16" fmla="*/ 454 w 845"/>
                <a:gd name="T17" fmla="*/ 65 h 845"/>
                <a:gd name="T18" fmla="*/ 652 w 845"/>
                <a:gd name="T19" fmla="*/ 147 h 845"/>
                <a:gd name="T20" fmla="*/ 454 w 845"/>
                <a:gd name="T21" fmla="*/ 345 h 845"/>
                <a:gd name="T22" fmla="*/ 454 w 845"/>
                <a:gd name="T23" fmla="*/ 65 h 845"/>
                <a:gd name="T24" fmla="*/ 422 w 845"/>
                <a:gd name="T25" fmla="*/ 781 h 845"/>
                <a:gd name="T26" fmla="*/ 65 w 845"/>
                <a:gd name="T27" fmla="*/ 454 h 845"/>
                <a:gd name="T28" fmla="*/ 422 w 845"/>
                <a:gd name="T29" fmla="*/ 454 h 845"/>
                <a:gd name="T30" fmla="*/ 445 w 845"/>
                <a:gd name="T31" fmla="*/ 445 h 845"/>
                <a:gd name="T32" fmla="*/ 445 w 845"/>
                <a:gd name="T33" fmla="*/ 445 h 845"/>
                <a:gd name="T34" fmla="*/ 697 w 845"/>
                <a:gd name="T35" fmla="*/ 192 h 845"/>
                <a:gd name="T36" fmla="*/ 781 w 845"/>
                <a:gd name="T37" fmla="*/ 422 h 845"/>
                <a:gd name="T38" fmla="*/ 422 w 845"/>
                <a:gd name="T39" fmla="*/ 781 h 845"/>
                <a:gd name="T40" fmla="*/ 422 w 845"/>
                <a:gd name="T41" fmla="*/ 781 h 845"/>
                <a:gd name="T42" fmla="*/ 422 w 845"/>
                <a:gd name="T43" fmla="*/ 781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5" h="845">
                  <a:moveTo>
                    <a:pt x="422" y="0"/>
                  </a:moveTo>
                  <a:cubicBezTo>
                    <a:pt x="405" y="0"/>
                    <a:pt x="390" y="14"/>
                    <a:pt x="390" y="32"/>
                  </a:cubicBezTo>
                  <a:cubicBezTo>
                    <a:pt x="390" y="390"/>
                    <a:pt x="390" y="390"/>
                    <a:pt x="390" y="390"/>
                  </a:cubicBezTo>
                  <a:cubicBezTo>
                    <a:pt x="32" y="390"/>
                    <a:pt x="32" y="390"/>
                    <a:pt x="32" y="390"/>
                  </a:cubicBezTo>
                  <a:cubicBezTo>
                    <a:pt x="14" y="390"/>
                    <a:pt x="0" y="405"/>
                    <a:pt x="0" y="422"/>
                  </a:cubicBezTo>
                  <a:cubicBezTo>
                    <a:pt x="0" y="655"/>
                    <a:pt x="189" y="845"/>
                    <a:pt x="422" y="845"/>
                  </a:cubicBezTo>
                  <a:cubicBezTo>
                    <a:pt x="655" y="845"/>
                    <a:pt x="845" y="655"/>
                    <a:pt x="845" y="422"/>
                  </a:cubicBezTo>
                  <a:cubicBezTo>
                    <a:pt x="845" y="189"/>
                    <a:pt x="655" y="0"/>
                    <a:pt x="422" y="0"/>
                  </a:cubicBezTo>
                  <a:close/>
                  <a:moveTo>
                    <a:pt x="454" y="65"/>
                  </a:moveTo>
                  <a:cubicBezTo>
                    <a:pt x="529" y="72"/>
                    <a:pt x="598" y="101"/>
                    <a:pt x="652" y="147"/>
                  </a:cubicBezTo>
                  <a:cubicBezTo>
                    <a:pt x="454" y="345"/>
                    <a:pt x="454" y="345"/>
                    <a:pt x="454" y="345"/>
                  </a:cubicBezTo>
                  <a:lnTo>
                    <a:pt x="454" y="65"/>
                  </a:lnTo>
                  <a:close/>
                  <a:moveTo>
                    <a:pt x="422" y="781"/>
                  </a:moveTo>
                  <a:cubicBezTo>
                    <a:pt x="235" y="781"/>
                    <a:pt x="81" y="637"/>
                    <a:pt x="65" y="454"/>
                  </a:cubicBezTo>
                  <a:cubicBezTo>
                    <a:pt x="422" y="454"/>
                    <a:pt x="422" y="454"/>
                    <a:pt x="422" y="454"/>
                  </a:cubicBezTo>
                  <a:cubicBezTo>
                    <a:pt x="431" y="454"/>
                    <a:pt x="439" y="451"/>
                    <a:pt x="445" y="445"/>
                  </a:cubicBezTo>
                  <a:cubicBezTo>
                    <a:pt x="445" y="445"/>
                    <a:pt x="445" y="445"/>
                    <a:pt x="445" y="445"/>
                  </a:cubicBezTo>
                  <a:cubicBezTo>
                    <a:pt x="697" y="192"/>
                    <a:pt x="697" y="192"/>
                    <a:pt x="697" y="192"/>
                  </a:cubicBezTo>
                  <a:cubicBezTo>
                    <a:pt x="750" y="255"/>
                    <a:pt x="781" y="335"/>
                    <a:pt x="781" y="422"/>
                  </a:cubicBezTo>
                  <a:cubicBezTo>
                    <a:pt x="781" y="620"/>
                    <a:pt x="620" y="781"/>
                    <a:pt x="422" y="781"/>
                  </a:cubicBezTo>
                  <a:close/>
                  <a:moveTo>
                    <a:pt x="422" y="781"/>
                  </a:moveTo>
                  <a:cubicBezTo>
                    <a:pt x="422" y="781"/>
                    <a:pt x="422" y="781"/>
                    <a:pt x="422" y="7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3"/>
            <p:cNvSpPr>
              <a:spLocks noEditPoints="1"/>
            </p:cNvSpPr>
            <p:nvPr/>
          </p:nvSpPr>
          <p:spPr bwMode="auto">
            <a:xfrm>
              <a:off x="4790" y="2440"/>
              <a:ext cx="1903" cy="947"/>
            </a:xfrm>
            <a:custGeom>
              <a:avLst/>
              <a:gdLst>
                <a:gd name="T0" fmla="*/ 909 w 1005"/>
                <a:gd name="T1" fmla="*/ 0 h 500"/>
                <a:gd name="T2" fmla="*/ 813 w 1005"/>
                <a:gd name="T3" fmla="*/ 96 h 500"/>
                <a:gd name="T4" fmla="*/ 820 w 1005"/>
                <a:gd name="T5" fmla="*/ 133 h 500"/>
                <a:gd name="T6" fmla="*/ 636 w 1005"/>
                <a:gd name="T7" fmla="*/ 318 h 500"/>
                <a:gd name="T8" fmla="*/ 594 w 1005"/>
                <a:gd name="T9" fmla="*/ 308 h 500"/>
                <a:gd name="T10" fmla="*/ 553 w 1005"/>
                <a:gd name="T11" fmla="*/ 317 h 500"/>
                <a:gd name="T12" fmla="*/ 431 w 1005"/>
                <a:gd name="T13" fmla="*/ 195 h 500"/>
                <a:gd name="T14" fmla="*/ 437 w 1005"/>
                <a:gd name="T15" fmla="*/ 160 h 500"/>
                <a:gd name="T16" fmla="*/ 341 w 1005"/>
                <a:gd name="T17" fmla="*/ 64 h 500"/>
                <a:gd name="T18" fmla="*/ 245 w 1005"/>
                <a:gd name="T19" fmla="*/ 160 h 500"/>
                <a:gd name="T20" fmla="*/ 254 w 1005"/>
                <a:gd name="T21" fmla="*/ 200 h 500"/>
                <a:gd name="T22" fmla="*/ 137 w 1005"/>
                <a:gd name="T23" fmla="*/ 318 h 500"/>
                <a:gd name="T24" fmla="*/ 96 w 1005"/>
                <a:gd name="T25" fmla="*/ 308 h 500"/>
                <a:gd name="T26" fmla="*/ 0 w 1005"/>
                <a:gd name="T27" fmla="*/ 404 h 500"/>
                <a:gd name="T28" fmla="*/ 96 w 1005"/>
                <a:gd name="T29" fmla="*/ 500 h 500"/>
                <a:gd name="T30" fmla="*/ 192 w 1005"/>
                <a:gd name="T31" fmla="*/ 404 h 500"/>
                <a:gd name="T32" fmla="*/ 182 w 1005"/>
                <a:gd name="T33" fmla="*/ 363 h 500"/>
                <a:gd name="T34" fmla="*/ 299 w 1005"/>
                <a:gd name="T35" fmla="*/ 246 h 500"/>
                <a:gd name="T36" fmla="*/ 341 w 1005"/>
                <a:gd name="T37" fmla="*/ 256 h 500"/>
                <a:gd name="T38" fmla="*/ 389 w 1005"/>
                <a:gd name="T39" fmla="*/ 243 h 500"/>
                <a:gd name="T40" fmla="*/ 508 w 1005"/>
                <a:gd name="T41" fmla="*/ 362 h 500"/>
                <a:gd name="T42" fmla="*/ 498 w 1005"/>
                <a:gd name="T43" fmla="*/ 404 h 500"/>
                <a:gd name="T44" fmla="*/ 594 w 1005"/>
                <a:gd name="T45" fmla="*/ 500 h 500"/>
                <a:gd name="T46" fmla="*/ 690 w 1005"/>
                <a:gd name="T47" fmla="*/ 404 h 500"/>
                <a:gd name="T48" fmla="*/ 681 w 1005"/>
                <a:gd name="T49" fmla="*/ 363 h 500"/>
                <a:gd name="T50" fmla="*/ 864 w 1005"/>
                <a:gd name="T51" fmla="*/ 181 h 500"/>
                <a:gd name="T52" fmla="*/ 909 w 1005"/>
                <a:gd name="T53" fmla="*/ 192 h 500"/>
                <a:gd name="T54" fmla="*/ 1005 w 1005"/>
                <a:gd name="T55" fmla="*/ 96 h 500"/>
                <a:gd name="T56" fmla="*/ 909 w 1005"/>
                <a:gd name="T57" fmla="*/ 0 h 500"/>
                <a:gd name="T58" fmla="*/ 96 w 1005"/>
                <a:gd name="T59" fmla="*/ 436 h 500"/>
                <a:gd name="T60" fmla="*/ 64 w 1005"/>
                <a:gd name="T61" fmla="*/ 404 h 500"/>
                <a:gd name="T62" fmla="*/ 96 w 1005"/>
                <a:gd name="T63" fmla="*/ 372 h 500"/>
                <a:gd name="T64" fmla="*/ 118 w 1005"/>
                <a:gd name="T65" fmla="*/ 381 h 500"/>
                <a:gd name="T66" fmla="*/ 118 w 1005"/>
                <a:gd name="T67" fmla="*/ 382 h 500"/>
                <a:gd name="T68" fmla="*/ 118 w 1005"/>
                <a:gd name="T69" fmla="*/ 382 h 500"/>
                <a:gd name="T70" fmla="*/ 128 w 1005"/>
                <a:gd name="T71" fmla="*/ 404 h 500"/>
                <a:gd name="T72" fmla="*/ 96 w 1005"/>
                <a:gd name="T73" fmla="*/ 436 h 500"/>
                <a:gd name="T74" fmla="*/ 341 w 1005"/>
                <a:gd name="T75" fmla="*/ 192 h 500"/>
                <a:gd name="T76" fmla="*/ 309 w 1005"/>
                <a:gd name="T77" fmla="*/ 160 h 500"/>
                <a:gd name="T78" fmla="*/ 341 w 1005"/>
                <a:gd name="T79" fmla="*/ 128 h 500"/>
                <a:gd name="T80" fmla="*/ 373 w 1005"/>
                <a:gd name="T81" fmla="*/ 160 h 500"/>
                <a:gd name="T82" fmla="*/ 341 w 1005"/>
                <a:gd name="T83" fmla="*/ 192 h 500"/>
                <a:gd name="T84" fmla="*/ 594 w 1005"/>
                <a:gd name="T85" fmla="*/ 436 h 500"/>
                <a:gd name="T86" fmla="*/ 562 w 1005"/>
                <a:gd name="T87" fmla="*/ 404 h 500"/>
                <a:gd name="T88" fmla="*/ 594 w 1005"/>
                <a:gd name="T89" fmla="*/ 372 h 500"/>
                <a:gd name="T90" fmla="*/ 626 w 1005"/>
                <a:gd name="T91" fmla="*/ 404 h 500"/>
                <a:gd name="T92" fmla="*/ 594 w 1005"/>
                <a:gd name="T93" fmla="*/ 436 h 500"/>
                <a:gd name="T94" fmla="*/ 909 w 1005"/>
                <a:gd name="T95" fmla="*/ 128 h 500"/>
                <a:gd name="T96" fmla="*/ 877 w 1005"/>
                <a:gd name="T97" fmla="*/ 96 h 500"/>
                <a:gd name="T98" fmla="*/ 909 w 1005"/>
                <a:gd name="T99" fmla="*/ 64 h 500"/>
                <a:gd name="T100" fmla="*/ 941 w 1005"/>
                <a:gd name="T101" fmla="*/ 96 h 500"/>
                <a:gd name="T102" fmla="*/ 909 w 1005"/>
                <a:gd name="T103" fmla="*/ 128 h 500"/>
                <a:gd name="T104" fmla="*/ 909 w 1005"/>
                <a:gd name="T105" fmla="*/ 128 h 500"/>
                <a:gd name="T106" fmla="*/ 909 w 1005"/>
                <a:gd name="T107" fmla="*/ 12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5" h="500">
                  <a:moveTo>
                    <a:pt x="909" y="0"/>
                  </a:moveTo>
                  <a:cubicBezTo>
                    <a:pt x="856" y="0"/>
                    <a:pt x="813" y="43"/>
                    <a:pt x="813" y="96"/>
                  </a:cubicBezTo>
                  <a:cubicBezTo>
                    <a:pt x="813" y="109"/>
                    <a:pt x="816" y="122"/>
                    <a:pt x="820" y="133"/>
                  </a:cubicBezTo>
                  <a:cubicBezTo>
                    <a:pt x="636" y="318"/>
                    <a:pt x="636" y="318"/>
                    <a:pt x="636" y="318"/>
                  </a:cubicBezTo>
                  <a:cubicBezTo>
                    <a:pt x="623" y="312"/>
                    <a:pt x="609" y="308"/>
                    <a:pt x="594" y="308"/>
                  </a:cubicBezTo>
                  <a:cubicBezTo>
                    <a:pt x="580" y="308"/>
                    <a:pt x="566" y="311"/>
                    <a:pt x="553" y="317"/>
                  </a:cubicBezTo>
                  <a:cubicBezTo>
                    <a:pt x="431" y="195"/>
                    <a:pt x="431" y="195"/>
                    <a:pt x="431" y="195"/>
                  </a:cubicBezTo>
                  <a:cubicBezTo>
                    <a:pt x="435" y="184"/>
                    <a:pt x="437" y="172"/>
                    <a:pt x="437" y="160"/>
                  </a:cubicBezTo>
                  <a:cubicBezTo>
                    <a:pt x="437" y="107"/>
                    <a:pt x="394" y="64"/>
                    <a:pt x="341" y="64"/>
                  </a:cubicBezTo>
                  <a:cubicBezTo>
                    <a:pt x="288" y="64"/>
                    <a:pt x="245" y="107"/>
                    <a:pt x="245" y="160"/>
                  </a:cubicBezTo>
                  <a:cubicBezTo>
                    <a:pt x="245" y="174"/>
                    <a:pt x="249" y="188"/>
                    <a:pt x="254" y="200"/>
                  </a:cubicBezTo>
                  <a:cubicBezTo>
                    <a:pt x="137" y="318"/>
                    <a:pt x="137" y="318"/>
                    <a:pt x="137" y="318"/>
                  </a:cubicBezTo>
                  <a:cubicBezTo>
                    <a:pt x="124" y="312"/>
                    <a:pt x="110" y="308"/>
                    <a:pt x="96" y="308"/>
                  </a:cubicBezTo>
                  <a:cubicBezTo>
                    <a:pt x="43" y="308"/>
                    <a:pt x="0" y="351"/>
                    <a:pt x="0" y="404"/>
                  </a:cubicBezTo>
                  <a:cubicBezTo>
                    <a:pt x="0" y="457"/>
                    <a:pt x="43" y="500"/>
                    <a:pt x="96" y="500"/>
                  </a:cubicBezTo>
                  <a:cubicBezTo>
                    <a:pt x="148" y="500"/>
                    <a:pt x="192" y="457"/>
                    <a:pt x="192" y="404"/>
                  </a:cubicBezTo>
                  <a:cubicBezTo>
                    <a:pt x="192" y="389"/>
                    <a:pt x="188" y="375"/>
                    <a:pt x="182" y="363"/>
                  </a:cubicBezTo>
                  <a:cubicBezTo>
                    <a:pt x="299" y="246"/>
                    <a:pt x="299" y="246"/>
                    <a:pt x="299" y="246"/>
                  </a:cubicBezTo>
                  <a:cubicBezTo>
                    <a:pt x="312" y="252"/>
                    <a:pt x="326" y="256"/>
                    <a:pt x="341" y="256"/>
                  </a:cubicBezTo>
                  <a:cubicBezTo>
                    <a:pt x="359" y="256"/>
                    <a:pt x="375" y="251"/>
                    <a:pt x="389" y="243"/>
                  </a:cubicBezTo>
                  <a:cubicBezTo>
                    <a:pt x="508" y="362"/>
                    <a:pt x="508" y="362"/>
                    <a:pt x="508" y="362"/>
                  </a:cubicBezTo>
                  <a:cubicBezTo>
                    <a:pt x="502" y="375"/>
                    <a:pt x="498" y="389"/>
                    <a:pt x="498" y="404"/>
                  </a:cubicBezTo>
                  <a:cubicBezTo>
                    <a:pt x="498" y="457"/>
                    <a:pt x="541" y="500"/>
                    <a:pt x="594" y="500"/>
                  </a:cubicBezTo>
                  <a:cubicBezTo>
                    <a:pt x="647" y="500"/>
                    <a:pt x="690" y="457"/>
                    <a:pt x="690" y="404"/>
                  </a:cubicBezTo>
                  <a:cubicBezTo>
                    <a:pt x="690" y="389"/>
                    <a:pt x="687" y="376"/>
                    <a:pt x="681" y="363"/>
                  </a:cubicBezTo>
                  <a:cubicBezTo>
                    <a:pt x="864" y="181"/>
                    <a:pt x="864" y="181"/>
                    <a:pt x="864" y="181"/>
                  </a:cubicBezTo>
                  <a:cubicBezTo>
                    <a:pt x="877" y="188"/>
                    <a:pt x="893" y="192"/>
                    <a:pt x="909" y="192"/>
                  </a:cubicBezTo>
                  <a:cubicBezTo>
                    <a:pt x="962" y="192"/>
                    <a:pt x="1005" y="149"/>
                    <a:pt x="1005" y="96"/>
                  </a:cubicBezTo>
                  <a:cubicBezTo>
                    <a:pt x="1005" y="43"/>
                    <a:pt x="962" y="0"/>
                    <a:pt x="909" y="0"/>
                  </a:cubicBezTo>
                  <a:close/>
                  <a:moveTo>
                    <a:pt x="96" y="436"/>
                  </a:moveTo>
                  <a:cubicBezTo>
                    <a:pt x="78" y="436"/>
                    <a:pt x="64" y="422"/>
                    <a:pt x="64" y="404"/>
                  </a:cubicBezTo>
                  <a:cubicBezTo>
                    <a:pt x="64" y="387"/>
                    <a:pt x="78" y="372"/>
                    <a:pt x="96" y="372"/>
                  </a:cubicBezTo>
                  <a:cubicBezTo>
                    <a:pt x="104" y="372"/>
                    <a:pt x="112" y="376"/>
                    <a:pt x="118" y="381"/>
                  </a:cubicBezTo>
                  <a:cubicBezTo>
                    <a:pt x="118" y="381"/>
                    <a:pt x="118" y="381"/>
                    <a:pt x="118" y="382"/>
                  </a:cubicBezTo>
                  <a:cubicBezTo>
                    <a:pt x="118" y="382"/>
                    <a:pt x="118" y="382"/>
                    <a:pt x="118" y="382"/>
                  </a:cubicBezTo>
                  <a:cubicBezTo>
                    <a:pt x="124" y="388"/>
                    <a:pt x="128" y="396"/>
                    <a:pt x="128" y="404"/>
                  </a:cubicBezTo>
                  <a:cubicBezTo>
                    <a:pt x="128" y="422"/>
                    <a:pt x="113" y="436"/>
                    <a:pt x="96" y="436"/>
                  </a:cubicBezTo>
                  <a:close/>
                  <a:moveTo>
                    <a:pt x="341" y="192"/>
                  </a:moveTo>
                  <a:cubicBezTo>
                    <a:pt x="324" y="192"/>
                    <a:pt x="309" y="178"/>
                    <a:pt x="309" y="160"/>
                  </a:cubicBezTo>
                  <a:cubicBezTo>
                    <a:pt x="309" y="142"/>
                    <a:pt x="324" y="128"/>
                    <a:pt x="341" y="128"/>
                  </a:cubicBezTo>
                  <a:cubicBezTo>
                    <a:pt x="359" y="128"/>
                    <a:pt x="373" y="142"/>
                    <a:pt x="373" y="160"/>
                  </a:cubicBezTo>
                  <a:cubicBezTo>
                    <a:pt x="373" y="178"/>
                    <a:pt x="359" y="192"/>
                    <a:pt x="341" y="192"/>
                  </a:cubicBezTo>
                  <a:close/>
                  <a:moveTo>
                    <a:pt x="594" y="436"/>
                  </a:moveTo>
                  <a:cubicBezTo>
                    <a:pt x="577" y="436"/>
                    <a:pt x="562" y="422"/>
                    <a:pt x="562" y="404"/>
                  </a:cubicBezTo>
                  <a:cubicBezTo>
                    <a:pt x="562" y="386"/>
                    <a:pt x="577" y="372"/>
                    <a:pt x="594" y="372"/>
                  </a:cubicBezTo>
                  <a:cubicBezTo>
                    <a:pt x="612" y="372"/>
                    <a:pt x="626" y="386"/>
                    <a:pt x="626" y="404"/>
                  </a:cubicBezTo>
                  <a:cubicBezTo>
                    <a:pt x="626" y="422"/>
                    <a:pt x="612" y="436"/>
                    <a:pt x="594" y="436"/>
                  </a:cubicBezTo>
                  <a:close/>
                  <a:moveTo>
                    <a:pt x="909" y="128"/>
                  </a:moveTo>
                  <a:cubicBezTo>
                    <a:pt x="891" y="128"/>
                    <a:pt x="877" y="114"/>
                    <a:pt x="877" y="96"/>
                  </a:cubicBezTo>
                  <a:cubicBezTo>
                    <a:pt x="877" y="78"/>
                    <a:pt x="891" y="64"/>
                    <a:pt x="909" y="64"/>
                  </a:cubicBezTo>
                  <a:cubicBezTo>
                    <a:pt x="926" y="64"/>
                    <a:pt x="941" y="78"/>
                    <a:pt x="941" y="96"/>
                  </a:cubicBezTo>
                  <a:cubicBezTo>
                    <a:pt x="941" y="114"/>
                    <a:pt x="926" y="128"/>
                    <a:pt x="909" y="128"/>
                  </a:cubicBezTo>
                  <a:close/>
                  <a:moveTo>
                    <a:pt x="909" y="128"/>
                  </a:moveTo>
                  <a:cubicBezTo>
                    <a:pt x="909" y="128"/>
                    <a:pt x="909" y="128"/>
                    <a:pt x="909"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4"/>
            <p:cNvSpPr>
              <a:spLocks noEditPoints="1"/>
            </p:cNvSpPr>
            <p:nvPr/>
          </p:nvSpPr>
          <p:spPr bwMode="auto">
            <a:xfrm>
              <a:off x="5828" y="1952"/>
              <a:ext cx="441" cy="121"/>
            </a:xfrm>
            <a:custGeom>
              <a:avLst/>
              <a:gdLst>
                <a:gd name="T0" fmla="*/ 201 w 233"/>
                <a:gd name="T1" fmla="*/ 0 h 64"/>
                <a:gd name="T2" fmla="*/ 32 w 233"/>
                <a:gd name="T3" fmla="*/ 0 h 64"/>
                <a:gd name="T4" fmla="*/ 0 w 233"/>
                <a:gd name="T5" fmla="*/ 32 h 64"/>
                <a:gd name="T6" fmla="*/ 32 w 233"/>
                <a:gd name="T7" fmla="*/ 64 h 64"/>
                <a:gd name="T8" fmla="*/ 201 w 233"/>
                <a:gd name="T9" fmla="*/ 64 h 64"/>
                <a:gd name="T10" fmla="*/ 233 w 233"/>
                <a:gd name="T11" fmla="*/ 32 h 64"/>
                <a:gd name="T12" fmla="*/ 201 w 233"/>
                <a:gd name="T13" fmla="*/ 0 h 64"/>
                <a:gd name="T14" fmla="*/ 201 w 233"/>
                <a:gd name="T15" fmla="*/ 0 h 64"/>
                <a:gd name="T16" fmla="*/ 201 w 233"/>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64">
                  <a:moveTo>
                    <a:pt x="201" y="0"/>
                  </a:moveTo>
                  <a:cubicBezTo>
                    <a:pt x="32" y="0"/>
                    <a:pt x="32" y="0"/>
                    <a:pt x="32" y="0"/>
                  </a:cubicBezTo>
                  <a:cubicBezTo>
                    <a:pt x="14" y="0"/>
                    <a:pt x="0" y="14"/>
                    <a:pt x="0" y="32"/>
                  </a:cubicBezTo>
                  <a:cubicBezTo>
                    <a:pt x="0" y="50"/>
                    <a:pt x="14" y="64"/>
                    <a:pt x="32" y="64"/>
                  </a:cubicBezTo>
                  <a:cubicBezTo>
                    <a:pt x="201" y="64"/>
                    <a:pt x="201" y="64"/>
                    <a:pt x="201" y="64"/>
                  </a:cubicBezTo>
                  <a:cubicBezTo>
                    <a:pt x="219" y="64"/>
                    <a:pt x="233" y="50"/>
                    <a:pt x="233" y="32"/>
                  </a:cubicBezTo>
                  <a:cubicBezTo>
                    <a:pt x="233" y="14"/>
                    <a:pt x="219" y="0"/>
                    <a:pt x="201" y="0"/>
                  </a:cubicBezTo>
                  <a:close/>
                  <a:moveTo>
                    <a:pt x="201" y="0"/>
                  </a:moveTo>
                  <a:cubicBezTo>
                    <a:pt x="201" y="0"/>
                    <a:pt x="201" y="0"/>
                    <a:pt x="2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5"/>
            <p:cNvSpPr>
              <a:spLocks noEditPoints="1"/>
            </p:cNvSpPr>
            <p:nvPr/>
          </p:nvSpPr>
          <p:spPr bwMode="auto">
            <a:xfrm>
              <a:off x="6424" y="1952"/>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8"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6"/>
            <p:cNvSpPr>
              <a:spLocks noEditPoints="1"/>
            </p:cNvSpPr>
            <p:nvPr/>
          </p:nvSpPr>
          <p:spPr bwMode="auto">
            <a:xfrm>
              <a:off x="5828" y="1371"/>
              <a:ext cx="861" cy="121"/>
            </a:xfrm>
            <a:custGeom>
              <a:avLst/>
              <a:gdLst>
                <a:gd name="T0" fmla="*/ 423 w 455"/>
                <a:gd name="T1" fmla="*/ 0 h 64"/>
                <a:gd name="T2" fmla="*/ 32 w 455"/>
                <a:gd name="T3" fmla="*/ 0 h 64"/>
                <a:gd name="T4" fmla="*/ 0 w 455"/>
                <a:gd name="T5" fmla="*/ 32 h 64"/>
                <a:gd name="T6" fmla="*/ 32 w 455"/>
                <a:gd name="T7" fmla="*/ 64 h 64"/>
                <a:gd name="T8" fmla="*/ 423 w 455"/>
                <a:gd name="T9" fmla="*/ 64 h 64"/>
                <a:gd name="T10" fmla="*/ 455 w 455"/>
                <a:gd name="T11" fmla="*/ 32 h 64"/>
                <a:gd name="T12" fmla="*/ 423 w 455"/>
                <a:gd name="T13" fmla="*/ 0 h 64"/>
                <a:gd name="T14" fmla="*/ 423 w 455"/>
                <a:gd name="T15" fmla="*/ 0 h 64"/>
                <a:gd name="T16" fmla="*/ 423 w 45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 h="64">
                  <a:moveTo>
                    <a:pt x="423" y="0"/>
                  </a:moveTo>
                  <a:cubicBezTo>
                    <a:pt x="32" y="0"/>
                    <a:pt x="32" y="0"/>
                    <a:pt x="32" y="0"/>
                  </a:cubicBezTo>
                  <a:cubicBezTo>
                    <a:pt x="14" y="0"/>
                    <a:pt x="0" y="14"/>
                    <a:pt x="0" y="32"/>
                  </a:cubicBezTo>
                  <a:cubicBezTo>
                    <a:pt x="0" y="49"/>
                    <a:pt x="14" y="64"/>
                    <a:pt x="32" y="64"/>
                  </a:cubicBezTo>
                  <a:cubicBezTo>
                    <a:pt x="423" y="64"/>
                    <a:pt x="423" y="64"/>
                    <a:pt x="423" y="64"/>
                  </a:cubicBezTo>
                  <a:cubicBezTo>
                    <a:pt x="441" y="64"/>
                    <a:pt x="455" y="49"/>
                    <a:pt x="455" y="32"/>
                  </a:cubicBezTo>
                  <a:cubicBezTo>
                    <a:pt x="455" y="14"/>
                    <a:pt x="441" y="0"/>
                    <a:pt x="423" y="0"/>
                  </a:cubicBezTo>
                  <a:close/>
                  <a:moveTo>
                    <a:pt x="423" y="0"/>
                  </a:moveTo>
                  <a:cubicBezTo>
                    <a:pt x="423" y="0"/>
                    <a:pt x="423" y="0"/>
                    <a:pt x="4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7"/>
            <p:cNvSpPr>
              <a:spLocks noEditPoints="1"/>
            </p:cNvSpPr>
            <p:nvPr/>
          </p:nvSpPr>
          <p:spPr bwMode="auto">
            <a:xfrm>
              <a:off x="5828" y="1660"/>
              <a:ext cx="861" cy="121"/>
            </a:xfrm>
            <a:custGeom>
              <a:avLst/>
              <a:gdLst>
                <a:gd name="T0" fmla="*/ 423 w 455"/>
                <a:gd name="T1" fmla="*/ 0 h 64"/>
                <a:gd name="T2" fmla="*/ 32 w 455"/>
                <a:gd name="T3" fmla="*/ 0 h 64"/>
                <a:gd name="T4" fmla="*/ 0 w 455"/>
                <a:gd name="T5" fmla="*/ 32 h 64"/>
                <a:gd name="T6" fmla="*/ 32 w 455"/>
                <a:gd name="T7" fmla="*/ 64 h 64"/>
                <a:gd name="T8" fmla="*/ 423 w 455"/>
                <a:gd name="T9" fmla="*/ 64 h 64"/>
                <a:gd name="T10" fmla="*/ 455 w 455"/>
                <a:gd name="T11" fmla="*/ 32 h 64"/>
                <a:gd name="T12" fmla="*/ 423 w 455"/>
                <a:gd name="T13" fmla="*/ 0 h 64"/>
                <a:gd name="T14" fmla="*/ 423 w 455"/>
                <a:gd name="T15" fmla="*/ 0 h 64"/>
                <a:gd name="T16" fmla="*/ 423 w 45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 h="64">
                  <a:moveTo>
                    <a:pt x="423" y="0"/>
                  </a:moveTo>
                  <a:cubicBezTo>
                    <a:pt x="32" y="0"/>
                    <a:pt x="32" y="0"/>
                    <a:pt x="32" y="0"/>
                  </a:cubicBezTo>
                  <a:cubicBezTo>
                    <a:pt x="14" y="0"/>
                    <a:pt x="0" y="15"/>
                    <a:pt x="0" y="32"/>
                  </a:cubicBezTo>
                  <a:cubicBezTo>
                    <a:pt x="0" y="50"/>
                    <a:pt x="14" y="64"/>
                    <a:pt x="32" y="64"/>
                  </a:cubicBezTo>
                  <a:cubicBezTo>
                    <a:pt x="423" y="64"/>
                    <a:pt x="423" y="64"/>
                    <a:pt x="423" y="64"/>
                  </a:cubicBezTo>
                  <a:cubicBezTo>
                    <a:pt x="441" y="64"/>
                    <a:pt x="455" y="50"/>
                    <a:pt x="455" y="32"/>
                  </a:cubicBezTo>
                  <a:cubicBezTo>
                    <a:pt x="455" y="15"/>
                    <a:pt x="441" y="0"/>
                    <a:pt x="423" y="0"/>
                  </a:cubicBezTo>
                  <a:close/>
                  <a:moveTo>
                    <a:pt x="423" y="0"/>
                  </a:moveTo>
                  <a:cubicBezTo>
                    <a:pt x="423" y="0"/>
                    <a:pt x="423" y="0"/>
                    <a:pt x="4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30"/>
          <p:cNvGrpSpPr>
            <a:grpSpLocks noChangeAspect="1"/>
          </p:cNvGrpSpPr>
          <p:nvPr/>
        </p:nvGrpSpPr>
        <p:grpSpPr bwMode="auto">
          <a:xfrm>
            <a:off x="6705153" y="2771283"/>
            <a:ext cx="579927" cy="457200"/>
            <a:chOff x="4514" y="752"/>
            <a:chExt cx="3114" cy="2455"/>
          </a:xfrm>
          <a:solidFill>
            <a:schemeClr val="accent1"/>
          </a:solidFill>
        </p:grpSpPr>
        <p:sp>
          <p:nvSpPr>
            <p:cNvPr id="50" name="Freeform 31"/>
            <p:cNvSpPr>
              <a:spLocks noEditPoints="1"/>
            </p:cNvSpPr>
            <p:nvPr/>
          </p:nvSpPr>
          <p:spPr bwMode="auto">
            <a:xfrm>
              <a:off x="4641" y="2290"/>
              <a:ext cx="121" cy="121"/>
            </a:xfrm>
            <a:custGeom>
              <a:avLst/>
              <a:gdLst>
                <a:gd name="T0" fmla="*/ 55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4"/>
                    <a:pt x="0" y="32"/>
                  </a:cubicBezTo>
                  <a:cubicBezTo>
                    <a:pt x="0" y="40"/>
                    <a:pt x="3" y="49"/>
                    <a:pt x="9" y="55"/>
                  </a:cubicBezTo>
                  <a:cubicBezTo>
                    <a:pt x="15" y="61"/>
                    <a:pt x="24" y="64"/>
                    <a:pt x="32" y="64"/>
                  </a:cubicBezTo>
                  <a:cubicBezTo>
                    <a:pt x="40"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2"/>
            <p:cNvSpPr>
              <a:spLocks noEditPoints="1"/>
            </p:cNvSpPr>
            <p:nvPr/>
          </p:nvSpPr>
          <p:spPr bwMode="auto">
            <a:xfrm>
              <a:off x="4514" y="752"/>
              <a:ext cx="375" cy="1415"/>
            </a:xfrm>
            <a:custGeom>
              <a:avLst/>
              <a:gdLst>
                <a:gd name="T0" fmla="*/ 186 w 198"/>
                <a:gd name="T1" fmla="*/ 77 h 747"/>
                <a:gd name="T2" fmla="*/ 122 w 198"/>
                <a:gd name="T3" fmla="*/ 13 h 747"/>
                <a:gd name="T4" fmla="*/ 76 w 198"/>
                <a:gd name="T5" fmla="*/ 13 h 747"/>
                <a:gd name="T6" fmla="*/ 12 w 198"/>
                <a:gd name="T7" fmla="*/ 77 h 747"/>
                <a:gd name="T8" fmla="*/ 12 w 198"/>
                <a:gd name="T9" fmla="*/ 122 h 747"/>
                <a:gd name="T10" fmla="*/ 58 w 198"/>
                <a:gd name="T11" fmla="*/ 122 h 747"/>
                <a:gd name="T12" fmla="*/ 67 w 198"/>
                <a:gd name="T13" fmla="*/ 113 h 747"/>
                <a:gd name="T14" fmla="*/ 67 w 198"/>
                <a:gd name="T15" fmla="*/ 715 h 747"/>
                <a:gd name="T16" fmla="*/ 99 w 198"/>
                <a:gd name="T17" fmla="*/ 747 h 747"/>
                <a:gd name="T18" fmla="*/ 131 w 198"/>
                <a:gd name="T19" fmla="*/ 715 h 747"/>
                <a:gd name="T20" fmla="*/ 131 w 198"/>
                <a:gd name="T21" fmla="*/ 113 h 747"/>
                <a:gd name="T22" fmla="*/ 140 w 198"/>
                <a:gd name="T23" fmla="*/ 122 h 747"/>
                <a:gd name="T24" fmla="*/ 163 w 198"/>
                <a:gd name="T25" fmla="*/ 131 h 747"/>
                <a:gd name="T26" fmla="*/ 186 w 198"/>
                <a:gd name="T27" fmla="*/ 122 h 747"/>
                <a:gd name="T28" fmla="*/ 186 w 198"/>
                <a:gd name="T29" fmla="*/ 77 h 747"/>
                <a:gd name="T30" fmla="*/ 186 w 198"/>
                <a:gd name="T31" fmla="*/ 77 h 747"/>
                <a:gd name="T32" fmla="*/ 186 w 198"/>
                <a:gd name="T33" fmla="*/ 77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747">
                  <a:moveTo>
                    <a:pt x="186" y="77"/>
                  </a:moveTo>
                  <a:cubicBezTo>
                    <a:pt x="122" y="13"/>
                    <a:pt x="122" y="13"/>
                    <a:pt x="122" y="13"/>
                  </a:cubicBezTo>
                  <a:cubicBezTo>
                    <a:pt x="109" y="0"/>
                    <a:pt x="89" y="0"/>
                    <a:pt x="76" y="13"/>
                  </a:cubicBezTo>
                  <a:cubicBezTo>
                    <a:pt x="12" y="77"/>
                    <a:pt x="12" y="77"/>
                    <a:pt x="12" y="77"/>
                  </a:cubicBezTo>
                  <a:cubicBezTo>
                    <a:pt x="0" y="89"/>
                    <a:pt x="0" y="110"/>
                    <a:pt x="12" y="122"/>
                  </a:cubicBezTo>
                  <a:cubicBezTo>
                    <a:pt x="25" y="135"/>
                    <a:pt x="45" y="135"/>
                    <a:pt x="58" y="122"/>
                  </a:cubicBezTo>
                  <a:cubicBezTo>
                    <a:pt x="67" y="113"/>
                    <a:pt x="67" y="113"/>
                    <a:pt x="67" y="113"/>
                  </a:cubicBezTo>
                  <a:cubicBezTo>
                    <a:pt x="67" y="715"/>
                    <a:pt x="67" y="715"/>
                    <a:pt x="67" y="715"/>
                  </a:cubicBezTo>
                  <a:cubicBezTo>
                    <a:pt x="67" y="733"/>
                    <a:pt x="81" y="747"/>
                    <a:pt x="99" y="747"/>
                  </a:cubicBezTo>
                  <a:cubicBezTo>
                    <a:pt x="117" y="747"/>
                    <a:pt x="131" y="733"/>
                    <a:pt x="131" y="715"/>
                  </a:cubicBezTo>
                  <a:cubicBezTo>
                    <a:pt x="131" y="113"/>
                    <a:pt x="131" y="113"/>
                    <a:pt x="131" y="113"/>
                  </a:cubicBezTo>
                  <a:cubicBezTo>
                    <a:pt x="140" y="122"/>
                    <a:pt x="140" y="122"/>
                    <a:pt x="140" y="122"/>
                  </a:cubicBezTo>
                  <a:cubicBezTo>
                    <a:pt x="147" y="128"/>
                    <a:pt x="155" y="131"/>
                    <a:pt x="163" y="131"/>
                  </a:cubicBezTo>
                  <a:cubicBezTo>
                    <a:pt x="171" y="131"/>
                    <a:pt x="179" y="128"/>
                    <a:pt x="186" y="122"/>
                  </a:cubicBezTo>
                  <a:cubicBezTo>
                    <a:pt x="198" y="110"/>
                    <a:pt x="198" y="89"/>
                    <a:pt x="186" y="77"/>
                  </a:cubicBezTo>
                  <a:close/>
                  <a:moveTo>
                    <a:pt x="186" y="77"/>
                  </a:moveTo>
                  <a:cubicBezTo>
                    <a:pt x="186" y="77"/>
                    <a:pt x="186" y="77"/>
                    <a:pt x="1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3"/>
            <p:cNvSpPr>
              <a:spLocks noEditPoints="1"/>
            </p:cNvSpPr>
            <p:nvPr/>
          </p:nvSpPr>
          <p:spPr bwMode="auto">
            <a:xfrm>
              <a:off x="4641" y="1932"/>
              <a:ext cx="2987" cy="1275"/>
            </a:xfrm>
            <a:custGeom>
              <a:avLst/>
              <a:gdLst>
                <a:gd name="T0" fmla="*/ 1565 w 1578"/>
                <a:gd name="T1" fmla="*/ 555 h 673"/>
                <a:gd name="T2" fmla="*/ 1501 w 1578"/>
                <a:gd name="T3" fmla="*/ 491 h 673"/>
                <a:gd name="T4" fmla="*/ 1456 w 1578"/>
                <a:gd name="T5" fmla="*/ 491 h 673"/>
                <a:gd name="T6" fmla="*/ 1456 w 1578"/>
                <a:gd name="T7" fmla="*/ 536 h 673"/>
                <a:gd name="T8" fmla="*/ 1465 w 1578"/>
                <a:gd name="T9" fmla="*/ 545 h 673"/>
                <a:gd name="T10" fmla="*/ 1350 w 1578"/>
                <a:gd name="T11" fmla="*/ 545 h 673"/>
                <a:gd name="T12" fmla="*/ 1350 w 1578"/>
                <a:gd name="T13" fmla="*/ 96 h 673"/>
                <a:gd name="T14" fmla="*/ 1318 w 1578"/>
                <a:gd name="T15" fmla="*/ 64 h 673"/>
                <a:gd name="T16" fmla="*/ 1286 w 1578"/>
                <a:gd name="T17" fmla="*/ 96 h 673"/>
                <a:gd name="T18" fmla="*/ 1286 w 1578"/>
                <a:gd name="T19" fmla="*/ 545 h 673"/>
                <a:gd name="T20" fmla="*/ 940 w 1578"/>
                <a:gd name="T21" fmla="*/ 545 h 673"/>
                <a:gd name="T22" fmla="*/ 940 w 1578"/>
                <a:gd name="T23" fmla="*/ 340 h 673"/>
                <a:gd name="T24" fmla="*/ 908 w 1578"/>
                <a:gd name="T25" fmla="*/ 308 h 673"/>
                <a:gd name="T26" fmla="*/ 876 w 1578"/>
                <a:gd name="T27" fmla="*/ 340 h 673"/>
                <a:gd name="T28" fmla="*/ 876 w 1578"/>
                <a:gd name="T29" fmla="*/ 545 h 673"/>
                <a:gd name="T30" fmla="*/ 610 w 1578"/>
                <a:gd name="T31" fmla="*/ 545 h 673"/>
                <a:gd name="T32" fmla="*/ 610 w 1578"/>
                <a:gd name="T33" fmla="*/ 32 h 673"/>
                <a:gd name="T34" fmla="*/ 578 w 1578"/>
                <a:gd name="T35" fmla="*/ 0 h 673"/>
                <a:gd name="T36" fmla="*/ 546 w 1578"/>
                <a:gd name="T37" fmla="*/ 32 h 673"/>
                <a:gd name="T38" fmla="*/ 546 w 1578"/>
                <a:gd name="T39" fmla="*/ 545 h 673"/>
                <a:gd name="T40" fmla="*/ 289 w 1578"/>
                <a:gd name="T41" fmla="*/ 545 h 673"/>
                <a:gd name="T42" fmla="*/ 289 w 1578"/>
                <a:gd name="T43" fmla="*/ 345 h 673"/>
                <a:gd name="T44" fmla="*/ 257 w 1578"/>
                <a:gd name="T45" fmla="*/ 313 h 673"/>
                <a:gd name="T46" fmla="*/ 225 w 1578"/>
                <a:gd name="T47" fmla="*/ 345 h 673"/>
                <a:gd name="T48" fmla="*/ 225 w 1578"/>
                <a:gd name="T49" fmla="*/ 545 h 673"/>
                <a:gd name="T50" fmla="*/ 64 w 1578"/>
                <a:gd name="T51" fmla="*/ 545 h 673"/>
                <a:gd name="T52" fmla="*/ 64 w 1578"/>
                <a:gd name="T53" fmla="*/ 361 h 673"/>
                <a:gd name="T54" fmla="*/ 32 w 1578"/>
                <a:gd name="T55" fmla="*/ 329 h 673"/>
                <a:gd name="T56" fmla="*/ 0 w 1578"/>
                <a:gd name="T57" fmla="*/ 361 h 673"/>
                <a:gd name="T58" fmla="*/ 0 w 1578"/>
                <a:gd name="T59" fmla="*/ 577 h 673"/>
                <a:gd name="T60" fmla="*/ 32 w 1578"/>
                <a:gd name="T61" fmla="*/ 609 h 673"/>
                <a:gd name="T62" fmla="*/ 1465 w 1578"/>
                <a:gd name="T63" fmla="*/ 609 h 673"/>
                <a:gd name="T64" fmla="*/ 1456 w 1578"/>
                <a:gd name="T65" fmla="*/ 619 h 673"/>
                <a:gd name="T66" fmla="*/ 1456 w 1578"/>
                <a:gd name="T67" fmla="*/ 664 h 673"/>
                <a:gd name="T68" fmla="*/ 1478 w 1578"/>
                <a:gd name="T69" fmla="*/ 673 h 673"/>
                <a:gd name="T70" fmla="*/ 1501 w 1578"/>
                <a:gd name="T71" fmla="*/ 664 h 673"/>
                <a:gd name="T72" fmla="*/ 1565 w 1578"/>
                <a:gd name="T73" fmla="*/ 600 h 673"/>
                <a:gd name="T74" fmla="*/ 1565 w 1578"/>
                <a:gd name="T75" fmla="*/ 555 h 673"/>
                <a:gd name="T76" fmla="*/ 1565 w 1578"/>
                <a:gd name="T77" fmla="*/ 555 h 673"/>
                <a:gd name="T78" fmla="*/ 1565 w 1578"/>
                <a:gd name="T79" fmla="*/ 55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78" h="673">
                  <a:moveTo>
                    <a:pt x="1565" y="555"/>
                  </a:moveTo>
                  <a:cubicBezTo>
                    <a:pt x="1501" y="491"/>
                    <a:pt x="1501" y="491"/>
                    <a:pt x="1501" y="491"/>
                  </a:cubicBezTo>
                  <a:cubicBezTo>
                    <a:pt x="1489" y="478"/>
                    <a:pt x="1468" y="478"/>
                    <a:pt x="1456" y="491"/>
                  </a:cubicBezTo>
                  <a:cubicBezTo>
                    <a:pt x="1443" y="503"/>
                    <a:pt x="1443" y="523"/>
                    <a:pt x="1456" y="536"/>
                  </a:cubicBezTo>
                  <a:cubicBezTo>
                    <a:pt x="1465" y="545"/>
                    <a:pt x="1465" y="545"/>
                    <a:pt x="1465" y="545"/>
                  </a:cubicBezTo>
                  <a:cubicBezTo>
                    <a:pt x="1350" y="545"/>
                    <a:pt x="1350" y="545"/>
                    <a:pt x="1350" y="545"/>
                  </a:cubicBezTo>
                  <a:cubicBezTo>
                    <a:pt x="1350" y="96"/>
                    <a:pt x="1350" y="96"/>
                    <a:pt x="1350" y="96"/>
                  </a:cubicBezTo>
                  <a:cubicBezTo>
                    <a:pt x="1350" y="78"/>
                    <a:pt x="1336" y="64"/>
                    <a:pt x="1318" y="64"/>
                  </a:cubicBezTo>
                  <a:cubicBezTo>
                    <a:pt x="1301" y="64"/>
                    <a:pt x="1286" y="78"/>
                    <a:pt x="1286" y="96"/>
                  </a:cubicBezTo>
                  <a:cubicBezTo>
                    <a:pt x="1286" y="545"/>
                    <a:pt x="1286" y="545"/>
                    <a:pt x="1286" y="545"/>
                  </a:cubicBezTo>
                  <a:cubicBezTo>
                    <a:pt x="940" y="545"/>
                    <a:pt x="940" y="545"/>
                    <a:pt x="940" y="545"/>
                  </a:cubicBezTo>
                  <a:cubicBezTo>
                    <a:pt x="940" y="340"/>
                    <a:pt x="940" y="340"/>
                    <a:pt x="940" y="340"/>
                  </a:cubicBezTo>
                  <a:cubicBezTo>
                    <a:pt x="940" y="323"/>
                    <a:pt x="925" y="308"/>
                    <a:pt x="908" y="308"/>
                  </a:cubicBezTo>
                  <a:cubicBezTo>
                    <a:pt x="890" y="308"/>
                    <a:pt x="876" y="323"/>
                    <a:pt x="876" y="340"/>
                  </a:cubicBezTo>
                  <a:cubicBezTo>
                    <a:pt x="876" y="545"/>
                    <a:pt x="876" y="545"/>
                    <a:pt x="876" y="545"/>
                  </a:cubicBezTo>
                  <a:cubicBezTo>
                    <a:pt x="610" y="545"/>
                    <a:pt x="610" y="545"/>
                    <a:pt x="610" y="545"/>
                  </a:cubicBezTo>
                  <a:cubicBezTo>
                    <a:pt x="610" y="32"/>
                    <a:pt x="610" y="32"/>
                    <a:pt x="610" y="32"/>
                  </a:cubicBezTo>
                  <a:cubicBezTo>
                    <a:pt x="610" y="14"/>
                    <a:pt x="595" y="0"/>
                    <a:pt x="578" y="0"/>
                  </a:cubicBezTo>
                  <a:cubicBezTo>
                    <a:pt x="560" y="0"/>
                    <a:pt x="546" y="14"/>
                    <a:pt x="546" y="32"/>
                  </a:cubicBezTo>
                  <a:cubicBezTo>
                    <a:pt x="546" y="545"/>
                    <a:pt x="546" y="545"/>
                    <a:pt x="546" y="545"/>
                  </a:cubicBezTo>
                  <a:cubicBezTo>
                    <a:pt x="289" y="545"/>
                    <a:pt x="289" y="545"/>
                    <a:pt x="289" y="545"/>
                  </a:cubicBezTo>
                  <a:cubicBezTo>
                    <a:pt x="289" y="345"/>
                    <a:pt x="289" y="345"/>
                    <a:pt x="289" y="345"/>
                  </a:cubicBezTo>
                  <a:cubicBezTo>
                    <a:pt x="289" y="328"/>
                    <a:pt x="274" y="313"/>
                    <a:pt x="257" y="313"/>
                  </a:cubicBezTo>
                  <a:cubicBezTo>
                    <a:pt x="239" y="313"/>
                    <a:pt x="225" y="328"/>
                    <a:pt x="225" y="345"/>
                  </a:cubicBezTo>
                  <a:cubicBezTo>
                    <a:pt x="225" y="545"/>
                    <a:pt x="225" y="545"/>
                    <a:pt x="225" y="545"/>
                  </a:cubicBezTo>
                  <a:cubicBezTo>
                    <a:pt x="64" y="545"/>
                    <a:pt x="64" y="545"/>
                    <a:pt x="64" y="545"/>
                  </a:cubicBezTo>
                  <a:cubicBezTo>
                    <a:pt x="64" y="361"/>
                    <a:pt x="64" y="361"/>
                    <a:pt x="64" y="361"/>
                  </a:cubicBezTo>
                  <a:cubicBezTo>
                    <a:pt x="64" y="343"/>
                    <a:pt x="50" y="329"/>
                    <a:pt x="32" y="329"/>
                  </a:cubicBezTo>
                  <a:cubicBezTo>
                    <a:pt x="14" y="329"/>
                    <a:pt x="0" y="343"/>
                    <a:pt x="0" y="361"/>
                  </a:cubicBezTo>
                  <a:cubicBezTo>
                    <a:pt x="0" y="577"/>
                    <a:pt x="0" y="577"/>
                    <a:pt x="0" y="577"/>
                  </a:cubicBezTo>
                  <a:cubicBezTo>
                    <a:pt x="0" y="595"/>
                    <a:pt x="14" y="609"/>
                    <a:pt x="32" y="609"/>
                  </a:cubicBezTo>
                  <a:cubicBezTo>
                    <a:pt x="1465" y="609"/>
                    <a:pt x="1465" y="609"/>
                    <a:pt x="1465" y="609"/>
                  </a:cubicBezTo>
                  <a:cubicBezTo>
                    <a:pt x="1456" y="619"/>
                    <a:pt x="1456" y="619"/>
                    <a:pt x="1456" y="619"/>
                  </a:cubicBezTo>
                  <a:cubicBezTo>
                    <a:pt x="1443" y="631"/>
                    <a:pt x="1443" y="651"/>
                    <a:pt x="1456" y="664"/>
                  </a:cubicBezTo>
                  <a:cubicBezTo>
                    <a:pt x="1462" y="670"/>
                    <a:pt x="1470" y="673"/>
                    <a:pt x="1478" y="673"/>
                  </a:cubicBezTo>
                  <a:cubicBezTo>
                    <a:pt x="1487" y="673"/>
                    <a:pt x="1495" y="670"/>
                    <a:pt x="1501" y="664"/>
                  </a:cubicBezTo>
                  <a:cubicBezTo>
                    <a:pt x="1565" y="600"/>
                    <a:pt x="1565" y="600"/>
                    <a:pt x="1565" y="600"/>
                  </a:cubicBezTo>
                  <a:cubicBezTo>
                    <a:pt x="1578" y="587"/>
                    <a:pt x="1578" y="567"/>
                    <a:pt x="1565" y="555"/>
                  </a:cubicBezTo>
                  <a:close/>
                  <a:moveTo>
                    <a:pt x="1565" y="555"/>
                  </a:moveTo>
                  <a:cubicBezTo>
                    <a:pt x="1565" y="555"/>
                    <a:pt x="1565" y="555"/>
                    <a:pt x="1565" y="5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4"/>
            <p:cNvSpPr>
              <a:spLocks noEditPoints="1"/>
            </p:cNvSpPr>
            <p:nvPr/>
          </p:nvSpPr>
          <p:spPr bwMode="auto">
            <a:xfrm>
              <a:off x="4908" y="1227"/>
              <a:ext cx="2447" cy="1201"/>
            </a:xfrm>
            <a:custGeom>
              <a:avLst/>
              <a:gdLst>
                <a:gd name="T0" fmla="*/ 1177 w 1293"/>
                <a:gd name="T1" fmla="*/ 0 h 634"/>
                <a:gd name="T2" fmla="*/ 1062 w 1293"/>
                <a:gd name="T3" fmla="*/ 116 h 634"/>
                <a:gd name="T4" fmla="*/ 1074 w 1293"/>
                <a:gd name="T5" fmla="*/ 167 h 634"/>
                <a:gd name="T6" fmla="*/ 823 w 1293"/>
                <a:gd name="T7" fmla="*/ 417 h 634"/>
                <a:gd name="T8" fmla="*/ 767 w 1293"/>
                <a:gd name="T9" fmla="*/ 403 h 634"/>
                <a:gd name="T10" fmla="*/ 711 w 1293"/>
                <a:gd name="T11" fmla="*/ 417 h 634"/>
                <a:gd name="T12" fmla="*/ 542 w 1293"/>
                <a:gd name="T13" fmla="*/ 247 h 634"/>
                <a:gd name="T14" fmla="*/ 552 w 1293"/>
                <a:gd name="T15" fmla="*/ 199 h 634"/>
                <a:gd name="T16" fmla="*/ 437 w 1293"/>
                <a:gd name="T17" fmla="*/ 84 h 634"/>
                <a:gd name="T18" fmla="*/ 321 w 1293"/>
                <a:gd name="T19" fmla="*/ 199 h 634"/>
                <a:gd name="T20" fmla="*/ 335 w 1293"/>
                <a:gd name="T21" fmla="*/ 254 h 634"/>
                <a:gd name="T22" fmla="*/ 171 w 1293"/>
                <a:gd name="T23" fmla="*/ 417 h 634"/>
                <a:gd name="T24" fmla="*/ 116 w 1293"/>
                <a:gd name="T25" fmla="*/ 403 h 634"/>
                <a:gd name="T26" fmla="*/ 0 w 1293"/>
                <a:gd name="T27" fmla="*/ 518 h 634"/>
                <a:gd name="T28" fmla="*/ 116 w 1293"/>
                <a:gd name="T29" fmla="*/ 634 h 634"/>
                <a:gd name="T30" fmla="*/ 231 w 1293"/>
                <a:gd name="T31" fmla="*/ 518 h 634"/>
                <a:gd name="T32" fmla="*/ 217 w 1293"/>
                <a:gd name="T33" fmla="*/ 462 h 634"/>
                <a:gd name="T34" fmla="*/ 379 w 1293"/>
                <a:gd name="T35" fmla="*/ 300 h 634"/>
                <a:gd name="T36" fmla="*/ 437 w 1293"/>
                <a:gd name="T37" fmla="*/ 315 h 634"/>
                <a:gd name="T38" fmla="*/ 500 w 1293"/>
                <a:gd name="T39" fmla="*/ 296 h 634"/>
                <a:gd name="T40" fmla="*/ 666 w 1293"/>
                <a:gd name="T41" fmla="*/ 462 h 634"/>
                <a:gd name="T42" fmla="*/ 651 w 1293"/>
                <a:gd name="T43" fmla="*/ 518 h 634"/>
                <a:gd name="T44" fmla="*/ 767 w 1293"/>
                <a:gd name="T45" fmla="*/ 634 h 634"/>
                <a:gd name="T46" fmla="*/ 882 w 1293"/>
                <a:gd name="T47" fmla="*/ 518 h 634"/>
                <a:gd name="T48" fmla="*/ 868 w 1293"/>
                <a:gd name="T49" fmla="*/ 463 h 634"/>
                <a:gd name="T50" fmla="*/ 1117 w 1293"/>
                <a:gd name="T51" fmla="*/ 214 h 634"/>
                <a:gd name="T52" fmla="*/ 1177 w 1293"/>
                <a:gd name="T53" fmla="*/ 231 h 634"/>
                <a:gd name="T54" fmla="*/ 1293 w 1293"/>
                <a:gd name="T55" fmla="*/ 116 h 634"/>
                <a:gd name="T56" fmla="*/ 1177 w 1293"/>
                <a:gd name="T57" fmla="*/ 0 h 634"/>
                <a:gd name="T58" fmla="*/ 116 w 1293"/>
                <a:gd name="T59" fmla="*/ 570 h 634"/>
                <a:gd name="T60" fmla="*/ 64 w 1293"/>
                <a:gd name="T61" fmla="*/ 518 h 634"/>
                <a:gd name="T62" fmla="*/ 116 w 1293"/>
                <a:gd name="T63" fmla="*/ 467 h 634"/>
                <a:gd name="T64" fmla="*/ 151 w 1293"/>
                <a:gd name="T65" fmla="*/ 481 h 634"/>
                <a:gd name="T66" fmla="*/ 152 w 1293"/>
                <a:gd name="T67" fmla="*/ 482 h 634"/>
                <a:gd name="T68" fmla="*/ 152 w 1293"/>
                <a:gd name="T69" fmla="*/ 482 h 634"/>
                <a:gd name="T70" fmla="*/ 167 w 1293"/>
                <a:gd name="T71" fmla="*/ 518 h 634"/>
                <a:gd name="T72" fmla="*/ 116 w 1293"/>
                <a:gd name="T73" fmla="*/ 570 h 634"/>
                <a:gd name="T74" fmla="*/ 437 w 1293"/>
                <a:gd name="T75" fmla="*/ 251 h 634"/>
                <a:gd name="T76" fmla="*/ 385 w 1293"/>
                <a:gd name="T77" fmla="*/ 199 h 634"/>
                <a:gd name="T78" fmla="*/ 437 w 1293"/>
                <a:gd name="T79" fmla="*/ 148 h 634"/>
                <a:gd name="T80" fmla="*/ 488 w 1293"/>
                <a:gd name="T81" fmla="*/ 199 h 634"/>
                <a:gd name="T82" fmla="*/ 437 w 1293"/>
                <a:gd name="T83" fmla="*/ 251 h 634"/>
                <a:gd name="T84" fmla="*/ 767 w 1293"/>
                <a:gd name="T85" fmla="*/ 570 h 634"/>
                <a:gd name="T86" fmla="*/ 715 w 1293"/>
                <a:gd name="T87" fmla="*/ 518 h 634"/>
                <a:gd name="T88" fmla="*/ 767 w 1293"/>
                <a:gd name="T89" fmla="*/ 467 h 634"/>
                <a:gd name="T90" fmla="*/ 818 w 1293"/>
                <a:gd name="T91" fmla="*/ 518 h 634"/>
                <a:gd name="T92" fmla="*/ 767 w 1293"/>
                <a:gd name="T93" fmla="*/ 570 h 634"/>
                <a:gd name="T94" fmla="*/ 1177 w 1293"/>
                <a:gd name="T95" fmla="*/ 167 h 634"/>
                <a:gd name="T96" fmla="*/ 1126 w 1293"/>
                <a:gd name="T97" fmla="*/ 116 h 634"/>
                <a:gd name="T98" fmla="*/ 1177 w 1293"/>
                <a:gd name="T99" fmla="*/ 64 h 634"/>
                <a:gd name="T100" fmla="*/ 1229 w 1293"/>
                <a:gd name="T101" fmla="*/ 116 h 634"/>
                <a:gd name="T102" fmla="*/ 1177 w 1293"/>
                <a:gd name="T103" fmla="*/ 167 h 634"/>
                <a:gd name="T104" fmla="*/ 1177 w 1293"/>
                <a:gd name="T105" fmla="*/ 167 h 634"/>
                <a:gd name="T106" fmla="*/ 1177 w 1293"/>
                <a:gd name="T107" fmla="*/ 167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3" h="634">
                  <a:moveTo>
                    <a:pt x="1177" y="0"/>
                  </a:moveTo>
                  <a:cubicBezTo>
                    <a:pt x="1114" y="0"/>
                    <a:pt x="1062" y="52"/>
                    <a:pt x="1062" y="116"/>
                  </a:cubicBezTo>
                  <a:cubicBezTo>
                    <a:pt x="1062" y="134"/>
                    <a:pt x="1066" y="151"/>
                    <a:pt x="1074" y="167"/>
                  </a:cubicBezTo>
                  <a:cubicBezTo>
                    <a:pt x="823" y="417"/>
                    <a:pt x="823" y="417"/>
                    <a:pt x="823" y="417"/>
                  </a:cubicBezTo>
                  <a:cubicBezTo>
                    <a:pt x="806" y="408"/>
                    <a:pt x="787" y="403"/>
                    <a:pt x="767" y="403"/>
                  </a:cubicBezTo>
                  <a:cubicBezTo>
                    <a:pt x="746" y="403"/>
                    <a:pt x="728" y="408"/>
                    <a:pt x="711" y="417"/>
                  </a:cubicBezTo>
                  <a:cubicBezTo>
                    <a:pt x="542" y="247"/>
                    <a:pt x="542" y="247"/>
                    <a:pt x="542" y="247"/>
                  </a:cubicBezTo>
                  <a:cubicBezTo>
                    <a:pt x="548" y="233"/>
                    <a:pt x="552" y="216"/>
                    <a:pt x="552" y="199"/>
                  </a:cubicBezTo>
                  <a:cubicBezTo>
                    <a:pt x="552" y="136"/>
                    <a:pt x="500" y="84"/>
                    <a:pt x="437" y="84"/>
                  </a:cubicBezTo>
                  <a:cubicBezTo>
                    <a:pt x="373" y="84"/>
                    <a:pt x="321" y="136"/>
                    <a:pt x="321" y="199"/>
                  </a:cubicBezTo>
                  <a:cubicBezTo>
                    <a:pt x="321" y="219"/>
                    <a:pt x="326" y="238"/>
                    <a:pt x="335" y="254"/>
                  </a:cubicBezTo>
                  <a:cubicBezTo>
                    <a:pt x="171" y="417"/>
                    <a:pt x="171" y="417"/>
                    <a:pt x="171" y="417"/>
                  </a:cubicBezTo>
                  <a:cubicBezTo>
                    <a:pt x="155" y="408"/>
                    <a:pt x="136" y="403"/>
                    <a:pt x="116" y="403"/>
                  </a:cubicBezTo>
                  <a:cubicBezTo>
                    <a:pt x="52" y="403"/>
                    <a:pt x="0" y="455"/>
                    <a:pt x="0" y="518"/>
                  </a:cubicBezTo>
                  <a:cubicBezTo>
                    <a:pt x="0" y="582"/>
                    <a:pt x="52" y="634"/>
                    <a:pt x="116" y="634"/>
                  </a:cubicBezTo>
                  <a:cubicBezTo>
                    <a:pt x="179" y="634"/>
                    <a:pt x="231" y="582"/>
                    <a:pt x="231" y="518"/>
                  </a:cubicBezTo>
                  <a:cubicBezTo>
                    <a:pt x="231" y="498"/>
                    <a:pt x="226" y="479"/>
                    <a:pt x="217" y="462"/>
                  </a:cubicBezTo>
                  <a:cubicBezTo>
                    <a:pt x="379" y="300"/>
                    <a:pt x="379" y="300"/>
                    <a:pt x="379" y="300"/>
                  </a:cubicBezTo>
                  <a:cubicBezTo>
                    <a:pt x="396" y="309"/>
                    <a:pt x="416" y="315"/>
                    <a:pt x="437" y="315"/>
                  </a:cubicBezTo>
                  <a:cubicBezTo>
                    <a:pt x="460" y="315"/>
                    <a:pt x="482" y="308"/>
                    <a:pt x="500" y="296"/>
                  </a:cubicBezTo>
                  <a:cubicBezTo>
                    <a:pt x="666" y="462"/>
                    <a:pt x="666" y="462"/>
                    <a:pt x="666" y="462"/>
                  </a:cubicBezTo>
                  <a:cubicBezTo>
                    <a:pt x="656" y="478"/>
                    <a:pt x="651" y="498"/>
                    <a:pt x="651" y="518"/>
                  </a:cubicBezTo>
                  <a:cubicBezTo>
                    <a:pt x="651" y="582"/>
                    <a:pt x="703" y="634"/>
                    <a:pt x="767" y="634"/>
                  </a:cubicBezTo>
                  <a:cubicBezTo>
                    <a:pt x="830" y="634"/>
                    <a:pt x="882" y="582"/>
                    <a:pt x="882" y="518"/>
                  </a:cubicBezTo>
                  <a:cubicBezTo>
                    <a:pt x="882" y="498"/>
                    <a:pt x="877" y="479"/>
                    <a:pt x="868" y="463"/>
                  </a:cubicBezTo>
                  <a:cubicBezTo>
                    <a:pt x="1117" y="214"/>
                    <a:pt x="1117" y="214"/>
                    <a:pt x="1117" y="214"/>
                  </a:cubicBezTo>
                  <a:cubicBezTo>
                    <a:pt x="1134" y="225"/>
                    <a:pt x="1155" y="231"/>
                    <a:pt x="1177" y="231"/>
                  </a:cubicBezTo>
                  <a:cubicBezTo>
                    <a:pt x="1241" y="231"/>
                    <a:pt x="1293" y="180"/>
                    <a:pt x="1293" y="116"/>
                  </a:cubicBezTo>
                  <a:cubicBezTo>
                    <a:pt x="1293" y="52"/>
                    <a:pt x="1241" y="0"/>
                    <a:pt x="1177" y="0"/>
                  </a:cubicBezTo>
                  <a:close/>
                  <a:moveTo>
                    <a:pt x="116" y="570"/>
                  </a:moveTo>
                  <a:cubicBezTo>
                    <a:pt x="87" y="570"/>
                    <a:pt x="64" y="547"/>
                    <a:pt x="64" y="518"/>
                  </a:cubicBezTo>
                  <a:cubicBezTo>
                    <a:pt x="64" y="490"/>
                    <a:pt x="87" y="467"/>
                    <a:pt x="116" y="467"/>
                  </a:cubicBezTo>
                  <a:cubicBezTo>
                    <a:pt x="130" y="467"/>
                    <a:pt x="142" y="472"/>
                    <a:pt x="151" y="481"/>
                  </a:cubicBezTo>
                  <a:cubicBezTo>
                    <a:pt x="152" y="481"/>
                    <a:pt x="152" y="482"/>
                    <a:pt x="152" y="482"/>
                  </a:cubicBezTo>
                  <a:cubicBezTo>
                    <a:pt x="152" y="482"/>
                    <a:pt x="152" y="482"/>
                    <a:pt x="152" y="482"/>
                  </a:cubicBezTo>
                  <a:cubicBezTo>
                    <a:pt x="162" y="492"/>
                    <a:pt x="167" y="504"/>
                    <a:pt x="167" y="518"/>
                  </a:cubicBezTo>
                  <a:cubicBezTo>
                    <a:pt x="167" y="547"/>
                    <a:pt x="144" y="570"/>
                    <a:pt x="116" y="570"/>
                  </a:cubicBezTo>
                  <a:close/>
                  <a:moveTo>
                    <a:pt x="437" y="251"/>
                  </a:moveTo>
                  <a:cubicBezTo>
                    <a:pt x="408" y="251"/>
                    <a:pt x="385" y="228"/>
                    <a:pt x="385" y="199"/>
                  </a:cubicBezTo>
                  <a:cubicBezTo>
                    <a:pt x="385" y="171"/>
                    <a:pt x="408" y="148"/>
                    <a:pt x="437" y="148"/>
                  </a:cubicBezTo>
                  <a:cubicBezTo>
                    <a:pt x="465" y="148"/>
                    <a:pt x="488" y="171"/>
                    <a:pt x="488" y="199"/>
                  </a:cubicBezTo>
                  <a:cubicBezTo>
                    <a:pt x="488" y="228"/>
                    <a:pt x="465" y="251"/>
                    <a:pt x="437" y="251"/>
                  </a:cubicBezTo>
                  <a:close/>
                  <a:moveTo>
                    <a:pt x="767" y="570"/>
                  </a:moveTo>
                  <a:cubicBezTo>
                    <a:pt x="738" y="570"/>
                    <a:pt x="715" y="547"/>
                    <a:pt x="715" y="518"/>
                  </a:cubicBezTo>
                  <a:cubicBezTo>
                    <a:pt x="715" y="490"/>
                    <a:pt x="738" y="467"/>
                    <a:pt x="767" y="467"/>
                  </a:cubicBezTo>
                  <a:cubicBezTo>
                    <a:pt x="795" y="467"/>
                    <a:pt x="818" y="490"/>
                    <a:pt x="818" y="518"/>
                  </a:cubicBezTo>
                  <a:cubicBezTo>
                    <a:pt x="818" y="547"/>
                    <a:pt x="795" y="570"/>
                    <a:pt x="767" y="570"/>
                  </a:cubicBezTo>
                  <a:close/>
                  <a:moveTo>
                    <a:pt x="1177" y="167"/>
                  </a:moveTo>
                  <a:cubicBezTo>
                    <a:pt x="1149" y="167"/>
                    <a:pt x="1126" y="144"/>
                    <a:pt x="1126" y="116"/>
                  </a:cubicBezTo>
                  <a:cubicBezTo>
                    <a:pt x="1126" y="87"/>
                    <a:pt x="1149" y="64"/>
                    <a:pt x="1177" y="64"/>
                  </a:cubicBezTo>
                  <a:cubicBezTo>
                    <a:pt x="1206" y="64"/>
                    <a:pt x="1229" y="87"/>
                    <a:pt x="1229" y="116"/>
                  </a:cubicBezTo>
                  <a:cubicBezTo>
                    <a:pt x="1229" y="144"/>
                    <a:pt x="1206" y="167"/>
                    <a:pt x="1177" y="167"/>
                  </a:cubicBezTo>
                  <a:close/>
                  <a:moveTo>
                    <a:pt x="1177" y="167"/>
                  </a:moveTo>
                  <a:cubicBezTo>
                    <a:pt x="1177" y="167"/>
                    <a:pt x="1177" y="167"/>
                    <a:pt x="1177" y="1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5"/>
            <p:cNvSpPr>
              <a:spLocks noEditPoints="1"/>
            </p:cNvSpPr>
            <p:nvPr/>
          </p:nvSpPr>
          <p:spPr bwMode="auto">
            <a:xfrm>
              <a:off x="7075" y="1801"/>
              <a:ext cx="121" cy="122"/>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 name="Group 38"/>
          <p:cNvGrpSpPr>
            <a:grpSpLocks noChangeAspect="1"/>
          </p:cNvGrpSpPr>
          <p:nvPr/>
        </p:nvGrpSpPr>
        <p:grpSpPr bwMode="auto">
          <a:xfrm>
            <a:off x="6740722" y="1763846"/>
            <a:ext cx="508788" cy="457200"/>
            <a:chOff x="3353" y="523"/>
            <a:chExt cx="3876" cy="3483"/>
          </a:xfrm>
          <a:solidFill>
            <a:schemeClr val="accent1"/>
          </a:solidFill>
        </p:grpSpPr>
        <p:sp>
          <p:nvSpPr>
            <p:cNvPr id="57" name="Freeform 39"/>
            <p:cNvSpPr>
              <a:spLocks noEditPoints="1"/>
            </p:cNvSpPr>
            <p:nvPr/>
          </p:nvSpPr>
          <p:spPr bwMode="auto">
            <a:xfrm>
              <a:off x="6260" y="3431"/>
              <a:ext cx="969" cy="575"/>
            </a:xfrm>
            <a:custGeom>
              <a:avLst/>
              <a:gdLst>
                <a:gd name="T0" fmla="*/ 360 w 512"/>
                <a:gd name="T1" fmla="*/ 0 h 304"/>
                <a:gd name="T2" fmla="*/ 213 w 512"/>
                <a:gd name="T3" fmla="*/ 112 h 304"/>
                <a:gd name="T4" fmla="*/ 80 w 512"/>
                <a:gd name="T5" fmla="*/ 112 h 304"/>
                <a:gd name="T6" fmla="*/ 80 w 512"/>
                <a:gd name="T7" fmla="*/ 111 h 304"/>
                <a:gd name="T8" fmla="*/ 40 w 512"/>
                <a:gd name="T9" fmla="*/ 71 h 304"/>
                <a:gd name="T10" fmla="*/ 0 w 512"/>
                <a:gd name="T11" fmla="*/ 111 h 304"/>
                <a:gd name="T12" fmla="*/ 0 w 512"/>
                <a:gd name="T13" fmla="*/ 152 h 304"/>
                <a:gd name="T14" fmla="*/ 40 w 512"/>
                <a:gd name="T15" fmla="*/ 192 h 304"/>
                <a:gd name="T16" fmla="*/ 213 w 512"/>
                <a:gd name="T17" fmla="*/ 192 h 304"/>
                <a:gd name="T18" fmla="*/ 360 w 512"/>
                <a:gd name="T19" fmla="*/ 304 h 304"/>
                <a:gd name="T20" fmla="*/ 512 w 512"/>
                <a:gd name="T21" fmla="*/ 152 h 304"/>
                <a:gd name="T22" fmla="*/ 360 w 512"/>
                <a:gd name="T23" fmla="*/ 0 h 304"/>
                <a:gd name="T24" fmla="*/ 360 w 512"/>
                <a:gd name="T25" fmla="*/ 224 h 304"/>
                <a:gd name="T26" fmla="*/ 288 w 512"/>
                <a:gd name="T27" fmla="*/ 152 h 304"/>
                <a:gd name="T28" fmla="*/ 360 w 512"/>
                <a:gd name="T29" fmla="*/ 80 h 304"/>
                <a:gd name="T30" fmla="*/ 432 w 512"/>
                <a:gd name="T31" fmla="*/ 152 h 304"/>
                <a:gd name="T32" fmla="*/ 360 w 512"/>
                <a:gd name="T33"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04">
                  <a:moveTo>
                    <a:pt x="360" y="0"/>
                  </a:moveTo>
                  <a:cubicBezTo>
                    <a:pt x="290" y="0"/>
                    <a:pt x="231" y="48"/>
                    <a:pt x="213" y="112"/>
                  </a:cubicBezTo>
                  <a:cubicBezTo>
                    <a:pt x="80" y="112"/>
                    <a:pt x="80" y="112"/>
                    <a:pt x="80" y="112"/>
                  </a:cubicBezTo>
                  <a:cubicBezTo>
                    <a:pt x="80" y="111"/>
                    <a:pt x="80" y="111"/>
                    <a:pt x="80" y="111"/>
                  </a:cubicBezTo>
                  <a:cubicBezTo>
                    <a:pt x="80" y="89"/>
                    <a:pt x="62" y="71"/>
                    <a:pt x="40" y="71"/>
                  </a:cubicBezTo>
                  <a:cubicBezTo>
                    <a:pt x="18" y="71"/>
                    <a:pt x="0" y="89"/>
                    <a:pt x="0" y="111"/>
                  </a:cubicBezTo>
                  <a:cubicBezTo>
                    <a:pt x="0" y="152"/>
                    <a:pt x="0" y="152"/>
                    <a:pt x="0" y="152"/>
                  </a:cubicBezTo>
                  <a:cubicBezTo>
                    <a:pt x="0" y="174"/>
                    <a:pt x="18" y="192"/>
                    <a:pt x="40" y="192"/>
                  </a:cubicBezTo>
                  <a:cubicBezTo>
                    <a:pt x="213" y="192"/>
                    <a:pt x="213" y="192"/>
                    <a:pt x="213" y="192"/>
                  </a:cubicBezTo>
                  <a:cubicBezTo>
                    <a:pt x="231" y="257"/>
                    <a:pt x="290" y="304"/>
                    <a:pt x="360" y="304"/>
                  </a:cubicBezTo>
                  <a:cubicBezTo>
                    <a:pt x="444" y="304"/>
                    <a:pt x="512" y="236"/>
                    <a:pt x="512" y="152"/>
                  </a:cubicBezTo>
                  <a:cubicBezTo>
                    <a:pt x="512" y="68"/>
                    <a:pt x="444" y="0"/>
                    <a:pt x="360" y="0"/>
                  </a:cubicBezTo>
                  <a:close/>
                  <a:moveTo>
                    <a:pt x="360" y="224"/>
                  </a:moveTo>
                  <a:cubicBezTo>
                    <a:pt x="320" y="224"/>
                    <a:pt x="288" y="192"/>
                    <a:pt x="288" y="152"/>
                  </a:cubicBezTo>
                  <a:cubicBezTo>
                    <a:pt x="288" y="112"/>
                    <a:pt x="320" y="80"/>
                    <a:pt x="360" y="80"/>
                  </a:cubicBezTo>
                  <a:cubicBezTo>
                    <a:pt x="400" y="80"/>
                    <a:pt x="432" y="112"/>
                    <a:pt x="432" y="152"/>
                  </a:cubicBezTo>
                  <a:cubicBezTo>
                    <a:pt x="432" y="192"/>
                    <a:pt x="400" y="224"/>
                    <a:pt x="36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0"/>
            <p:cNvSpPr>
              <a:spLocks noEditPoints="1"/>
            </p:cNvSpPr>
            <p:nvPr/>
          </p:nvSpPr>
          <p:spPr bwMode="auto">
            <a:xfrm>
              <a:off x="3353" y="523"/>
              <a:ext cx="969" cy="575"/>
            </a:xfrm>
            <a:custGeom>
              <a:avLst/>
              <a:gdLst>
                <a:gd name="T0" fmla="*/ 472 w 512"/>
                <a:gd name="T1" fmla="*/ 112 h 304"/>
                <a:gd name="T2" fmla="*/ 299 w 512"/>
                <a:gd name="T3" fmla="*/ 112 h 304"/>
                <a:gd name="T4" fmla="*/ 152 w 512"/>
                <a:gd name="T5" fmla="*/ 0 h 304"/>
                <a:gd name="T6" fmla="*/ 0 w 512"/>
                <a:gd name="T7" fmla="*/ 152 h 304"/>
                <a:gd name="T8" fmla="*/ 152 w 512"/>
                <a:gd name="T9" fmla="*/ 304 h 304"/>
                <a:gd name="T10" fmla="*/ 299 w 512"/>
                <a:gd name="T11" fmla="*/ 192 h 304"/>
                <a:gd name="T12" fmla="*/ 432 w 512"/>
                <a:gd name="T13" fmla="*/ 192 h 304"/>
                <a:gd name="T14" fmla="*/ 472 w 512"/>
                <a:gd name="T15" fmla="*/ 232 h 304"/>
                <a:gd name="T16" fmla="*/ 512 w 512"/>
                <a:gd name="T17" fmla="*/ 192 h 304"/>
                <a:gd name="T18" fmla="*/ 512 w 512"/>
                <a:gd name="T19" fmla="*/ 152 h 304"/>
                <a:gd name="T20" fmla="*/ 472 w 512"/>
                <a:gd name="T21" fmla="*/ 112 h 304"/>
                <a:gd name="T22" fmla="*/ 152 w 512"/>
                <a:gd name="T23" fmla="*/ 224 h 304"/>
                <a:gd name="T24" fmla="*/ 80 w 512"/>
                <a:gd name="T25" fmla="*/ 152 h 304"/>
                <a:gd name="T26" fmla="*/ 152 w 512"/>
                <a:gd name="T27" fmla="*/ 80 h 304"/>
                <a:gd name="T28" fmla="*/ 224 w 512"/>
                <a:gd name="T29" fmla="*/ 152 h 304"/>
                <a:gd name="T30" fmla="*/ 152 w 512"/>
                <a:gd name="T31"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304">
                  <a:moveTo>
                    <a:pt x="472" y="112"/>
                  </a:moveTo>
                  <a:cubicBezTo>
                    <a:pt x="299" y="112"/>
                    <a:pt x="299" y="112"/>
                    <a:pt x="299" y="112"/>
                  </a:cubicBezTo>
                  <a:cubicBezTo>
                    <a:pt x="281" y="47"/>
                    <a:pt x="222" y="0"/>
                    <a:pt x="152" y="0"/>
                  </a:cubicBezTo>
                  <a:cubicBezTo>
                    <a:pt x="68" y="0"/>
                    <a:pt x="0" y="68"/>
                    <a:pt x="0" y="152"/>
                  </a:cubicBezTo>
                  <a:cubicBezTo>
                    <a:pt x="0" y="236"/>
                    <a:pt x="68" y="304"/>
                    <a:pt x="152" y="304"/>
                  </a:cubicBezTo>
                  <a:cubicBezTo>
                    <a:pt x="222" y="304"/>
                    <a:pt x="281" y="256"/>
                    <a:pt x="299" y="192"/>
                  </a:cubicBezTo>
                  <a:cubicBezTo>
                    <a:pt x="432" y="192"/>
                    <a:pt x="432" y="192"/>
                    <a:pt x="432" y="192"/>
                  </a:cubicBezTo>
                  <a:cubicBezTo>
                    <a:pt x="432" y="214"/>
                    <a:pt x="450" y="232"/>
                    <a:pt x="472" y="232"/>
                  </a:cubicBezTo>
                  <a:cubicBezTo>
                    <a:pt x="494" y="232"/>
                    <a:pt x="512" y="214"/>
                    <a:pt x="512" y="192"/>
                  </a:cubicBezTo>
                  <a:cubicBezTo>
                    <a:pt x="512" y="152"/>
                    <a:pt x="512" y="152"/>
                    <a:pt x="512" y="152"/>
                  </a:cubicBezTo>
                  <a:cubicBezTo>
                    <a:pt x="512" y="130"/>
                    <a:pt x="494" y="112"/>
                    <a:pt x="472" y="112"/>
                  </a:cubicBezTo>
                  <a:close/>
                  <a:moveTo>
                    <a:pt x="152" y="224"/>
                  </a:moveTo>
                  <a:cubicBezTo>
                    <a:pt x="112" y="224"/>
                    <a:pt x="80" y="192"/>
                    <a:pt x="80" y="152"/>
                  </a:cubicBezTo>
                  <a:cubicBezTo>
                    <a:pt x="80" y="112"/>
                    <a:pt x="112" y="80"/>
                    <a:pt x="152" y="80"/>
                  </a:cubicBezTo>
                  <a:cubicBezTo>
                    <a:pt x="192" y="80"/>
                    <a:pt x="224" y="112"/>
                    <a:pt x="224" y="152"/>
                  </a:cubicBezTo>
                  <a:cubicBezTo>
                    <a:pt x="224" y="192"/>
                    <a:pt x="192" y="224"/>
                    <a:pt x="152"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1"/>
            <p:cNvSpPr>
              <a:spLocks noEditPoints="1"/>
            </p:cNvSpPr>
            <p:nvPr/>
          </p:nvSpPr>
          <p:spPr bwMode="auto">
            <a:xfrm>
              <a:off x="3762" y="735"/>
              <a:ext cx="3058" cy="3059"/>
            </a:xfrm>
            <a:custGeom>
              <a:avLst/>
              <a:gdLst>
                <a:gd name="T0" fmla="*/ 1459 w 1616"/>
                <a:gd name="T1" fmla="*/ 631 h 1616"/>
                <a:gd name="T2" fmla="*/ 1454 w 1616"/>
                <a:gd name="T3" fmla="*/ 412 h 1616"/>
                <a:gd name="T4" fmla="*/ 1454 w 1616"/>
                <a:gd name="T5" fmla="*/ 312 h 1616"/>
                <a:gd name="T6" fmla="*/ 1254 w 1616"/>
                <a:gd name="T7" fmla="*/ 141 h 1616"/>
                <a:gd name="T8" fmla="*/ 1143 w 1616"/>
                <a:gd name="T9" fmla="*/ 222 h 1616"/>
                <a:gd name="T10" fmla="*/ 985 w 1616"/>
                <a:gd name="T11" fmla="*/ 71 h 1616"/>
                <a:gd name="T12" fmla="*/ 702 w 1616"/>
                <a:gd name="T13" fmla="*/ 0 h 1616"/>
                <a:gd name="T14" fmla="*/ 631 w 1616"/>
                <a:gd name="T15" fmla="*/ 157 h 1616"/>
                <a:gd name="T16" fmla="*/ 412 w 1616"/>
                <a:gd name="T17" fmla="*/ 162 h 1616"/>
                <a:gd name="T18" fmla="*/ 312 w 1616"/>
                <a:gd name="T19" fmla="*/ 162 h 1616"/>
                <a:gd name="T20" fmla="*/ 141 w 1616"/>
                <a:gd name="T21" fmla="*/ 362 h 1616"/>
                <a:gd name="T22" fmla="*/ 222 w 1616"/>
                <a:gd name="T23" fmla="*/ 473 h 1616"/>
                <a:gd name="T24" fmla="*/ 71 w 1616"/>
                <a:gd name="T25" fmla="*/ 631 h 1616"/>
                <a:gd name="T26" fmla="*/ 0 w 1616"/>
                <a:gd name="T27" fmla="*/ 914 h 1616"/>
                <a:gd name="T28" fmla="*/ 158 w 1616"/>
                <a:gd name="T29" fmla="*/ 985 h 1616"/>
                <a:gd name="T30" fmla="*/ 161 w 1616"/>
                <a:gd name="T31" fmla="*/ 1204 h 1616"/>
                <a:gd name="T32" fmla="*/ 161 w 1616"/>
                <a:gd name="T33" fmla="*/ 1304 h 1616"/>
                <a:gd name="T34" fmla="*/ 362 w 1616"/>
                <a:gd name="T35" fmla="*/ 1475 h 1616"/>
                <a:gd name="T36" fmla="*/ 474 w 1616"/>
                <a:gd name="T37" fmla="*/ 1393 h 1616"/>
                <a:gd name="T38" fmla="*/ 631 w 1616"/>
                <a:gd name="T39" fmla="*/ 1545 h 1616"/>
                <a:gd name="T40" fmla="*/ 914 w 1616"/>
                <a:gd name="T41" fmla="*/ 1616 h 1616"/>
                <a:gd name="T42" fmla="*/ 985 w 1616"/>
                <a:gd name="T43" fmla="*/ 1459 h 1616"/>
                <a:gd name="T44" fmla="*/ 1204 w 1616"/>
                <a:gd name="T45" fmla="*/ 1454 h 1616"/>
                <a:gd name="T46" fmla="*/ 1304 w 1616"/>
                <a:gd name="T47" fmla="*/ 1454 h 1616"/>
                <a:gd name="T48" fmla="*/ 1475 w 1616"/>
                <a:gd name="T49" fmla="*/ 1254 h 1616"/>
                <a:gd name="T50" fmla="*/ 1394 w 1616"/>
                <a:gd name="T51" fmla="*/ 1143 h 1616"/>
                <a:gd name="T52" fmla="*/ 1545 w 1616"/>
                <a:gd name="T53" fmla="*/ 985 h 1616"/>
                <a:gd name="T54" fmla="*/ 1616 w 1616"/>
                <a:gd name="T55" fmla="*/ 702 h 1616"/>
                <a:gd name="T56" fmla="*/ 1536 w 1616"/>
                <a:gd name="T57" fmla="*/ 905 h 1616"/>
                <a:gd name="T58" fmla="*/ 1383 w 1616"/>
                <a:gd name="T59" fmla="*/ 958 h 1616"/>
                <a:gd name="T60" fmla="*/ 1332 w 1616"/>
                <a:gd name="T61" fmla="*/ 1195 h 1616"/>
                <a:gd name="T62" fmla="*/ 1254 w 1616"/>
                <a:gd name="T63" fmla="*/ 1392 h 1616"/>
                <a:gd name="T64" fmla="*/ 1108 w 1616"/>
                <a:gd name="T65" fmla="*/ 1321 h 1616"/>
                <a:gd name="T66" fmla="*/ 905 w 1616"/>
                <a:gd name="T67" fmla="*/ 1452 h 1616"/>
                <a:gd name="T68" fmla="*/ 711 w 1616"/>
                <a:gd name="T69" fmla="*/ 1536 h 1616"/>
                <a:gd name="T70" fmla="*/ 658 w 1616"/>
                <a:gd name="T71" fmla="*/ 1383 h 1616"/>
                <a:gd name="T72" fmla="*/ 422 w 1616"/>
                <a:gd name="T73" fmla="*/ 1332 h 1616"/>
                <a:gd name="T74" fmla="*/ 224 w 1616"/>
                <a:gd name="T75" fmla="*/ 1254 h 1616"/>
                <a:gd name="T76" fmla="*/ 295 w 1616"/>
                <a:gd name="T77" fmla="*/ 1108 h 1616"/>
                <a:gd name="T78" fmla="*/ 164 w 1616"/>
                <a:gd name="T79" fmla="*/ 905 h 1616"/>
                <a:gd name="T80" fmla="*/ 80 w 1616"/>
                <a:gd name="T81" fmla="*/ 711 h 1616"/>
                <a:gd name="T82" fmla="*/ 233 w 1616"/>
                <a:gd name="T83" fmla="*/ 658 h 1616"/>
                <a:gd name="T84" fmla="*/ 284 w 1616"/>
                <a:gd name="T85" fmla="*/ 422 h 1616"/>
                <a:gd name="T86" fmla="*/ 362 w 1616"/>
                <a:gd name="T87" fmla="*/ 224 h 1616"/>
                <a:gd name="T88" fmla="*/ 508 w 1616"/>
                <a:gd name="T89" fmla="*/ 295 h 1616"/>
                <a:gd name="T90" fmla="*/ 711 w 1616"/>
                <a:gd name="T91" fmla="*/ 164 h 1616"/>
                <a:gd name="T92" fmla="*/ 905 w 1616"/>
                <a:gd name="T93" fmla="*/ 80 h 1616"/>
                <a:gd name="T94" fmla="*/ 958 w 1616"/>
                <a:gd name="T95" fmla="*/ 232 h 1616"/>
                <a:gd name="T96" fmla="*/ 1195 w 1616"/>
                <a:gd name="T97" fmla="*/ 283 h 1616"/>
                <a:gd name="T98" fmla="*/ 1392 w 1616"/>
                <a:gd name="T99" fmla="*/ 362 h 1616"/>
                <a:gd name="T100" fmla="*/ 1321 w 1616"/>
                <a:gd name="T101" fmla="*/ 507 h 1616"/>
                <a:gd name="T102" fmla="*/ 1453 w 1616"/>
                <a:gd name="T103" fmla="*/ 711 h 1616"/>
                <a:gd name="T104" fmla="*/ 1536 w 1616"/>
                <a:gd name="T105" fmla="*/ 905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16" h="1616">
                  <a:moveTo>
                    <a:pt x="1545" y="631"/>
                  </a:moveTo>
                  <a:cubicBezTo>
                    <a:pt x="1459" y="631"/>
                    <a:pt x="1459" y="631"/>
                    <a:pt x="1459" y="631"/>
                  </a:cubicBezTo>
                  <a:cubicBezTo>
                    <a:pt x="1444" y="575"/>
                    <a:pt x="1422" y="522"/>
                    <a:pt x="1394" y="473"/>
                  </a:cubicBezTo>
                  <a:cubicBezTo>
                    <a:pt x="1454" y="412"/>
                    <a:pt x="1454" y="412"/>
                    <a:pt x="1454" y="412"/>
                  </a:cubicBezTo>
                  <a:cubicBezTo>
                    <a:pt x="1468" y="399"/>
                    <a:pt x="1475" y="381"/>
                    <a:pt x="1475" y="362"/>
                  </a:cubicBezTo>
                  <a:cubicBezTo>
                    <a:pt x="1475" y="343"/>
                    <a:pt x="1468" y="325"/>
                    <a:pt x="1454" y="312"/>
                  </a:cubicBezTo>
                  <a:cubicBezTo>
                    <a:pt x="1304" y="162"/>
                    <a:pt x="1304" y="162"/>
                    <a:pt x="1304" y="162"/>
                  </a:cubicBezTo>
                  <a:cubicBezTo>
                    <a:pt x="1291" y="148"/>
                    <a:pt x="1273" y="141"/>
                    <a:pt x="1254" y="141"/>
                  </a:cubicBezTo>
                  <a:cubicBezTo>
                    <a:pt x="1235" y="141"/>
                    <a:pt x="1217" y="148"/>
                    <a:pt x="1204" y="162"/>
                  </a:cubicBezTo>
                  <a:cubicBezTo>
                    <a:pt x="1143" y="222"/>
                    <a:pt x="1143" y="222"/>
                    <a:pt x="1143" y="222"/>
                  </a:cubicBezTo>
                  <a:cubicBezTo>
                    <a:pt x="1093" y="194"/>
                    <a:pt x="1040" y="172"/>
                    <a:pt x="985" y="157"/>
                  </a:cubicBezTo>
                  <a:cubicBezTo>
                    <a:pt x="985" y="71"/>
                    <a:pt x="985" y="71"/>
                    <a:pt x="985" y="71"/>
                  </a:cubicBezTo>
                  <a:cubicBezTo>
                    <a:pt x="985" y="32"/>
                    <a:pt x="953" y="0"/>
                    <a:pt x="914" y="0"/>
                  </a:cubicBezTo>
                  <a:cubicBezTo>
                    <a:pt x="702" y="0"/>
                    <a:pt x="702" y="0"/>
                    <a:pt x="702" y="0"/>
                  </a:cubicBezTo>
                  <a:cubicBezTo>
                    <a:pt x="662" y="0"/>
                    <a:pt x="631" y="32"/>
                    <a:pt x="631" y="71"/>
                  </a:cubicBezTo>
                  <a:cubicBezTo>
                    <a:pt x="631" y="157"/>
                    <a:pt x="631" y="157"/>
                    <a:pt x="631" y="157"/>
                  </a:cubicBezTo>
                  <a:cubicBezTo>
                    <a:pt x="575" y="172"/>
                    <a:pt x="523" y="194"/>
                    <a:pt x="473" y="222"/>
                  </a:cubicBezTo>
                  <a:cubicBezTo>
                    <a:pt x="412" y="162"/>
                    <a:pt x="412" y="162"/>
                    <a:pt x="412" y="162"/>
                  </a:cubicBezTo>
                  <a:cubicBezTo>
                    <a:pt x="399" y="148"/>
                    <a:pt x="381" y="141"/>
                    <a:pt x="362" y="141"/>
                  </a:cubicBezTo>
                  <a:cubicBezTo>
                    <a:pt x="343" y="141"/>
                    <a:pt x="325" y="148"/>
                    <a:pt x="312" y="162"/>
                  </a:cubicBezTo>
                  <a:cubicBezTo>
                    <a:pt x="161" y="312"/>
                    <a:pt x="161" y="312"/>
                    <a:pt x="161" y="312"/>
                  </a:cubicBezTo>
                  <a:cubicBezTo>
                    <a:pt x="148" y="325"/>
                    <a:pt x="141" y="343"/>
                    <a:pt x="141" y="362"/>
                  </a:cubicBezTo>
                  <a:cubicBezTo>
                    <a:pt x="141" y="381"/>
                    <a:pt x="148" y="399"/>
                    <a:pt x="161" y="412"/>
                  </a:cubicBezTo>
                  <a:cubicBezTo>
                    <a:pt x="222" y="473"/>
                    <a:pt x="222" y="473"/>
                    <a:pt x="222" y="473"/>
                  </a:cubicBezTo>
                  <a:cubicBezTo>
                    <a:pt x="194" y="523"/>
                    <a:pt x="172" y="576"/>
                    <a:pt x="157" y="631"/>
                  </a:cubicBezTo>
                  <a:cubicBezTo>
                    <a:pt x="71" y="631"/>
                    <a:pt x="71" y="631"/>
                    <a:pt x="71" y="631"/>
                  </a:cubicBezTo>
                  <a:cubicBezTo>
                    <a:pt x="32" y="631"/>
                    <a:pt x="0" y="663"/>
                    <a:pt x="0" y="702"/>
                  </a:cubicBezTo>
                  <a:cubicBezTo>
                    <a:pt x="0" y="914"/>
                    <a:pt x="0" y="914"/>
                    <a:pt x="0" y="914"/>
                  </a:cubicBezTo>
                  <a:cubicBezTo>
                    <a:pt x="0" y="953"/>
                    <a:pt x="32" y="985"/>
                    <a:pt x="71" y="985"/>
                  </a:cubicBezTo>
                  <a:cubicBezTo>
                    <a:pt x="158" y="985"/>
                    <a:pt x="158" y="985"/>
                    <a:pt x="158" y="985"/>
                  </a:cubicBezTo>
                  <a:cubicBezTo>
                    <a:pt x="173" y="1040"/>
                    <a:pt x="194" y="1093"/>
                    <a:pt x="223" y="1142"/>
                  </a:cubicBezTo>
                  <a:cubicBezTo>
                    <a:pt x="161" y="1204"/>
                    <a:pt x="161" y="1204"/>
                    <a:pt x="161" y="1204"/>
                  </a:cubicBezTo>
                  <a:cubicBezTo>
                    <a:pt x="148" y="1217"/>
                    <a:pt x="141" y="1235"/>
                    <a:pt x="141" y="1254"/>
                  </a:cubicBezTo>
                  <a:cubicBezTo>
                    <a:pt x="141" y="1273"/>
                    <a:pt x="148" y="1291"/>
                    <a:pt x="161" y="1304"/>
                  </a:cubicBezTo>
                  <a:cubicBezTo>
                    <a:pt x="312" y="1454"/>
                    <a:pt x="312" y="1454"/>
                    <a:pt x="312" y="1454"/>
                  </a:cubicBezTo>
                  <a:cubicBezTo>
                    <a:pt x="325" y="1468"/>
                    <a:pt x="343" y="1475"/>
                    <a:pt x="362" y="1475"/>
                  </a:cubicBezTo>
                  <a:cubicBezTo>
                    <a:pt x="381" y="1475"/>
                    <a:pt x="399" y="1468"/>
                    <a:pt x="412" y="1454"/>
                  </a:cubicBezTo>
                  <a:cubicBezTo>
                    <a:pt x="474" y="1393"/>
                    <a:pt x="474" y="1393"/>
                    <a:pt x="474" y="1393"/>
                  </a:cubicBezTo>
                  <a:cubicBezTo>
                    <a:pt x="523" y="1422"/>
                    <a:pt x="576" y="1443"/>
                    <a:pt x="631" y="1458"/>
                  </a:cubicBezTo>
                  <a:cubicBezTo>
                    <a:pt x="631" y="1545"/>
                    <a:pt x="631" y="1545"/>
                    <a:pt x="631" y="1545"/>
                  </a:cubicBezTo>
                  <a:cubicBezTo>
                    <a:pt x="631" y="1584"/>
                    <a:pt x="662" y="1616"/>
                    <a:pt x="702" y="1616"/>
                  </a:cubicBezTo>
                  <a:cubicBezTo>
                    <a:pt x="914" y="1616"/>
                    <a:pt x="914" y="1616"/>
                    <a:pt x="914" y="1616"/>
                  </a:cubicBezTo>
                  <a:cubicBezTo>
                    <a:pt x="953" y="1616"/>
                    <a:pt x="985" y="1584"/>
                    <a:pt x="985" y="1545"/>
                  </a:cubicBezTo>
                  <a:cubicBezTo>
                    <a:pt x="985" y="1459"/>
                    <a:pt x="985" y="1459"/>
                    <a:pt x="985" y="1459"/>
                  </a:cubicBezTo>
                  <a:cubicBezTo>
                    <a:pt x="1040" y="1444"/>
                    <a:pt x="1093" y="1422"/>
                    <a:pt x="1143" y="1394"/>
                  </a:cubicBezTo>
                  <a:cubicBezTo>
                    <a:pt x="1204" y="1454"/>
                    <a:pt x="1204" y="1454"/>
                    <a:pt x="1204" y="1454"/>
                  </a:cubicBezTo>
                  <a:cubicBezTo>
                    <a:pt x="1217" y="1468"/>
                    <a:pt x="1235" y="1475"/>
                    <a:pt x="1254" y="1475"/>
                  </a:cubicBezTo>
                  <a:cubicBezTo>
                    <a:pt x="1273" y="1475"/>
                    <a:pt x="1291" y="1468"/>
                    <a:pt x="1304" y="1454"/>
                  </a:cubicBezTo>
                  <a:cubicBezTo>
                    <a:pt x="1454" y="1304"/>
                    <a:pt x="1454" y="1304"/>
                    <a:pt x="1454" y="1304"/>
                  </a:cubicBezTo>
                  <a:cubicBezTo>
                    <a:pt x="1468" y="1291"/>
                    <a:pt x="1475" y="1273"/>
                    <a:pt x="1475" y="1254"/>
                  </a:cubicBezTo>
                  <a:cubicBezTo>
                    <a:pt x="1475" y="1235"/>
                    <a:pt x="1468" y="1217"/>
                    <a:pt x="1454" y="1204"/>
                  </a:cubicBezTo>
                  <a:cubicBezTo>
                    <a:pt x="1394" y="1143"/>
                    <a:pt x="1394" y="1143"/>
                    <a:pt x="1394" y="1143"/>
                  </a:cubicBezTo>
                  <a:cubicBezTo>
                    <a:pt x="1422" y="1093"/>
                    <a:pt x="1444" y="1040"/>
                    <a:pt x="1459" y="985"/>
                  </a:cubicBezTo>
                  <a:cubicBezTo>
                    <a:pt x="1545" y="985"/>
                    <a:pt x="1545" y="985"/>
                    <a:pt x="1545" y="985"/>
                  </a:cubicBezTo>
                  <a:cubicBezTo>
                    <a:pt x="1584" y="985"/>
                    <a:pt x="1616" y="953"/>
                    <a:pt x="1616" y="914"/>
                  </a:cubicBezTo>
                  <a:cubicBezTo>
                    <a:pt x="1616" y="702"/>
                    <a:pt x="1616" y="702"/>
                    <a:pt x="1616" y="702"/>
                  </a:cubicBezTo>
                  <a:cubicBezTo>
                    <a:pt x="1616" y="663"/>
                    <a:pt x="1584" y="631"/>
                    <a:pt x="1545" y="631"/>
                  </a:cubicBezTo>
                  <a:close/>
                  <a:moveTo>
                    <a:pt x="1536" y="905"/>
                  </a:moveTo>
                  <a:cubicBezTo>
                    <a:pt x="1452" y="905"/>
                    <a:pt x="1452" y="905"/>
                    <a:pt x="1452" y="905"/>
                  </a:cubicBezTo>
                  <a:cubicBezTo>
                    <a:pt x="1420" y="905"/>
                    <a:pt x="1392" y="927"/>
                    <a:pt x="1383" y="958"/>
                  </a:cubicBezTo>
                  <a:cubicBezTo>
                    <a:pt x="1370" y="1011"/>
                    <a:pt x="1349" y="1061"/>
                    <a:pt x="1321" y="1108"/>
                  </a:cubicBezTo>
                  <a:cubicBezTo>
                    <a:pt x="1305" y="1136"/>
                    <a:pt x="1309" y="1172"/>
                    <a:pt x="1332" y="1195"/>
                  </a:cubicBezTo>
                  <a:cubicBezTo>
                    <a:pt x="1392" y="1254"/>
                    <a:pt x="1392" y="1254"/>
                    <a:pt x="1392" y="1254"/>
                  </a:cubicBezTo>
                  <a:cubicBezTo>
                    <a:pt x="1254" y="1392"/>
                    <a:pt x="1254" y="1392"/>
                    <a:pt x="1254" y="1392"/>
                  </a:cubicBezTo>
                  <a:cubicBezTo>
                    <a:pt x="1194" y="1332"/>
                    <a:pt x="1194" y="1332"/>
                    <a:pt x="1194" y="1332"/>
                  </a:cubicBezTo>
                  <a:cubicBezTo>
                    <a:pt x="1171" y="1309"/>
                    <a:pt x="1136" y="1305"/>
                    <a:pt x="1108" y="1321"/>
                  </a:cubicBezTo>
                  <a:cubicBezTo>
                    <a:pt x="1061" y="1348"/>
                    <a:pt x="1011" y="1369"/>
                    <a:pt x="958" y="1383"/>
                  </a:cubicBezTo>
                  <a:cubicBezTo>
                    <a:pt x="927" y="1391"/>
                    <a:pt x="905" y="1419"/>
                    <a:pt x="905" y="1452"/>
                  </a:cubicBezTo>
                  <a:cubicBezTo>
                    <a:pt x="905" y="1536"/>
                    <a:pt x="905" y="1536"/>
                    <a:pt x="905" y="1536"/>
                  </a:cubicBezTo>
                  <a:cubicBezTo>
                    <a:pt x="711" y="1536"/>
                    <a:pt x="711" y="1536"/>
                    <a:pt x="711" y="1536"/>
                  </a:cubicBezTo>
                  <a:cubicBezTo>
                    <a:pt x="711" y="1452"/>
                    <a:pt x="711" y="1452"/>
                    <a:pt x="711" y="1452"/>
                  </a:cubicBezTo>
                  <a:cubicBezTo>
                    <a:pt x="711" y="1419"/>
                    <a:pt x="689" y="1391"/>
                    <a:pt x="658" y="1383"/>
                  </a:cubicBezTo>
                  <a:cubicBezTo>
                    <a:pt x="605" y="1369"/>
                    <a:pt x="555" y="1348"/>
                    <a:pt x="508" y="1321"/>
                  </a:cubicBezTo>
                  <a:cubicBezTo>
                    <a:pt x="480" y="1304"/>
                    <a:pt x="445" y="1309"/>
                    <a:pt x="422" y="1332"/>
                  </a:cubicBezTo>
                  <a:cubicBezTo>
                    <a:pt x="362" y="1392"/>
                    <a:pt x="362" y="1392"/>
                    <a:pt x="362" y="1392"/>
                  </a:cubicBezTo>
                  <a:cubicBezTo>
                    <a:pt x="224" y="1254"/>
                    <a:pt x="224" y="1254"/>
                    <a:pt x="224" y="1254"/>
                  </a:cubicBezTo>
                  <a:cubicBezTo>
                    <a:pt x="284" y="1194"/>
                    <a:pt x="284" y="1194"/>
                    <a:pt x="284" y="1194"/>
                  </a:cubicBezTo>
                  <a:cubicBezTo>
                    <a:pt x="307" y="1171"/>
                    <a:pt x="312" y="1136"/>
                    <a:pt x="295" y="1108"/>
                  </a:cubicBezTo>
                  <a:cubicBezTo>
                    <a:pt x="268" y="1061"/>
                    <a:pt x="247" y="1011"/>
                    <a:pt x="233" y="958"/>
                  </a:cubicBezTo>
                  <a:cubicBezTo>
                    <a:pt x="225" y="927"/>
                    <a:pt x="197" y="905"/>
                    <a:pt x="164" y="905"/>
                  </a:cubicBezTo>
                  <a:cubicBezTo>
                    <a:pt x="80" y="905"/>
                    <a:pt x="80" y="905"/>
                    <a:pt x="80" y="905"/>
                  </a:cubicBezTo>
                  <a:cubicBezTo>
                    <a:pt x="80" y="711"/>
                    <a:pt x="80" y="711"/>
                    <a:pt x="80" y="711"/>
                  </a:cubicBezTo>
                  <a:cubicBezTo>
                    <a:pt x="164" y="711"/>
                    <a:pt x="164" y="711"/>
                    <a:pt x="164" y="711"/>
                  </a:cubicBezTo>
                  <a:cubicBezTo>
                    <a:pt x="197" y="711"/>
                    <a:pt x="225" y="689"/>
                    <a:pt x="233" y="658"/>
                  </a:cubicBezTo>
                  <a:cubicBezTo>
                    <a:pt x="247" y="605"/>
                    <a:pt x="267" y="555"/>
                    <a:pt x="295" y="508"/>
                  </a:cubicBezTo>
                  <a:cubicBezTo>
                    <a:pt x="311" y="480"/>
                    <a:pt x="307" y="444"/>
                    <a:pt x="284" y="422"/>
                  </a:cubicBezTo>
                  <a:cubicBezTo>
                    <a:pt x="224" y="362"/>
                    <a:pt x="224" y="362"/>
                    <a:pt x="224" y="362"/>
                  </a:cubicBezTo>
                  <a:cubicBezTo>
                    <a:pt x="362" y="224"/>
                    <a:pt x="362" y="224"/>
                    <a:pt x="362" y="224"/>
                  </a:cubicBezTo>
                  <a:cubicBezTo>
                    <a:pt x="421" y="284"/>
                    <a:pt x="421" y="284"/>
                    <a:pt x="421" y="284"/>
                  </a:cubicBezTo>
                  <a:cubicBezTo>
                    <a:pt x="444" y="307"/>
                    <a:pt x="480" y="311"/>
                    <a:pt x="508" y="295"/>
                  </a:cubicBezTo>
                  <a:cubicBezTo>
                    <a:pt x="554" y="267"/>
                    <a:pt x="605" y="246"/>
                    <a:pt x="658" y="232"/>
                  </a:cubicBezTo>
                  <a:cubicBezTo>
                    <a:pt x="689" y="224"/>
                    <a:pt x="711" y="196"/>
                    <a:pt x="711" y="164"/>
                  </a:cubicBezTo>
                  <a:cubicBezTo>
                    <a:pt x="711" y="80"/>
                    <a:pt x="711" y="80"/>
                    <a:pt x="711" y="80"/>
                  </a:cubicBezTo>
                  <a:cubicBezTo>
                    <a:pt x="905" y="80"/>
                    <a:pt x="905" y="80"/>
                    <a:pt x="905" y="80"/>
                  </a:cubicBezTo>
                  <a:cubicBezTo>
                    <a:pt x="905" y="163"/>
                    <a:pt x="905" y="163"/>
                    <a:pt x="905" y="163"/>
                  </a:cubicBezTo>
                  <a:cubicBezTo>
                    <a:pt x="905" y="196"/>
                    <a:pt x="927" y="224"/>
                    <a:pt x="958" y="232"/>
                  </a:cubicBezTo>
                  <a:cubicBezTo>
                    <a:pt x="1011" y="246"/>
                    <a:pt x="1062" y="267"/>
                    <a:pt x="1109" y="294"/>
                  </a:cubicBezTo>
                  <a:cubicBezTo>
                    <a:pt x="1137" y="311"/>
                    <a:pt x="1172" y="306"/>
                    <a:pt x="1195" y="283"/>
                  </a:cubicBezTo>
                  <a:cubicBezTo>
                    <a:pt x="1254" y="224"/>
                    <a:pt x="1254" y="224"/>
                    <a:pt x="1254" y="224"/>
                  </a:cubicBezTo>
                  <a:cubicBezTo>
                    <a:pt x="1392" y="362"/>
                    <a:pt x="1392" y="362"/>
                    <a:pt x="1392" y="362"/>
                  </a:cubicBezTo>
                  <a:cubicBezTo>
                    <a:pt x="1333" y="421"/>
                    <a:pt x="1333" y="421"/>
                    <a:pt x="1333" y="421"/>
                  </a:cubicBezTo>
                  <a:cubicBezTo>
                    <a:pt x="1310" y="444"/>
                    <a:pt x="1305" y="479"/>
                    <a:pt x="1321" y="507"/>
                  </a:cubicBezTo>
                  <a:cubicBezTo>
                    <a:pt x="1349" y="554"/>
                    <a:pt x="1370" y="605"/>
                    <a:pt x="1384" y="658"/>
                  </a:cubicBezTo>
                  <a:cubicBezTo>
                    <a:pt x="1392" y="689"/>
                    <a:pt x="1420" y="711"/>
                    <a:pt x="1453" y="711"/>
                  </a:cubicBezTo>
                  <a:cubicBezTo>
                    <a:pt x="1536" y="711"/>
                    <a:pt x="1536" y="711"/>
                    <a:pt x="1536" y="711"/>
                  </a:cubicBezTo>
                  <a:cubicBezTo>
                    <a:pt x="1536" y="905"/>
                    <a:pt x="1536" y="905"/>
                    <a:pt x="1536" y="9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2"/>
            <p:cNvSpPr>
              <a:spLocks/>
            </p:cNvSpPr>
            <p:nvPr/>
          </p:nvSpPr>
          <p:spPr bwMode="auto">
            <a:xfrm>
              <a:off x="4398" y="1411"/>
              <a:ext cx="1786" cy="1747"/>
            </a:xfrm>
            <a:custGeom>
              <a:avLst/>
              <a:gdLst>
                <a:gd name="T0" fmla="*/ 634 w 944"/>
                <a:gd name="T1" fmla="*/ 7 h 923"/>
                <a:gd name="T2" fmla="*/ 583 w 944"/>
                <a:gd name="T3" fmla="*/ 31 h 923"/>
                <a:gd name="T4" fmla="*/ 606 w 944"/>
                <a:gd name="T5" fmla="*/ 83 h 923"/>
                <a:gd name="T6" fmla="*/ 864 w 944"/>
                <a:gd name="T7" fmla="*/ 451 h 923"/>
                <a:gd name="T8" fmla="*/ 472 w 944"/>
                <a:gd name="T9" fmla="*/ 843 h 923"/>
                <a:gd name="T10" fmla="*/ 80 w 944"/>
                <a:gd name="T11" fmla="*/ 451 h 923"/>
                <a:gd name="T12" fmla="*/ 328 w 944"/>
                <a:gd name="T13" fmla="*/ 86 h 923"/>
                <a:gd name="T14" fmla="*/ 350 w 944"/>
                <a:gd name="T15" fmla="*/ 34 h 923"/>
                <a:gd name="T16" fmla="*/ 298 w 944"/>
                <a:gd name="T17" fmla="*/ 12 h 923"/>
                <a:gd name="T18" fmla="*/ 84 w 944"/>
                <a:gd name="T19" fmla="*/ 183 h 923"/>
                <a:gd name="T20" fmla="*/ 0 w 944"/>
                <a:gd name="T21" fmla="*/ 451 h 923"/>
                <a:gd name="T22" fmla="*/ 472 w 944"/>
                <a:gd name="T23" fmla="*/ 923 h 923"/>
                <a:gd name="T24" fmla="*/ 944 w 944"/>
                <a:gd name="T25" fmla="*/ 451 h 923"/>
                <a:gd name="T26" fmla="*/ 634 w 944"/>
                <a:gd name="T27" fmla="*/ 7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4" h="923">
                  <a:moveTo>
                    <a:pt x="634" y="7"/>
                  </a:moveTo>
                  <a:cubicBezTo>
                    <a:pt x="613" y="0"/>
                    <a:pt x="590" y="11"/>
                    <a:pt x="583" y="31"/>
                  </a:cubicBezTo>
                  <a:cubicBezTo>
                    <a:pt x="575" y="52"/>
                    <a:pt x="586" y="75"/>
                    <a:pt x="606" y="83"/>
                  </a:cubicBezTo>
                  <a:cubicBezTo>
                    <a:pt x="760" y="139"/>
                    <a:pt x="864" y="287"/>
                    <a:pt x="864" y="451"/>
                  </a:cubicBezTo>
                  <a:cubicBezTo>
                    <a:pt x="864" y="667"/>
                    <a:pt x="688" y="843"/>
                    <a:pt x="472" y="843"/>
                  </a:cubicBezTo>
                  <a:cubicBezTo>
                    <a:pt x="256" y="843"/>
                    <a:pt x="80" y="667"/>
                    <a:pt x="80" y="451"/>
                  </a:cubicBezTo>
                  <a:cubicBezTo>
                    <a:pt x="80" y="289"/>
                    <a:pt x="177" y="146"/>
                    <a:pt x="328" y="86"/>
                  </a:cubicBezTo>
                  <a:cubicBezTo>
                    <a:pt x="348" y="78"/>
                    <a:pt x="358" y="55"/>
                    <a:pt x="350" y="34"/>
                  </a:cubicBezTo>
                  <a:cubicBezTo>
                    <a:pt x="342" y="14"/>
                    <a:pt x="319" y="4"/>
                    <a:pt x="298" y="12"/>
                  </a:cubicBezTo>
                  <a:cubicBezTo>
                    <a:pt x="211" y="46"/>
                    <a:pt x="137" y="105"/>
                    <a:pt x="84" y="183"/>
                  </a:cubicBezTo>
                  <a:cubicBezTo>
                    <a:pt x="29" y="262"/>
                    <a:pt x="0" y="355"/>
                    <a:pt x="0" y="451"/>
                  </a:cubicBezTo>
                  <a:cubicBezTo>
                    <a:pt x="0" y="711"/>
                    <a:pt x="212" y="923"/>
                    <a:pt x="472" y="923"/>
                  </a:cubicBezTo>
                  <a:cubicBezTo>
                    <a:pt x="732" y="923"/>
                    <a:pt x="944" y="711"/>
                    <a:pt x="944" y="451"/>
                  </a:cubicBezTo>
                  <a:cubicBezTo>
                    <a:pt x="944" y="253"/>
                    <a:pt x="819" y="75"/>
                    <a:pt x="63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3"/>
            <p:cNvSpPr>
              <a:spLocks/>
            </p:cNvSpPr>
            <p:nvPr/>
          </p:nvSpPr>
          <p:spPr bwMode="auto">
            <a:xfrm>
              <a:off x="5215" y="1371"/>
              <a:ext cx="156" cy="151"/>
            </a:xfrm>
            <a:custGeom>
              <a:avLst/>
              <a:gdLst>
                <a:gd name="T0" fmla="*/ 42 w 82"/>
                <a:gd name="T1" fmla="*/ 0 h 80"/>
                <a:gd name="T2" fmla="*/ 40 w 82"/>
                <a:gd name="T3" fmla="*/ 0 h 80"/>
                <a:gd name="T4" fmla="*/ 0 w 82"/>
                <a:gd name="T5" fmla="*/ 40 h 80"/>
                <a:gd name="T6" fmla="*/ 40 w 82"/>
                <a:gd name="T7" fmla="*/ 80 h 80"/>
                <a:gd name="T8" fmla="*/ 42 w 82"/>
                <a:gd name="T9" fmla="*/ 80 h 80"/>
                <a:gd name="T10" fmla="*/ 42 w 82"/>
                <a:gd name="T11" fmla="*/ 80 h 80"/>
                <a:gd name="T12" fmla="*/ 82 w 82"/>
                <a:gd name="T13" fmla="*/ 40 h 80"/>
                <a:gd name="T14" fmla="*/ 42 w 82"/>
                <a:gd name="T15" fmla="*/ 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0">
                  <a:moveTo>
                    <a:pt x="42" y="0"/>
                  </a:moveTo>
                  <a:cubicBezTo>
                    <a:pt x="40" y="0"/>
                    <a:pt x="40" y="0"/>
                    <a:pt x="40" y="0"/>
                  </a:cubicBezTo>
                  <a:cubicBezTo>
                    <a:pt x="18" y="0"/>
                    <a:pt x="0" y="18"/>
                    <a:pt x="0" y="40"/>
                  </a:cubicBezTo>
                  <a:cubicBezTo>
                    <a:pt x="0" y="62"/>
                    <a:pt x="18" y="80"/>
                    <a:pt x="40" y="80"/>
                  </a:cubicBezTo>
                  <a:cubicBezTo>
                    <a:pt x="42" y="80"/>
                    <a:pt x="42" y="80"/>
                    <a:pt x="42" y="80"/>
                  </a:cubicBezTo>
                  <a:cubicBezTo>
                    <a:pt x="42" y="80"/>
                    <a:pt x="42" y="80"/>
                    <a:pt x="42" y="80"/>
                  </a:cubicBezTo>
                  <a:cubicBezTo>
                    <a:pt x="64" y="80"/>
                    <a:pt x="82" y="62"/>
                    <a:pt x="82" y="40"/>
                  </a:cubicBezTo>
                  <a:cubicBezTo>
                    <a:pt x="82" y="18"/>
                    <a:pt x="64"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4"/>
            <p:cNvSpPr>
              <a:spLocks/>
            </p:cNvSpPr>
            <p:nvPr/>
          </p:nvSpPr>
          <p:spPr bwMode="auto">
            <a:xfrm>
              <a:off x="4930" y="1933"/>
              <a:ext cx="878" cy="519"/>
            </a:xfrm>
            <a:custGeom>
              <a:avLst/>
              <a:gdLst>
                <a:gd name="T0" fmla="*/ 424 w 464"/>
                <a:gd name="T1" fmla="*/ 0 h 274"/>
                <a:gd name="T2" fmla="*/ 339 w 464"/>
                <a:gd name="T3" fmla="*/ 0 h 274"/>
                <a:gd name="T4" fmla="*/ 299 w 464"/>
                <a:gd name="T5" fmla="*/ 40 h 274"/>
                <a:gd name="T6" fmla="*/ 329 w 464"/>
                <a:gd name="T7" fmla="*/ 78 h 274"/>
                <a:gd name="T8" fmla="*/ 230 w 464"/>
                <a:gd name="T9" fmla="*/ 177 h 274"/>
                <a:gd name="T10" fmla="*/ 148 w 464"/>
                <a:gd name="T11" fmla="*/ 95 h 274"/>
                <a:gd name="T12" fmla="*/ 91 w 464"/>
                <a:gd name="T13" fmla="*/ 95 h 274"/>
                <a:gd name="T14" fmla="*/ 16 w 464"/>
                <a:gd name="T15" fmla="*/ 170 h 274"/>
                <a:gd name="T16" fmla="*/ 16 w 464"/>
                <a:gd name="T17" fmla="*/ 227 h 274"/>
                <a:gd name="T18" fmla="*/ 72 w 464"/>
                <a:gd name="T19" fmla="*/ 227 h 274"/>
                <a:gd name="T20" fmla="*/ 119 w 464"/>
                <a:gd name="T21" fmla="*/ 180 h 274"/>
                <a:gd name="T22" fmla="*/ 202 w 464"/>
                <a:gd name="T23" fmla="*/ 262 h 274"/>
                <a:gd name="T24" fmla="*/ 230 w 464"/>
                <a:gd name="T25" fmla="*/ 274 h 274"/>
                <a:gd name="T26" fmla="*/ 258 w 464"/>
                <a:gd name="T27" fmla="*/ 262 h 274"/>
                <a:gd name="T28" fmla="*/ 385 w 464"/>
                <a:gd name="T29" fmla="*/ 135 h 274"/>
                <a:gd name="T30" fmla="*/ 424 w 464"/>
                <a:gd name="T31" fmla="*/ 165 h 274"/>
                <a:gd name="T32" fmla="*/ 464 w 464"/>
                <a:gd name="T33" fmla="*/ 125 h 274"/>
                <a:gd name="T34" fmla="*/ 464 w 464"/>
                <a:gd name="T35" fmla="*/ 40 h 274"/>
                <a:gd name="T36" fmla="*/ 424 w 464"/>
                <a:gd name="T3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4" h="274">
                  <a:moveTo>
                    <a:pt x="424" y="0"/>
                  </a:moveTo>
                  <a:cubicBezTo>
                    <a:pt x="339" y="0"/>
                    <a:pt x="339" y="0"/>
                    <a:pt x="339" y="0"/>
                  </a:cubicBezTo>
                  <a:cubicBezTo>
                    <a:pt x="317" y="0"/>
                    <a:pt x="299" y="18"/>
                    <a:pt x="299" y="40"/>
                  </a:cubicBezTo>
                  <a:cubicBezTo>
                    <a:pt x="299" y="58"/>
                    <a:pt x="312" y="74"/>
                    <a:pt x="329" y="78"/>
                  </a:cubicBezTo>
                  <a:cubicBezTo>
                    <a:pt x="230" y="177"/>
                    <a:pt x="230" y="177"/>
                    <a:pt x="230" y="177"/>
                  </a:cubicBezTo>
                  <a:cubicBezTo>
                    <a:pt x="148" y="95"/>
                    <a:pt x="148" y="95"/>
                    <a:pt x="148" y="95"/>
                  </a:cubicBezTo>
                  <a:cubicBezTo>
                    <a:pt x="132" y="79"/>
                    <a:pt x="107" y="79"/>
                    <a:pt x="91" y="95"/>
                  </a:cubicBezTo>
                  <a:cubicBezTo>
                    <a:pt x="16" y="170"/>
                    <a:pt x="16" y="170"/>
                    <a:pt x="16" y="170"/>
                  </a:cubicBezTo>
                  <a:cubicBezTo>
                    <a:pt x="0" y="186"/>
                    <a:pt x="0" y="211"/>
                    <a:pt x="16" y="227"/>
                  </a:cubicBezTo>
                  <a:cubicBezTo>
                    <a:pt x="31" y="242"/>
                    <a:pt x="57" y="242"/>
                    <a:pt x="72" y="227"/>
                  </a:cubicBezTo>
                  <a:cubicBezTo>
                    <a:pt x="119" y="180"/>
                    <a:pt x="119" y="180"/>
                    <a:pt x="119" y="180"/>
                  </a:cubicBezTo>
                  <a:cubicBezTo>
                    <a:pt x="202" y="262"/>
                    <a:pt x="202" y="262"/>
                    <a:pt x="202" y="262"/>
                  </a:cubicBezTo>
                  <a:cubicBezTo>
                    <a:pt x="209" y="270"/>
                    <a:pt x="219" y="274"/>
                    <a:pt x="230" y="274"/>
                  </a:cubicBezTo>
                  <a:cubicBezTo>
                    <a:pt x="241" y="274"/>
                    <a:pt x="251" y="270"/>
                    <a:pt x="258" y="262"/>
                  </a:cubicBezTo>
                  <a:cubicBezTo>
                    <a:pt x="385" y="135"/>
                    <a:pt x="385" y="135"/>
                    <a:pt x="385" y="135"/>
                  </a:cubicBezTo>
                  <a:cubicBezTo>
                    <a:pt x="390" y="152"/>
                    <a:pt x="405" y="165"/>
                    <a:pt x="424" y="165"/>
                  </a:cubicBezTo>
                  <a:cubicBezTo>
                    <a:pt x="446" y="165"/>
                    <a:pt x="464" y="147"/>
                    <a:pt x="464" y="125"/>
                  </a:cubicBezTo>
                  <a:cubicBezTo>
                    <a:pt x="464" y="40"/>
                    <a:pt x="464" y="40"/>
                    <a:pt x="464" y="40"/>
                  </a:cubicBezTo>
                  <a:cubicBezTo>
                    <a:pt x="464" y="18"/>
                    <a:pt x="446" y="0"/>
                    <a:pt x="4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5"/>
            <p:cNvSpPr>
              <a:spLocks/>
            </p:cNvSpPr>
            <p:nvPr/>
          </p:nvSpPr>
          <p:spPr bwMode="auto">
            <a:xfrm>
              <a:off x="4763" y="2406"/>
              <a:ext cx="151" cy="152"/>
            </a:xfrm>
            <a:custGeom>
              <a:avLst/>
              <a:gdLst>
                <a:gd name="T0" fmla="*/ 68 w 80"/>
                <a:gd name="T1" fmla="*/ 12 h 80"/>
                <a:gd name="T2" fmla="*/ 40 w 80"/>
                <a:gd name="T3" fmla="*/ 0 h 80"/>
                <a:gd name="T4" fmla="*/ 12 w 80"/>
                <a:gd name="T5" fmla="*/ 12 h 80"/>
                <a:gd name="T6" fmla="*/ 0 w 80"/>
                <a:gd name="T7" fmla="*/ 40 h 80"/>
                <a:gd name="T8" fmla="*/ 12 w 80"/>
                <a:gd name="T9" fmla="*/ 69 h 80"/>
                <a:gd name="T10" fmla="*/ 40 w 80"/>
                <a:gd name="T11" fmla="*/ 80 h 80"/>
                <a:gd name="T12" fmla="*/ 68 w 80"/>
                <a:gd name="T13" fmla="*/ 69 h 80"/>
                <a:gd name="T14" fmla="*/ 80 w 80"/>
                <a:gd name="T15" fmla="*/ 40 h 80"/>
                <a:gd name="T16" fmla="*/ 68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68" y="12"/>
                  </a:moveTo>
                  <a:cubicBezTo>
                    <a:pt x="61" y="5"/>
                    <a:pt x="51" y="0"/>
                    <a:pt x="40" y="0"/>
                  </a:cubicBezTo>
                  <a:cubicBezTo>
                    <a:pt x="30" y="0"/>
                    <a:pt x="19" y="5"/>
                    <a:pt x="12" y="12"/>
                  </a:cubicBezTo>
                  <a:cubicBezTo>
                    <a:pt x="4" y="19"/>
                    <a:pt x="0" y="30"/>
                    <a:pt x="0" y="40"/>
                  </a:cubicBezTo>
                  <a:cubicBezTo>
                    <a:pt x="0" y="51"/>
                    <a:pt x="4" y="61"/>
                    <a:pt x="12" y="69"/>
                  </a:cubicBezTo>
                  <a:cubicBezTo>
                    <a:pt x="19" y="76"/>
                    <a:pt x="30" y="80"/>
                    <a:pt x="40" y="80"/>
                  </a:cubicBezTo>
                  <a:cubicBezTo>
                    <a:pt x="51" y="80"/>
                    <a:pt x="61" y="76"/>
                    <a:pt x="68" y="69"/>
                  </a:cubicBezTo>
                  <a:cubicBezTo>
                    <a:pt x="76" y="61"/>
                    <a:pt x="80" y="51"/>
                    <a:pt x="80" y="40"/>
                  </a:cubicBezTo>
                  <a:cubicBezTo>
                    <a:pt x="80" y="30"/>
                    <a:pt x="76" y="19"/>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6"/>
            <p:cNvSpPr>
              <a:spLocks noEditPoints="1"/>
            </p:cNvSpPr>
            <p:nvPr/>
          </p:nvSpPr>
          <p:spPr bwMode="auto">
            <a:xfrm>
              <a:off x="6260" y="523"/>
              <a:ext cx="969" cy="575"/>
            </a:xfrm>
            <a:custGeom>
              <a:avLst/>
              <a:gdLst>
                <a:gd name="T0" fmla="*/ 360 w 512"/>
                <a:gd name="T1" fmla="*/ 0 h 304"/>
                <a:gd name="T2" fmla="*/ 213 w 512"/>
                <a:gd name="T3" fmla="*/ 112 h 304"/>
                <a:gd name="T4" fmla="*/ 40 w 512"/>
                <a:gd name="T5" fmla="*/ 112 h 304"/>
                <a:gd name="T6" fmla="*/ 0 w 512"/>
                <a:gd name="T7" fmla="*/ 152 h 304"/>
                <a:gd name="T8" fmla="*/ 0 w 512"/>
                <a:gd name="T9" fmla="*/ 192 h 304"/>
                <a:gd name="T10" fmla="*/ 40 w 512"/>
                <a:gd name="T11" fmla="*/ 232 h 304"/>
                <a:gd name="T12" fmla="*/ 80 w 512"/>
                <a:gd name="T13" fmla="*/ 192 h 304"/>
                <a:gd name="T14" fmla="*/ 213 w 512"/>
                <a:gd name="T15" fmla="*/ 192 h 304"/>
                <a:gd name="T16" fmla="*/ 360 w 512"/>
                <a:gd name="T17" fmla="*/ 304 h 304"/>
                <a:gd name="T18" fmla="*/ 512 w 512"/>
                <a:gd name="T19" fmla="*/ 152 h 304"/>
                <a:gd name="T20" fmla="*/ 360 w 512"/>
                <a:gd name="T21" fmla="*/ 0 h 304"/>
                <a:gd name="T22" fmla="*/ 360 w 512"/>
                <a:gd name="T23" fmla="*/ 224 h 304"/>
                <a:gd name="T24" fmla="*/ 288 w 512"/>
                <a:gd name="T25" fmla="*/ 152 h 304"/>
                <a:gd name="T26" fmla="*/ 360 w 512"/>
                <a:gd name="T27" fmla="*/ 80 h 304"/>
                <a:gd name="T28" fmla="*/ 432 w 512"/>
                <a:gd name="T29" fmla="*/ 152 h 304"/>
                <a:gd name="T30" fmla="*/ 360 w 512"/>
                <a:gd name="T31"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304">
                  <a:moveTo>
                    <a:pt x="360" y="0"/>
                  </a:moveTo>
                  <a:cubicBezTo>
                    <a:pt x="290" y="0"/>
                    <a:pt x="231" y="47"/>
                    <a:pt x="213" y="112"/>
                  </a:cubicBezTo>
                  <a:cubicBezTo>
                    <a:pt x="40" y="112"/>
                    <a:pt x="40" y="112"/>
                    <a:pt x="40" y="112"/>
                  </a:cubicBezTo>
                  <a:cubicBezTo>
                    <a:pt x="18" y="112"/>
                    <a:pt x="0" y="130"/>
                    <a:pt x="0" y="152"/>
                  </a:cubicBezTo>
                  <a:cubicBezTo>
                    <a:pt x="0" y="192"/>
                    <a:pt x="0" y="192"/>
                    <a:pt x="0" y="192"/>
                  </a:cubicBezTo>
                  <a:cubicBezTo>
                    <a:pt x="0" y="214"/>
                    <a:pt x="18" y="232"/>
                    <a:pt x="40" y="232"/>
                  </a:cubicBezTo>
                  <a:cubicBezTo>
                    <a:pt x="62" y="232"/>
                    <a:pt x="80" y="214"/>
                    <a:pt x="80" y="192"/>
                  </a:cubicBezTo>
                  <a:cubicBezTo>
                    <a:pt x="213" y="192"/>
                    <a:pt x="213" y="192"/>
                    <a:pt x="213" y="192"/>
                  </a:cubicBezTo>
                  <a:cubicBezTo>
                    <a:pt x="231" y="256"/>
                    <a:pt x="290" y="304"/>
                    <a:pt x="360" y="304"/>
                  </a:cubicBezTo>
                  <a:cubicBezTo>
                    <a:pt x="444" y="304"/>
                    <a:pt x="512" y="236"/>
                    <a:pt x="512" y="152"/>
                  </a:cubicBezTo>
                  <a:cubicBezTo>
                    <a:pt x="512" y="68"/>
                    <a:pt x="444" y="0"/>
                    <a:pt x="360" y="0"/>
                  </a:cubicBezTo>
                  <a:close/>
                  <a:moveTo>
                    <a:pt x="360" y="224"/>
                  </a:moveTo>
                  <a:cubicBezTo>
                    <a:pt x="320" y="224"/>
                    <a:pt x="288" y="192"/>
                    <a:pt x="288" y="152"/>
                  </a:cubicBezTo>
                  <a:cubicBezTo>
                    <a:pt x="288" y="112"/>
                    <a:pt x="320" y="80"/>
                    <a:pt x="360" y="80"/>
                  </a:cubicBezTo>
                  <a:cubicBezTo>
                    <a:pt x="400" y="80"/>
                    <a:pt x="432" y="112"/>
                    <a:pt x="432" y="152"/>
                  </a:cubicBezTo>
                  <a:cubicBezTo>
                    <a:pt x="432" y="192"/>
                    <a:pt x="400" y="224"/>
                    <a:pt x="36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47"/>
            <p:cNvSpPr>
              <a:spLocks noEditPoints="1"/>
            </p:cNvSpPr>
            <p:nvPr/>
          </p:nvSpPr>
          <p:spPr bwMode="auto">
            <a:xfrm>
              <a:off x="3353" y="3431"/>
              <a:ext cx="969" cy="575"/>
            </a:xfrm>
            <a:custGeom>
              <a:avLst/>
              <a:gdLst>
                <a:gd name="T0" fmla="*/ 472 w 512"/>
                <a:gd name="T1" fmla="*/ 71 h 304"/>
                <a:gd name="T2" fmla="*/ 432 w 512"/>
                <a:gd name="T3" fmla="*/ 111 h 304"/>
                <a:gd name="T4" fmla="*/ 432 w 512"/>
                <a:gd name="T5" fmla="*/ 112 h 304"/>
                <a:gd name="T6" fmla="*/ 299 w 512"/>
                <a:gd name="T7" fmla="*/ 112 h 304"/>
                <a:gd name="T8" fmla="*/ 152 w 512"/>
                <a:gd name="T9" fmla="*/ 0 h 304"/>
                <a:gd name="T10" fmla="*/ 0 w 512"/>
                <a:gd name="T11" fmla="*/ 152 h 304"/>
                <a:gd name="T12" fmla="*/ 152 w 512"/>
                <a:gd name="T13" fmla="*/ 304 h 304"/>
                <a:gd name="T14" fmla="*/ 299 w 512"/>
                <a:gd name="T15" fmla="*/ 192 h 304"/>
                <a:gd name="T16" fmla="*/ 472 w 512"/>
                <a:gd name="T17" fmla="*/ 192 h 304"/>
                <a:gd name="T18" fmla="*/ 512 w 512"/>
                <a:gd name="T19" fmla="*/ 152 h 304"/>
                <a:gd name="T20" fmla="*/ 512 w 512"/>
                <a:gd name="T21" fmla="*/ 111 h 304"/>
                <a:gd name="T22" fmla="*/ 472 w 512"/>
                <a:gd name="T23" fmla="*/ 71 h 304"/>
                <a:gd name="T24" fmla="*/ 152 w 512"/>
                <a:gd name="T25" fmla="*/ 224 h 304"/>
                <a:gd name="T26" fmla="*/ 80 w 512"/>
                <a:gd name="T27" fmla="*/ 152 h 304"/>
                <a:gd name="T28" fmla="*/ 152 w 512"/>
                <a:gd name="T29" fmla="*/ 80 h 304"/>
                <a:gd name="T30" fmla="*/ 224 w 512"/>
                <a:gd name="T31" fmla="*/ 152 h 304"/>
                <a:gd name="T32" fmla="*/ 152 w 512"/>
                <a:gd name="T33"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04">
                  <a:moveTo>
                    <a:pt x="472" y="71"/>
                  </a:moveTo>
                  <a:cubicBezTo>
                    <a:pt x="450" y="71"/>
                    <a:pt x="432" y="89"/>
                    <a:pt x="432" y="111"/>
                  </a:cubicBezTo>
                  <a:cubicBezTo>
                    <a:pt x="432" y="112"/>
                    <a:pt x="432" y="112"/>
                    <a:pt x="432" y="112"/>
                  </a:cubicBezTo>
                  <a:cubicBezTo>
                    <a:pt x="299" y="112"/>
                    <a:pt x="299" y="112"/>
                    <a:pt x="299" y="112"/>
                  </a:cubicBezTo>
                  <a:cubicBezTo>
                    <a:pt x="281" y="48"/>
                    <a:pt x="222" y="0"/>
                    <a:pt x="152" y="0"/>
                  </a:cubicBezTo>
                  <a:cubicBezTo>
                    <a:pt x="68" y="0"/>
                    <a:pt x="0" y="68"/>
                    <a:pt x="0" y="152"/>
                  </a:cubicBezTo>
                  <a:cubicBezTo>
                    <a:pt x="0" y="236"/>
                    <a:pt x="68" y="304"/>
                    <a:pt x="152" y="304"/>
                  </a:cubicBezTo>
                  <a:cubicBezTo>
                    <a:pt x="222" y="304"/>
                    <a:pt x="281" y="257"/>
                    <a:pt x="299" y="192"/>
                  </a:cubicBezTo>
                  <a:cubicBezTo>
                    <a:pt x="472" y="192"/>
                    <a:pt x="472" y="192"/>
                    <a:pt x="472" y="192"/>
                  </a:cubicBezTo>
                  <a:cubicBezTo>
                    <a:pt x="494" y="192"/>
                    <a:pt x="512" y="174"/>
                    <a:pt x="512" y="152"/>
                  </a:cubicBezTo>
                  <a:cubicBezTo>
                    <a:pt x="512" y="111"/>
                    <a:pt x="512" y="111"/>
                    <a:pt x="512" y="111"/>
                  </a:cubicBezTo>
                  <a:cubicBezTo>
                    <a:pt x="512" y="89"/>
                    <a:pt x="494" y="71"/>
                    <a:pt x="472" y="71"/>
                  </a:cubicBezTo>
                  <a:close/>
                  <a:moveTo>
                    <a:pt x="152" y="224"/>
                  </a:moveTo>
                  <a:cubicBezTo>
                    <a:pt x="112" y="224"/>
                    <a:pt x="80" y="192"/>
                    <a:pt x="80" y="152"/>
                  </a:cubicBezTo>
                  <a:cubicBezTo>
                    <a:pt x="80" y="112"/>
                    <a:pt x="112" y="80"/>
                    <a:pt x="152" y="80"/>
                  </a:cubicBezTo>
                  <a:cubicBezTo>
                    <a:pt x="192" y="80"/>
                    <a:pt x="224" y="112"/>
                    <a:pt x="224" y="152"/>
                  </a:cubicBezTo>
                  <a:cubicBezTo>
                    <a:pt x="224" y="192"/>
                    <a:pt x="192" y="224"/>
                    <a:pt x="152"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30602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5" name="Picture Placeholder 24"/>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
        <p:nvSpPr>
          <p:cNvPr id="6" name="Rectangle 5"/>
          <p:cNvSpPr/>
          <p:nvPr/>
        </p:nvSpPr>
        <p:spPr>
          <a:xfrm>
            <a:off x="0" y="0"/>
            <a:ext cx="12192000" cy="6857999"/>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38CF0689-2EA7-4D04-91A6-18484B1FB1A7}"/>
              </a:ext>
            </a:extLst>
          </p:cNvPr>
          <p:cNvSpPr/>
          <p:nvPr/>
        </p:nvSpPr>
        <p:spPr>
          <a:xfrm flipV="1">
            <a:off x="8792304" y="6857999"/>
            <a:ext cx="858" cy="1589"/>
          </a:xfrm>
          <a:custGeom>
            <a:avLst/>
            <a:gdLst>
              <a:gd name="connsiteX0" fmla="*/ 0 w 858"/>
              <a:gd name="connsiteY0" fmla="*/ 1589 h 1589"/>
              <a:gd name="connsiteX1" fmla="*/ 858 w 858"/>
              <a:gd name="connsiteY1" fmla="*/ 1589 h 1589"/>
              <a:gd name="connsiteX2" fmla="*/ 858 w 858"/>
              <a:gd name="connsiteY2" fmla="*/ 0 h 1589"/>
              <a:gd name="connsiteX3" fmla="*/ 0 w 858"/>
              <a:gd name="connsiteY3" fmla="*/ 1589 h 1589"/>
            </a:gdLst>
            <a:ahLst/>
            <a:cxnLst>
              <a:cxn ang="0">
                <a:pos x="connsiteX0" y="connsiteY0"/>
              </a:cxn>
              <a:cxn ang="0">
                <a:pos x="connsiteX1" y="connsiteY1"/>
              </a:cxn>
              <a:cxn ang="0">
                <a:pos x="connsiteX2" y="connsiteY2"/>
              </a:cxn>
              <a:cxn ang="0">
                <a:pos x="connsiteX3" y="connsiteY3"/>
              </a:cxn>
            </a:cxnLst>
            <a:rect l="l" t="t" r="r" b="b"/>
            <a:pathLst>
              <a:path w="858" h="1589">
                <a:moveTo>
                  <a:pt x="0" y="1589"/>
                </a:moveTo>
                <a:lnTo>
                  <a:pt x="858" y="1589"/>
                </a:lnTo>
                <a:lnTo>
                  <a:pt x="858" y="0"/>
                </a:lnTo>
                <a:lnTo>
                  <a:pt x="0" y="15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8"/>
          <p:cNvSpPr/>
          <p:nvPr/>
        </p:nvSpPr>
        <p:spPr>
          <a:xfrm rot="10800000">
            <a:off x="-1" y="2729564"/>
            <a:ext cx="7533860" cy="1315901"/>
          </a:xfrm>
          <a:custGeom>
            <a:avLst/>
            <a:gdLst>
              <a:gd name="connsiteX0" fmla="*/ 142018 w 783446"/>
              <a:gd name="connsiteY0" fmla="*/ 0 h 372703"/>
              <a:gd name="connsiteX1" fmla="*/ 783446 w 783446"/>
              <a:gd name="connsiteY1" fmla="*/ 0 h 372703"/>
              <a:gd name="connsiteX2" fmla="*/ 783446 w 783446"/>
              <a:gd name="connsiteY2" fmla="*/ 372703 h 372703"/>
              <a:gd name="connsiteX3" fmla="*/ 0 w 783446"/>
              <a:gd name="connsiteY3" fmla="*/ 372703 h 372703"/>
              <a:gd name="connsiteX4" fmla="*/ 0 w 783446"/>
              <a:gd name="connsiteY4" fmla="*/ 142018 h 372703"/>
              <a:gd name="connsiteX5" fmla="*/ 142018 w 783446"/>
              <a:gd name="connsiteY5" fmla="*/ 0 h 372703"/>
              <a:gd name="connsiteX0" fmla="*/ 142018 w 783446"/>
              <a:gd name="connsiteY0" fmla="*/ 0 h 372703"/>
              <a:gd name="connsiteX1" fmla="*/ 783446 w 783446"/>
              <a:gd name="connsiteY1" fmla="*/ 0 h 372703"/>
              <a:gd name="connsiteX2" fmla="*/ 783446 w 783446"/>
              <a:gd name="connsiteY2" fmla="*/ 372703 h 372703"/>
              <a:gd name="connsiteX3" fmla="*/ 0 w 783446"/>
              <a:gd name="connsiteY3" fmla="*/ 372703 h 372703"/>
              <a:gd name="connsiteX4" fmla="*/ 142018 w 783446"/>
              <a:gd name="connsiteY4" fmla="*/ 0 h 372703"/>
              <a:gd name="connsiteX0" fmla="*/ 64698 w 706126"/>
              <a:gd name="connsiteY0" fmla="*/ 0 h 375518"/>
              <a:gd name="connsiteX1" fmla="*/ 706126 w 706126"/>
              <a:gd name="connsiteY1" fmla="*/ 0 h 375518"/>
              <a:gd name="connsiteX2" fmla="*/ 706126 w 706126"/>
              <a:gd name="connsiteY2" fmla="*/ 372703 h 375518"/>
              <a:gd name="connsiteX3" fmla="*/ 0 w 706126"/>
              <a:gd name="connsiteY3" fmla="*/ 375518 h 375518"/>
              <a:gd name="connsiteX4" fmla="*/ 64698 w 706126"/>
              <a:gd name="connsiteY4" fmla="*/ 0 h 375518"/>
              <a:gd name="connsiteX0" fmla="*/ 64698 w 706126"/>
              <a:gd name="connsiteY0" fmla="*/ 0 h 372703"/>
              <a:gd name="connsiteX1" fmla="*/ 706126 w 706126"/>
              <a:gd name="connsiteY1" fmla="*/ 0 h 372703"/>
              <a:gd name="connsiteX2" fmla="*/ 706126 w 706126"/>
              <a:gd name="connsiteY2" fmla="*/ 372703 h 372703"/>
              <a:gd name="connsiteX3" fmla="*/ 0 w 706126"/>
              <a:gd name="connsiteY3" fmla="*/ 372703 h 372703"/>
              <a:gd name="connsiteX4" fmla="*/ 64698 w 706126"/>
              <a:gd name="connsiteY4" fmla="*/ 0 h 37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6" h="372703">
                <a:moveTo>
                  <a:pt x="64698" y="0"/>
                </a:moveTo>
                <a:lnTo>
                  <a:pt x="706126" y="0"/>
                </a:lnTo>
                <a:lnTo>
                  <a:pt x="706126" y="372703"/>
                </a:lnTo>
                <a:lnTo>
                  <a:pt x="0" y="372703"/>
                </a:lnTo>
                <a:lnTo>
                  <a:pt x="64698" y="0"/>
                </a:lnTo>
                <a:close/>
              </a:path>
            </a:pathLst>
          </a:cu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p:cNvSpPr txBox="1"/>
          <p:nvPr/>
        </p:nvSpPr>
        <p:spPr>
          <a:xfrm>
            <a:off x="241283" y="2879683"/>
            <a:ext cx="6955491" cy="1015663"/>
          </a:xfrm>
          <a:prstGeom prst="rect">
            <a:avLst/>
          </a:prstGeom>
          <a:noFill/>
        </p:spPr>
        <p:txBody>
          <a:bodyPr wrap="square" rtlCol="0">
            <a:spAutoFit/>
          </a:bodyPr>
          <a:lstStyle/>
          <a:p>
            <a:r>
              <a:rPr lang="en-US" sz="4000" b="1" dirty="0">
                <a:solidFill>
                  <a:schemeClr val="bg1"/>
                </a:solidFill>
                <a:latin typeface="+mj-lt"/>
                <a:cs typeface="Times New Roman" panose="02020603050405020304" pitchFamily="18" charset="0"/>
              </a:rPr>
              <a:t>PRESENTATION TITLE</a:t>
            </a:r>
          </a:p>
          <a:p>
            <a:r>
              <a:rPr lang="en-US" sz="2000" b="1" dirty="0">
                <a:solidFill>
                  <a:schemeClr val="bg1"/>
                </a:solidFill>
                <a:latin typeface="+mj-lt"/>
                <a:cs typeface="Times New Roman" panose="02020603050405020304" pitchFamily="18" charset="0"/>
              </a:rPr>
              <a:t>With Dark Filter</a:t>
            </a:r>
          </a:p>
        </p:txBody>
      </p:sp>
      <p:pic>
        <p:nvPicPr>
          <p:cNvPr id="2" name="Picture 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76939" y="2962654"/>
            <a:ext cx="3739566" cy="932692"/>
          </a:xfrm>
          <a:prstGeom prst="rect">
            <a:avLst/>
          </a:prstGeom>
        </p:spPr>
      </p:pic>
    </p:spTree>
    <p:extLst>
      <p:ext uri="{BB962C8B-B14F-4D97-AF65-F5344CB8AC3E}">
        <p14:creationId xmlns:p14="http://schemas.microsoft.com/office/powerpoint/2010/main" val="13734219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Chart 34"/>
          <p:cNvGraphicFramePr/>
          <p:nvPr>
            <p:extLst>
              <p:ext uri="{D42A27DB-BD31-4B8C-83A1-F6EECF244321}">
                <p14:modId xmlns:p14="http://schemas.microsoft.com/office/powerpoint/2010/main" val="1297269670"/>
              </p:ext>
            </p:extLst>
          </p:nvPr>
        </p:nvGraphicFramePr>
        <p:xfrm>
          <a:off x="6355272" y="1217672"/>
          <a:ext cx="4981709" cy="4147112"/>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p:cNvSpPr>
            <a:spLocks noGrp="1"/>
          </p:cNvSpPr>
          <p:nvPr>
            <p:ph type="body" sz="quarter" idx="13"/>
          </p:nvPr>
        </p:nvSpPr>
        <p:spPr/>
        <p:txBody>
          <a:bodyPr/>
          <a:lstStyle/>
          <a:p>
            <a:r>
              <a:rPr lang="en-US" dirty="0"/>
              <a:t>Bar Charts</a:t>
            </a:r>
          </a:p>
        </p:txBody>
      </p:sp>
      <p:grpSp>
        <p:nvGrpSpPr>
          <p:cNvPr id="13" name="Group 12"/>
          <p:cNvGrpSpPr/>
          <p:nvPr/>
        </p:nvGrpSpPr>
        <p:grpSpPr>
          <a:xfrm>
            <a:off x="533400" y="1740240"/>
            <a:ext cx="5632450" cy="861774"/>
            <a:chOff x="533400" y="1674928"/>
            <a:chExt cx="5013325" cy="861774"/>
          </a:xfrm>
        </p:grpSpPr>
        <p:sp>
          <p:nvSpPr>
            <p:cNvPr id="30" name="TextBox 29"/>
            <p:cNvSpPr txBox="1"/>
            <p:nvPr/>
          </p:nvSpPr>
          <p:spPr>
            <a:xfrm>
              <a:off x="1745177" y="1674928"/>
              <a:ext cx="3801548" cy="861774"/>
            </a:xfrm>
            <a:prstGeom prst="rect">
              <a:avLst/>
            </a:prstGeom>
            <a:noFill/>
          </p:spPr>
          <p:txBody>
            <a:bodyPr wrap="square" rtlCol="0">
              <a:spAutoFit/>
            </a:bodyPr>
            <a:lstStyle/>
            <a:p>
              <a:r>
                <a:rPr lang="en-US" dirty="0">
                  <a:solidFill>
                    <a:schemeClr val="accent1"/>
                  </a:solidFill>
                  <a:latin typeface="+mj-lt"/>
                </a:rPr>
                <a:t>Your Text Here</a:t>
              </a:r>
              <a:br>
                <a:rPr lang="en-US" dirty="0">
                  <a:solidFill>
                    <a:schemeClr val="accent1"/>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sp>
          <p:nvSpPr>
            <p:cNvPr id="3" name="TextBox 2"/>
            <p:cNvSpPr txBox="1"/>
            <p:nvPr/>
          </p:nvSpPr>
          <p:spPr>
            <a:xfrm>
              <a:off x="533400" y="1690317"/>
              <a:ext cx="1076325" cy="707886"/>
            </a:xfrm>
            <a:prstGeom prst="rect">
              <a:avLst/>
            </a:prstGeom>
            <a:noFill/>
          </p:spPr>
          <p:txBody>
            <a:bodyPr wrap="square" rtlCol="0">
              <a:spAutoFit/>
            </a:bodyPr>
            <a:lstStyle/>
            <a:p>
              <a:r>
                <a:rPr lang="en-US" sz="4000" dirty="0">
                  <a:solidFill>
                    <a:schemeClr val="accent1"/>
                  </a:solidFill>
                </a:rPr>
                <a:t>60%</a:t>
              </a:r>
            </a:p>
          </p:txBody>
        </p:sp>
        <p:cxnSp>
          <p:nvCxnSpPr>
            <p:cNvPr id="5" name="Straight Connector 4"/>
            <p:cNvCxnSpPr/>
            <p:nvPr/>
          </p:nvCxnSpPr>
          <p:spPr>
            <a:xfrm>
              <a:off x="1659452" y="1810898"/>
              <a:ext cx="0" cy="46672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533400" y="2743751"/>
            <a:ext cx="5632450" cy="861774"/>
            <a:chOff x="533400" y="2727077"/>
            <a:chExt cx="5013325" cy="861774"/>
          </a:xfrm>
        </p:grpSpPr>
        <p:sp>
          <p:nvSpPr>
            <p:cNvPr id="28" name="TextBox 27"/>
            <p:cNvSpPr txBox="1"/>
            <p:nvPr/>
          </p:nvSpPr>
          <p:spPr>
            <a:xfrm>
              <a:off x="1745177" y="2727077"/>
              <a:ext cx="3801548" cy="861774"/>
            </a:xfrm>
            <a:prstGeom prst="rect">
              <a:avLst/>
            </a:prstGeom>
            <a:noFill/>
          </p:spPr>
          <p:txBody>
            <a:bodyPr wrap="square" rtlCol="0">
              <a:spAutoFit/>
            </a:bodyPr>
            <a:lstStyle/>
            <a:p>
              <a:r>
                <a:rPr lang="en-US" dirty="0">
                  <a:solidFill>
                    <a:schemeClr val="accent2"/>
                  </a:solidFill>
                  <a:latin typeface="+mj-lt"/>
                </a:rPr>
                <a:t>Your Text Here</a:t>
              </a:r>
              <a:br>
                <a:rPr lang="en-US" dirty="0">
                  <a:solidFill>
                    <a:srgbClr val="9EA1A4"/>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sp>
          <p:nvSpPr>
            <p:cNvPr id="17" name="TextBox 16"/>
            <p:cNvSpPr txBox="1"/>
            <p:nvPr/>
          </p:nvSpPr>
          <p:spPr>
            <a:xfrm>
              <a:off x="533400" y="2742466"/>
              <a:ext cx="1076325" cy="707886"/>
            </a:xfrm>
            <a:prstGeom prst="rect">
              <a:avLst/>
            </a:prstGeom>
            <a:noFill/>
          </p:spPr>
          <p:txBody>
            <a:bodyPr wrap="square" rtlCol="0">
              <a:spAutoFit/>
            </a:bodyPr>
            <a:lstStyle/>
            <a:p>
              <a:r>
                <a:rPr lang="en-US" sz="4000" dirty="0">
                  <a:solidFill>
                    <a:schemeClr val="accent2"/>
                  </a:solidFill>
                </a:rPr>
                <a:t>50%</a:t>
              </a:r>
            </a:p>
          </p:txBody>
        </p:sp>
        <p:cxnSp>
          <p:nvCxnSpPr>
            <p:cNvPr id="23" name="Straight Connector 22"/>
            <p:cNvCxnSpPr/>
            <p:nvPr/>
          </p:nvCxnSpPr>
          <p:spPr>
            <a:xfrm>
              <a:off x="1659452" y="2863047"/>
              <a:ext cx="0" cy="46672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533400" y="3747262"/>
            <a:ext cx="5632450" cy="861774"/>
            <a:chOff x="533400" y="3704592"/>
            <a:chExt cx="5013325" cy="861774"/>
          </a:xfrm>
        </p:grpSpPr>
        <p:sp>
          <p:nvSpPr>
            <p:cNvPr id="31" name="TextBox 30"/>
            <p:cNvSpPr txBox="1"/>
            <p:nvPr/>
          </p:nvSpPr>
          <p:spPr>
            <a:xfrm>
              <a:off x="1745177" y="3704592"/>
              <a:ext cx="3801548" cy="861774"/>
            </a:xfrm>
            <a:prstGeom prst="rect">
              <a:avLst/>
            </a:prstGeom>
            <a:noFill/>
          </p:spPr>
          <p:txBody>
            <a:bodyPr wrap="square" rtlCol="0">
              <a:spAutoFit/>
            </a:bodyPr>
            <a:lstStyle/>
            <a:p>
              <a:pPr>
                <a:tabLst>
                  <a:tab pos="2286000" algn="l"/>
                </a:tabLst>
              </a:pPr>
              <a:r>
                <a:rPr lang="en-US" dirty="0">
                  <a:solidFill>
                    <a:schemeClr val="accent3"/>
                  </a:solidFill>
                  <a:latin typeface="+mj-lt"/>
                </a:rPr>
                <a:t>Your Text Here</a:t>
              </a:r>
              <a:br>
                <a:rPr lang="en-US" dirty="0">
                  <a:solidFill>
                    <a:srgbClr val="00BFE7"/>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sp>
          <p:nvSpPr>
            <p:cNvPr id="18" name="TextBox 17"/>
            <p:cNvSpPr txBox="1"/>
            <p:nvPr/>
          </p:nvSpPr>
          <p:spPr>
            <a:xfrm>
              <a:off x="533400" y="3719981"/>
              <a:ext cx="1076325" cy="707886"/>
            </a:xfrm>
            <a:prstGeom prst="rect">
              <a:avLst/>
            </a:prstGeom>
            <a:noFill/>
          </p:spPr>
          <p:txBody>
            <a:bodyPr wrap="square" rtlCol="0">
              <a:spAutoFit/>
            </a:bodyPr>
            <a:lstStyle/>
            <a:p>
              <a:r>
                <a:rPr lang="en-US" sz="4000" dirty="0">
                  <a:solidFill>
                    <a:schemeClr val="accent3"/>
                  </a:solidFill>
                </a:rPr>
                <a:t>50%</a:t>
              </a:r>
            </a:p>
          </p:txBody>
        </p:sp>
        <p:cxnSp>
          <p:nvCxnSpPr>
            <p:cNvPr id="24" name="Straight Connector 23"/>
            <p:cNvCxnSpPr/>
            <p:nvPr/>
          </p:nvCxnSpPr>
          <p:spPr>
            <a:xfrm>
              <a:off x="1659452" y="3840562"/>
              <a:ext cx="0" cy="46672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533400" y="4750774"/>
            <a:ext cx="5632450" cy="861774"/>
            <a:chOff x="533400" y="4685462"/>
            <a:chExt cx="5013325" cy="861774"/>
          </a:xfrm>
        </p:grpSpPr>
        <p:sp>
          <p:nvSpPr>
            <p:cNvPr id="32" name="TextBox 31"/>
            <p:cNvSpPr txBox="1"/>
            <p:nvPr/>
          </p:nvSpPr>
          <p:spPr>
            <a:xfrm>
              <a:off x="1745177" y="4685462"/>
              <a:ext cx="3801548" cy="861774"/>
            </a:xfrm>
            <a:prstGeom prst="rect">
              <a:avLst/>
            </a:prstGeom>
            <a:noFill/>
          </p:spPr>
          <p:txBody>
            <a:bodyPr wrap="square" rtlCol="0">
              <a:spAutoFit/>
            </a:bodyPr>
            <a:lstStyle/>
            <a:p>
              <a:r>
                <a:rPr lang="en-US" dirty="0">
                  <a:solidFill>
                    <a:schemeClr val="accent4"/>
                  </a:solidFill>
                  <a:latin typeface="+mj-lt"/>
                </a:rPr>
                <a:t>Your Text Here</a:t>
              </a:r>
              <a:br>
                <a:rPr lang="en-US" dirty="0">
                  <a:solidFill>
                    <a:schemeClr val="accent4"/>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sp>
          <p:nvSpPr>
            <p:cNvPr id="20" name="TextBox 19"/>
            <p:cNvSpPr txBox="1"/>
            <p:nvPr/>
          </p:nvSpPr>
          <p:spPr>
            <a:xfrm>
              <a:off x="533400" y="4700851"/>
              <a:ext cx="1076325" cy="707886"/>
            </a:xfrm>
            <a:prstGeom prst="rect">
              <a:avLst/>
            </a:prstGeom>
            <a:noFill/>
          </p:spPr>
          <p:txBody>
            <a:bodyPr wrap="square" rtlCol="0">
              <a:spAutoFit/>
            </a:bodyPr>
            <a:lstStyle/>
            <a:p>
              <a:r>
                <a:rPr lang="en-US" sz="4000" dirty="0">
                  <a:solidFill>
                    <a:schemeClr val="accent4"/>
                  </a:solidFill>
                </a:rPr>
                <a:t>50%</a:t>
              </a:r>
            </a:p>
          </p:txBody>
        </p:sp>
        <p:cxnSp>
          <p:nvCxnSpPr>
            <p:cNvPr id="27" name="Straight Connector 26"/>
            <p:cNvCxnSpPr/>
            <p:nvPr/>
          </p:nvCxnSpPr>
          <p:spPr>
            <a:xfrm>
              <a:off x="1659452" y="4821432"/>
              <a:ext cx="0" cy="46672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411746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p:cNvPicPr>
            <a:picLocks noGrp="1" noChangeAspect="1"/>
          </p:cNvPicPr>
          <p:nvPr>
            <p:ph type="pic" sz="quarter" idx="29"/>
          </p:nvPr>
        </p:nvPicPr>
        <p:blipFill>
          <a:blip r:embed="rId3" cstate="screen">
            <a:extLst>
              <a:ext uri="{28A0092B-C50C-407E-A947-70E740481C1C}">
                <a14:useLocalDpi xmlns:a14="http://schemas.microsoft.com/office/drawing/2010/main"/>
              </a:ext>
            </a:extLst>
          </a:blip>
          <a:srcRect/>
          <a:stretch>
            <a:fillRect/>
          </a:stretch>
        </p:blipFill>
        <p:spPr/>
      </p:pic>
      <p:pic>
        <p:nvPicPr>
          <p:cNvPr id="16" name="Picture Placeholder 15"/>
          <p:cNvPicPr>
            <a:picLocks noGrp="1" noChangeAspect="1"/>
          </p:cNvPicPr>
          <p:nvPr>
            <p:ph type="pic" sz="quarter" idx="30"/>
          </p:nvPr>
        </p:nvPicPr>
        <p:blipFill>
          <a:blip r:embed="rId4" cstate="screen">
            <a:extLst>
              <a:ext uri="{28A0092B-C50C-407E-A947-70E740481C1C}">
                <a14:useLocalDpi xmlns:a14="http://schemas.microsoft.com/office/drawing/2010/main"/>
              </a:ext>
            </a:extLst>
          </a:blip>
          <a:srcRect/>
          <a:stretch>
            <a:fillRect/>
          </a:stretch>
        </p:blipFill>
        <p:spPr/>
      </p:pic>
      <p:pic>
        <p:nvPicPr>
          <p:cNvPr id="17" name="Picture Placeholder 16"/>
          <p:cNvPicPr>
            <a:picLocks noGrp="1" noChangeAspect="1"/>
          </p:cNvPicPr>
          <p:nvPr>
            <p:ph type="pic" sz="quarter" idx="31"/>
          </p:nvPr>
        </p:nvPicPr>
        <p:blipFill>
          <a:blip r:embed="rId5" cstate="screen">
            <a:extLst>
              <a:ext uri="{28A0092B-C50C-407E-A947-70E740481C1C}">
                <a14:useLocalDpi xmlns:a14="http://schemas.microsoft.com/office/drawing/2010/main"/>
              </a:ext>
            </a:extLst>
          </a:blip>
          <a:srcRect/>
          <a:stretch>
            <a:fillRect/>
          </a:stretch>
        </p:blipFill>
        <p:spPr/>
      </p:pic>
      <p:pic>
        <p:nvPicPr>
          <p:cNvPr id="22" name="Picture Placeholder 21"/>
          <p:cNvPicPr>
            <a:picLocks noGrp="1" noChangeAspect="1"/>
          </p:cNvPicPr>
          <p:nvPr>
            <p:ph type="pic" sz="quarter" idx="32"/>
          </p:nvPr>
        </p:nvPicPr>
        <p:blipFill>
          <a:blip r:embed="rId6" cstate="screen">
            <a:extLst>
              <a:ext uri="{28A0092B-C50C-407E-A947-70E740481C1C}">
                <a14:useLocalDpi xmlns:a14="http://schemas.microsoft.com/office/drawing/2010/main"/>
              </a:ext>
            </a:extLst>
          </a:blip>
          <a:srcRect/>
          <a:stretch>
            <a:fillRect/>
          </a:stretch>
        </p:blipFill>
        <p:spPr/>
      </p:pic>
      <p:sp>
        <p:nvSpPr>
          <p:cNvPr id="4" name="Text Placeholder 3"/>
          <p:cNvSpPr>
            <a:spLocks noGrp="1"/>
          </p:cNvSpPr>
          <p:nvPr>
            <p:ph type="body" sz="quarter" idx="13"/>
          </p:nvPr>
        </p:nvSpPr>
        <p:spPr/>
        <p:txBody>
          <a:bodyPr/>
          <a:lstStyle/>
          <a:p>
            <a:r>
              <a:rPr lang="en-US" dirty="0"/>
              <a:t>Images + Icon combination</a:t>
            </a:r>
          </a:p>
        </p:txBody>
      </p:sp>
      <p:sp>
        <p:nvSpPr>
          <p:cNvPr id="18" name="Rectangle 17"/>
          <p:cNvSpPr/>
          <p:nvPr/>
        </p:nvSpPr>
        <p:spPr>
          <a:xfrm>
            <a:off x="674494" y="3435361"/>
            <a:ext cx="2374425" cy="242358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19" name="Rectangle 18"/>
          <p:cNvSpPr/>
          <p:nvPr/>
        </p:nvSpPr>
        <p:spPr>
          <a:xfrm>
            <a:off x="3489883" y="3435361"/>
            <a:ext cx="2374425" cy="242358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20" name="Rectangle 19"/>
          <p:cNvSpPr/>
          <p:nvPr/>
        </p:nvSpPr>
        <p:spPr>
          <a:xfrm>
            <a:off x="6305273" y="3435361"/>
            <a:ext cx="2374425" cy="242358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21" name="Rectangle 20"/>
          <p:cNvSpPr/>
          <p:nvPr/>
        </p:nvSpPr>
        <p:spPr>
          <a:xfrm>
            <a:off x="9120663" y="3435361"/>
            <a:ext cx="2374425" cy="242358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8" name="Rectangle 7"/>
          <p:cNvSpPr/>
          <p:nvPr/>
        </p:nvSpPr>
        <p:spPr>
          <a:xfrm flipV="1">
            <a:off x="1569209" y="3146313"/>
            <a:ext cx="561012" cy="561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28" name="Rectangle 27"/>
          <p:cNvSpPr/>
          <p:nvPr/>
        </p:nvSpPr>
        <p:spPr>
          <a:xfrm flipV="1">
            <a:off x="7211980" y="3146313"/>
            <a:ext cx="561012" cy="561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grpSp>
        <p:nvGrpSpPr>
          <p:cNvPr id="10" name="Group 9"/>
          <p:cNvGrpSpPr/>
          <p:nvPr/>
        </p:nvGrpSpPr>
        <p:grpSpPr>
          <a:xfrm>
            <a:off x="989923" y="3897562"/>
            <a:ext cx="10184381" cy="1712549"/>
            <a:chOff x="1874085" y="7798472"/>
            <a:chExt cx="20368761" cy="3425098"/>
          </a:xfrm>
        </p:grpSpPr>
        <p:sp>
          <p:nvSpPr>
            <p:cNvPr id="32" name="TextBox 31"/>
            <p:cNvSpPr txBox="1"/>
            <p:nvPr/>
          </p:nvSpPr>
          <p:spPr>
            <a:xfrm>
              <a:off x="2796281" y="7798472"/>
              <a:ext cx="1638910" cy="615554"/>
            </a:xfrm>
            <a:prstGeom prst="rect">
              <a:avLst/>
            </a:prstGeom>
            <a:noFill/>
          </p:spPr>
          <p:txBody>
            <a:bodyPr wrap="none" rtlCol="0">
              <a:spAutoFit/>
            </a:bodyPr>
            <a:lstStyle/>
            <a:p>
              <a:pPr algn="ctr"/>
              <a:r>
                <a:rPr lang="en-US" sz="1400" b="1" spc="300" dirty="0">
                  <a:solidFill>
                    <a:schemeClr val="accent1"/>
                  </a:solidFill>
                  <a:latin typeface="+mj-lt"/>
                  <a:ea typeface="Montserrat Semi" charset="0"/>
                  <a:cs typeface="Calibri" panose="020F0502020204030204" pitchFamily="34" charset="0"/>
                </a:rPr>
                <a:t>Start</a:t>
              </a:r>
            </a:p>
          </p:txBody>
        </p:sp>
        <p:sp>
          <p:nvSpPr>
            <p:cNvPr id="33" name="TextBox 32"/>
            <p:cNvSpPr txBox="1"/>
            <p:nvPr/>
          </p:nvSpPr>
          <p:spPr>
            <a:xfrm>
              <a:off x="1874085" y="8366122"/>
              <a:ext cx="3450704" cy="2857448"/>
            </a:xfrm>
            <a:prstGeom prst="rect">
              <a:avLst/>
            </a:prstGeom>
            <a:noFill/>
          </p:spPr>
          <p:txBody>
            <a:bodyPr wrap="square" rtlCol="0">
              <a:spAutoFit/>
            </a:bodyPr>
            <a:lstStyle/>
            <a:p>
              <a:pPr algn="ctr">
                <a:lnSpc>
                  <a:spcPct val="140000"/>
                </a:lnSpc>
              </a:pPr>
              <a:r>
                <a:rPr lang="en-US" sz="1600" dirty="0">
                  <a:latin typeface="+mj-lt"/>
                  <a:ea typeface="Montserrat Light" charset="0"/>
                  <a:cs typeface="Calibri" panose="020F0502020204030204" pitchFamily="34" charset="0"/>
                </a:rPr>
                <a:t>The Universe is all of time and space and its contents.</a:t>
              </a:r>
            </a:p>
          </p:txBody>
        </p:sp>
        <p:sp>
          <p:nvSpPr>
            <p:cNvPr id="34" name="TextBox 33"/>
            <p:cNvSpPr txBox="1"/>
            <p:nvPr/>
          </p:nvSpPr>
          <p:spPr>
            <a:xfrm>
              <a:off x="8205305" y="7798472"/>
              <a:ext cx="2139048" cy="615554"/>
            </a:xfrm>
            <a:prstGeom prst="rect">
              <a:avLst/>
            </a:prstGeom>
            <a:noFill/>
          </p:spPr>
          <p:txBody>
            <a:bodyPr wrap="none" rtlCol="0">
              <a:spAutoFit/>
            </a:bodyPr>
            <a:lstStyle/>
            <a:p>
              <a:pPr algn="ctr"/>
              <a:r>
                <a:rPr lang="en-US" sz="1400" b="1" spc="300" dirty="0">
                  <a:solidFill>
                    <a:schemeClr val="accent1"/>
                  </a:solidFill>
                  <a:latin typeface="+mj-lt"/>
                  <a:ea typeface="Montserrat Semi" charset="0"/>
                  <a:cs typeface="Calibri" panose="020F0502020204030204" pitchFamily="34" charset="0"/>
                </a:rPr>
                <a:t>Inspire</a:t>
              </a:r>
            </a:p>
          </p:txBody>
        </p:sp>
        <p:sp>
          <p:nvSpPr>
            <p:cNvPr id="35" name="TextBox 34"/>
            <p:cNvSpPr txBox="1"/>
            <p:nvPr/>
          </p:nvSpPr>
          <p:spPr>
            <a:xfrm>
              <a:off x="7533179" y="8366122"/>
              <a:ext cx="3450704" cy="2857448"/>
            </a:xfrm>
            <a:prstGeom prst="rect">
              <a:avLst/>
            </a:prstGeom>
            <a:noFill/>
          </p:spPr>
          <p:txBody>
            <a:bodyPr wrap="square" rtlCol="0">
              <a:spAutoFit/>
            </a:bodyPr>
            <a:lstStyle/>
            <a:p>
              <a:pPr algn="ctr">
                <a:lnSpc>
                  <a:spcPct val="140000"/>
                </a:lnSpc>
              </a:pPr>
              <a:r>
                <a:rPr lang="en-US" sz="1600" dirty="0">
                  <a:latin typeface="+mj-lt"/>
                  <a:ea typeface="Montserrat Light" charset="0"/>
                  <a:cs typeface="Calibri" panose="020F0502020204030204" pitchFamily="34" charset="0"/>
                </a:rPr>
                <a:t>The Universe is all of time and space and its contents.</a:t>
              </a:r>
            </a:p>
          </p:txBody>
        </p:sp>
        <p:sp>
          <p:nvSpPr>
            <p:cNvPr id="36" name="TextBox 35"/>
            <p:cNvSpPr txBox="1"/>
            <p:nvPr/>
          </p:nvSpPr>
          <p:spPr>
            <a:xfrm>
              <a:off x="14093334" y="7798472"/>
              <a:ext cx="1597234" cy="615554"/>
            </a:xfrm>
            <a:prstGeom prst="rect">
              <a:avLst/>
            </a:prstGeom>
            <a:noFill/>
          </p:spPr>
          <p:txBody>
            <a:bodyPr wrap="none" rtlCol="0">
              <a:spAutoFit/>
            </a:bodyPr>
            <a:lstStyle/>
            <a:p>
              <a:pPr algn="ctr"/>
              <a:r>
                <a:rPr lang="en-US" sz="1400" b="1" spc="300" dirty="0">
                  <a:solidFill>
                    <a:schemeClr val="accent1"/>
                  </a:solidFill>
                  <a:latin typeface="+mj-lt"/>
                  <a:ea typeface="Montserrat Semi" charset="0"/>
                  <a:cs typeface="Calibri" panose="020F0502020204030204" pitchFamily="34" charset="0"/>
                </a:rPr>
                <a:t>Send</a:t>
              </a:r>
            </a:p>
          </p:txBody>
        </p:sp>
        <p:sp>
          <p:nvSpPr>
            <p:cNvPr id="37" name="TextBox 36"/>
            <p:cNvSpPr txBox="1"/>
            <p:nvPr/>
          </p:nvSpPr>
          <p:spPr>
            <a:xfrm>
              <a:off x="13150302" y="8366122"/>
              <a:ext cx="3450704" cy="2857448"/>
            </a:xfrm>
            <a:prstGeom prst="rect">
              <a:avLst/>
            </a:prstGeom>
            <a:noFill/>
          </p:spPr>
          <p:txBody>
            <a:bodyPr wrap="square" rtlCol="0">
              <a:spAutoFit/>
            </a:bodyPr>
            <a:lstStyle/>
            <a:p>
              <a:pPr algn="ctr">
                <a:lnSpc>
                  <a:spcPct val="140000"/>
                </a:lnSpc>
              </a:pPr>
              <a:r>
                <a:rPr lang="en-US" sz="1600" dirty="0">
                  <a:latin typeface="+mj-lt"/>
                  <a:ea typeface="Montserrat Light" charset="0"/>
                  <a:cs typeface="Calibri" panose="020F0502020204030204" pitchFamily="34" charset="0"/>
                </a:rPr>
                <a:t>The Universe is all of time and space and its contents.</a:t>
              </a:r>
            </a:p>
          </p:txBody>
        </p:sp>
        <p:sp>
          <p:nvSpPr>
            <p:cNvPr id="38" name="TextBox 37"/>
            <p:cNvSpPr txBox="1"/>
            <p:nvPr/>
          </p:nvSpPr>
          <p:spPr>
            <a:xfrm>
              <a:off x="19706320" y="7798472"/>
              <a:ext cx="1654940" cy="615554"/>
            </a:xfrm>
            <a:prstGeom prst="rect">
              <a:avLst/>
            </a:prstGeom>
            <a:noFill/>
          </p:spPr>
          <p:txBody>
            <a:bodyPr wrap="none" rtlCol="0">
              <a:spAutoFit/>
            </a:bodyPr>
            <a:lstStyle/>
            <a:p>
              <a:pPr algn="ctr"/>
              <a:r>
                <a:rPr lang="en-US" sz="1400" b="1" spc="300" dirty="0">
                  <a:solidFill>
                    <a:schemeClr val="accent1"/>
                  </a:solidFill>
                  <a:latin typeface="+mj-lt"/>
                  <a:ea typeface="Montserrat Semi" charset="0"/>
                  <a:cs typeface="Calibri" panose="020F0502020204030204" pitchFamily="34" charset="0"/>
                </a:rPr>
                <a:t>Grow</a:t>
              </a:r>
            </a:p>
          </p:txBody>
        </p:sp>
        <p:sp>
          <p:nvSpPr>
            <p:cNvPr id="39" name="TextBox 38"/>
            <p:cNvSpPr txBox="1"/>
            <p:nvPr/>
          </p:nvSpPr>
          <p:spPr>
            <a:xfrm>
              <a:off x="18792142" y="8366122"/>
              <a:ext cx="3450704" cy="2857448"/>
            </a:xfrm>
            <a:prstGeom prst="rect">
              <a:avLst/>
            </a:prstGeom>
            <a:noFill/>
          </p:spPr>
          <p:txBody>
            <a:bodyPr wrap="square" rtlCol="0">
              <a:spAutoFit/>
            </a:bodyPr>
            <a:lstStyle/>
            <a:p>
              <a:pPr algn="ctr">
                <a:lnSpc>
                  <a:spcPct val="140000"/>
                </a:lnSpc>
              </a:pPr>
              <a:r>
                <a:rPr lang="en-US" sz="1600" dirty="0">
                  <a:latin typeface="+mj-lt"/>
                  <a:ea typeface="Montserrat Light" charset="0"/>
                  <a:cs typeface="Calibri" panose="020F0502020204030204" pitchFamily="34" charset="0"/>
                </a:rPr>
                <a:t>The Universe is all of time and space and its contents.</a:t>
              </a:r>
            </a:p>
          </p:txBody>
        </p:sp>
      </p:grpSp>
      <p:sp>
        <p:nvSpPr>
          <p:cNvPr id="40" name="Shape 2525"/>
          <p:cNvSpPr/>
          <p:nvPr/>
        </p:nvSpPr>
        <p:spPr>
          <a:xfrm>
            <a:off x="1711669" y="3273629"/>
            <a:ext cx="270406" cy="270406"/>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42" name="Shape 2567"/>
          <p:cNvSpPr/>
          <p:nvPr/>
        </p:nvSpPr>
        <p:spPr>
          <a:xfrm>
            <a:off x="7359313" y="3273620"/>
            <a:ext cx="270406" cy="270415"/>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11782"/>
                </a:moveTo>
                <a:cubicBezTo>
                  <a:pt x="7584" y="11782"/>
                  <a:pt x="7364" y="12001"/>
                  <a:pt x="7364" y="12272"/>
                </a:cubicBezTo>
                <a:cubicBezTo>
                  <a:pt x="7364" y="12408"/>
                  <a:pt x="7419" y="12531"/>
                  <a:pt x="7507" y="12619"/>
                </a:cubicBezTo>
                <a:lnTo>
                  <a:pt x="10453" y="15565"/>
                </a:lnTo>
                <a:cubicBezTo>
                  <a:pt x="10542" y="15654"/>
                  <a:pt x="10665" y="15709"/>
                  <a:pt x="10800" y="15709"/>
                </a:cubicBezTo>
                <a:cubicBezTo>
                  <a:pt x="10935" y="15709"/>
                  <a:pt x="11058" y="15654"/>
                  <a:pt x="11147" y="15565"/>
                </a:cubicBezTo>
                <a:lnTo>
                  <a:pt x="14093" y="12619"/>
                </a:lnTo>
                <a:cubicBezTo>
                  <a:pt x="14181" y="12531"/>
                  <a:pt x="14236" y="12408"/>
                  <a:pt x="14236" y="12272"/>
                </a:cubicBezTo>
                <a:cubicBezTo>
                  <a:pt x="14236" y="12001"/>
                  <a:pt x="14016" y="11782"/>
                  <a:pt x="13745" y="11782"/>
                </a:cubicBezTo>
                <a:cubicBezTo>
                  <a:pt x="13610" y="11782"/>
                  <a:pt x="13487" y="11837"/>
                  <a:pt x="13398" y="11925"/>
                </a:cubicBezTo>
                <a:lnTo>
                  <a:pt x="11291" y="14033"/>
                </a:lnTo>
                <a:lnTo>
                  <a:pt x="11291" y="492"/>
                </a:lnTo>
                <a:lnTo>
                  <a:pt x="11291" y="491"/>
                </a:lnTo>
                <a:cubicBezTo>
                  <a:pt x="11291" y="220"/>
                  <a:pt x="11071" y="0"/>
                  <a:pt x="10800" y="0"/>
                </a:cubicBezTo>
                <a:cubicBezTo>
                  <a:pt x="10529" y="0"/>
                  <a:pt x="10309" y="220"/>
                  <a:pt x="10309" y="491"/>
                </a:cubicBezTo>
                <a:lnTo>
                  <a:pt x="10309" y="14033"/>
                </a:lnTo>
                <a:lnTo>
                  <a:pt x="8202" y="11925"/>
                </a:lnTo>
                <a:cubicBezTo>
                  <a:pt x="8113" y="11837"/>
                  <a:pt x="7990" y="11782"/>
                  <a:pt x="7855"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29" name="Rectangle 28"/>
          <p:cNvSpPr/>
          <p:nvPr/>
        </p:nvSpPr>
        <p:spPr>
          <a:xfrm flipV="1">
            <a:off x="10027369" y="3146313"/>
            <a:ext cx="561012" cy="561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43" name="Shape 2605"/>
          <p:cNvSpPr/>
          <p:nvPr/>
        </p:nvSpPr>
        <p:spPr>
          <a:xfrm>
            <a:off x="10170783" y="3274121"/>
            <a:ext cx="270534" cy="270527"/>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24" name="Rectangle 23"/>
          <p:cNvSpPr/>
          <p:nvPr/>
        </p:nvSpPr>
        <p:spPr>
          <a:xfrm flipV="1">
            <a:off x="4408893" y="3146313"/>
            <a:ext cx="561012" cy="561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41" name="Shape 2550"/>
          <p:cNvSpPr/>
          <p:nvPr/>
        </p:nvSpPr>
        <p:spPr>
          <a:xfrm>
            <a:off x="4551097" y="3274522"/>
            <a:ext cx="270406" cy="270406"/>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Tree>
    <p:extLst>
      <p:ext uri="{BB962C8B-B14F-4D97-AF65-F5344CB8AC3E}">
        <p14:creationId xmlns:p14="http://schemas.microsoft.com/office/powerpoint/2010/main" val="41016737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22"/>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a:fillRect/>
          </a:stretch>
        </p:blipFill>
        <p:spPr>
          <a:xfrm>
            <a:off x="0" y="1409026"/>
            <a:ext cx="12192000" cy="2973142"/>
          </a:xfrm>
        </p:spPr>
      </p:pic>
      <p:sp>
        <p:nvSpPr>
          <p:cNvPr id="22" name="Text Placeholder 21"/>
          <p:cNvSpPr>
            <a:spLocks noGrp="1"/>
          </p:cNvSpPr>
          <p:nvPr>
            <p:ph type="body" sz="quarter" idx="14"/>
          </p:nvPr>
        </p:nvSpPr>
        <p:spPr/>
        <p:txBody>
          <a:bodyPr/>
          <a:lstStyle/>
          <a:p>
            <a:r>
              <a:rPr lang="en-US" dirty="0"/>
              <a:t>Data Chart (alternate)</a:t>
            </a:r>
          </a:p>
        </p:txBody>
      </p:sp>
      <p:sp>
        <p:nvSpPr>
          <p:cNvPr id="24" name="Rectangle 23"/>
          <p:cNvSpPr/>
          <p:nvPr/>
        </p:nvSpPr>
        <p:spPr>
          <a:xfrm>
            <a:off x="0" y="1409026"/>
            <a:ext cx="12192000" cy="2973142"/>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Chart 4"/>
          <p:cNvGraphicFramePr/>
          <p:nvPr>
            <p:extLst>
              <p:ext uri="{D42A27DB-BD31-4B8C-83A1-F6EECF244321}">
                <p14:modId xmlns:p14="http://schemas.microsoft.com/office/powerpoint/2010/main" val="3898216891"/>
              </p:ext>
            </p:extLst>
          </p:nvPr>
        </p:nvGraphicFramePr>
        <p:xfrm>
          <a:off x="824092" y="2618975"/>
          <a:ext cx="2638441" cy="20811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p:nvPr>
            <p:extLst>
              <p:ext uri="{D42A27DB-BD31-4B8C-83A1-F6EECF244321}">
                <p14:modId xmlns:p14="http://schemas.microsoft.com/office/powerpoint/2010/main" val="1998166971"/>
              </p:ext>
            </p:extLst>
          </p:nvPr>
        </p:nvGraphicFramePr>
        <p:xfrm>
          <a:off x="894275" y="1893427"/>
          <a:ext cx="2722636" cy="2152650"/>
        </p:xfrm>
        <a:graphic>
          <a:graphicData uri="http://schemas.openxmlformats.org/drawingml/2006/chart">
            <c:chart xmlns:c="http://schemas.openxmlformats.org/drawingml/2006/chart" xmlns:r="http://schemas.openxmlformats.org/officeDocument/2006/relationships" r:id="rId4"/>
          </a:graphicData>
        </a:graphic>
      </p:graphicFrame>
      <p:sp>
        <p:nvSpPr>
          <p:cNvPr id="6" name="Текст 7"/>
          <p:cNvSpPr txBox="1">
            <a:spLocks/>
          </p:cNvSpPr>
          <p:nvPr/>
        </p:nvSpPr>
        <p:spPr>
          <a:xfrm>
            <a:off x="1562720" y="2668344"/>
            <a:ext cx="1400175" cy="523874"/>
          </a:xfrm>
          <a:prstGeom prst="rect">
            <a:avLst/>
          </a:prstGeom>
        </p:spPr>
        <p:txBody>
          <a:bodyPr tIns="0" anchor="ctr" anchorCtr="0">
            <a:noAutofit/>
          </a:bodyPr>
          <a:lstStyle>
            <a:lvl1pPr marL="0" marR="0" indent="0" algn="ctr" defTabSz="914318" rtl="0" eaLnBrk="1" fontAlgn="auto" latinLnBrk="0" hangingPunct="1">
              <a:lnSpc>
                <a:spcPct val="145000"/>
              </a:lnSpc>
              <a:spcBef>
                <a:spcPts val="0"/>
              </a:spcBef>
              <a:spcAft>
                <a:spcPts val="0"/>
              </a:spcAft>
              <a:buClrTx/>
              <a:buSzTx/>
              <a:buFont typeface="Arial" panose="020B0604020202020204" pitchFamily="34" charset="0"/>
              <a:buNone/>
              <a:tabLst/>
              <a:defRPr sz="1800" b="0" i="0" kern="1200" baseline="0">
                <a:solidFill>
                  <a:schemeClr val="tx1"/>
                </a:solidFill>
                <a:latin typeface="+mj-lt"/>
                <a:ea typeface="Source Sans Pro" charset="0"/>
                <a:cs typeface="Source Sans Pro" charset="0"/>
              </a:defRPr>
            </a:lvl1pPr>
            <a:lvl2pPr marL="685800" indent="-228600" algn="ctr" defTabSz="914400" rtl="0" eaLnBrk="1" latinLnBrk="0" hangingPunct="1">
              <a:lnSpc>
                <a:spcPct val="90000"/>
              </a:lnSpc>
              <a:spcBef>
                <a:spcPts val="500"/>
              </a:spcBef>
              <a:buFont typeface="Arial"/>
              <a:buChar char="•"/>
              <a:defRPr sz="2400" b="0" i="0" kern="1200">
                <a:solidFill>
                  <a:schemeClr val="tx1">
                    <a:alpha val="60000"/>
                  </a:schemeClr>
                </a:solidFill>
                <a:latin typeface="Source Sans Pro" charset="0"/>
                <a:ea typeface="Source Sans Pro" charset="0"/>
                <a:cs typeface="Source Sans Pro" charset="0"/>
              </a:defRPr>
            </a:lvl2pPr>
            <a:lvl3pPr marL="1143000" indent="-228600" algn="ctr" defTabSz="914400" rtl="0" eaLnBrk="1" latinLnBrk="0" hangingPunct="1">
              <a:lnSpc>
                <a:spcPct val="90000"/>
              </a:lnSpc>
              <a:spcBef>
                <a:spcPts val="500"/>
              </a:spcBef>
              <a:buFont typeface="Arial"/>
              <a:buChar char="•"/>
              <a:defRPr sz="2000" b="0" i="0" kern="1200">
                <a:solidFill>
                  <a:schemeClr val="tx1">
                    <a:alpha val="60000"/>
                  </a:schemeClr>
                </a:solidFill>
                <a:latin typeface="Source Sans Pro" charset="0"/>
                <a:ea typeface="Source Sans Pro" charset="0"/>
                <a:cs typeface="Source Sans Pro" charset="0"/>
              </a:defRPr>
            </a:lvl3pPr>
            <a:lvl4pPr marL="1600200" indent="-228600" algn="ctr" defTabSz="914400" rtl="0" eaLnBrk="1" latinLnBrk="0" hangingPunct="1">
              <a:lnSpc>
                <a:spcPct val="150000"/>
              </a:lnSpc>
              <a:spcBef>
                <a:spcPts val="500"/>
              </a:spcBef>
              <a:buFont typeface="Arial"/>
              <a:buChar char="•"/>
              <a:defRPr sz="1800" b="0" i="0" kern="1200">
                <a:solidFill>
                  <a:schemeClr val="tx1">
                    <a:alpha val="60000"/>
                  </a:schemeClr>
                </a:solidFill>
                <a:latin typeface="Source Sans Pro" charset="0"/>
                <a:ea typeface="Source Sans Pro" charset="0"/>
                <a:cs typeface="Source Sans Pro" charset="0"/>
              </a:defRPr>
            </a:lvl4pPr>
            <a:lvl5pPr marL="2057400" indent="-228600" algn="ctr" defTabSz="914400" rtl="0" eaLnBrk="1" latinLnBrk="0" hangingPunct="1">
              <a:lnSpc>
                <a:spcPct val="90000"/>
              </a:lnSpc>
              <a:spcBef>
                <a:spcPts val="500"/>
              </a:spcBef>
              <a:buFont typeface="Arial"/>
              <a:buChar char="•"/>
              <a:defRPr sz="1800" b="0" i="0" kern="1200">
                <a:solidFill>
                  <a:schemeClr val="tx1">
                    <a:alpha val="60000"/>
                  </a:schemeClr>
                </a:solidFill>
                <a:latin typeface="Source Sans Pro" charset="0"/>
                <a:ea typeface="Source Sans Pro" charset="0"/>
                <a:cs typeface="Source Sans Pro"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defRPr/>
            </a:pPr>
            <a:r>
              <a:rPr lang="en-US" sz="3600" b="1" dirty="0">
                <a:solidFill>
                  <a:schemeClr val="bg1"/>
                </a:solidFill>
                <a:ea typeface="Titillium Semibold" charset="0"/>
                <a:cs typeface="Titillium Semibold" charset="0"/>
              </a:rPr>
              <a:t>50%</a:t>
            </a:r>
          </a:p>
        </p:txBody>
      </p:sp>
      <p:graphicFrame>
        <p:nvGraphicFramePr>
          <p:cNvPr id="7" name="Chart 6"/>
          <p:cNvGraphicFramePr/>
          <p:nvPr>
            <p:extLst>
              <p:ext uri="{D42A27DB-BD31-4B8C-83A1-F6EECF244321}">
                <p14:modId xmlns:p14="http://schemas.microsoft.com/office/powerpoint/2010/main" val="732451915"/>
              </p:ext>
            </p:extLst>
          </p:nvPr>
        </p:nvGraphicFramePr>
        <p:xfrm>
          <a:off x="3452083" y="1893427"/>
          <a:ext cx="2722636" cy="2152650"/>
        </p:xfrm>
        <a:graphic>
          <a:graphicData uri="http://schemas.openxmlformats.org/drawingml/2006/chart">
            <c:chart xmlns:c="http://schemas.openxmlformats.org/drawingml/2006/chart" xmlns:r="http://schemas.openxmlformats.org/officeDocument/2006/relationships" r:id="rId5"/>
          </a:graphicData>
        </a:graphic>
      </p:graphicFrame>
      <p:sp>
        <p:nvSpPr>
          <p:cNvPr id="8" name="Текст 7"/>
          <p:cNvSpPr txBox="1">
            <a:spLocks/>
          </p:cNvSpPr>
          <p:nvPr/>
        </p:nvSpPr>
        <p:spPr>
          <a:xfrm>
            <a:off x="4120529" y="2668344"/>
            <a:ext cx="1400175" cy="523874"/>
          </a:xfrm>
          <a:prstGeom prst="rect">
            <a:avLst/>
          </a:prstGeom>
        </p:spPr>
        <p:txBody>
          <a:bodyPr tIns="0" anchor="ctr" anchorCtr="0">
            <a:noAutofit/>
          </a:bodyPr>
          <a:lstStyle>
            <a:lvl1pPr marL="0" marR="0" indent="0" algn="ctr" defTabSz="914318" rtl="0" eaLnBrk="1" fontAlgn="auto" latinLnBrk="0" hangingPunct="1">
              <a:lnSpc>
                <a:spcPct val="145000"/>
              </a:lnSpc>
              <a:spcBef>
                <a:spcPts val="0"/>
              </a:spcBef>
              <a:spcAft>
                <a:spcPts val="0"/>
              </a:spcAft>
              <a:buClrTx/>
              <a:buSzTx/>
              <a:buFont typeface="Arial" panose="020B0604020202020204" pitchFamily="34" charset="0"/>
              <a:buNone/>
              <a:tabLst/>
              <a:defRPr sz="1800" b="0" i="0" kern="1200" baseline="0">
                <a:solidFill>
                  <a:schemeClr val="tx1"/>
                </a:solidFill>
                <a:latin typeface="+mj-lt"/>
                <a:ea typeface="Source Sans Pro" charset="0"/>
                <a:cs typeface="Source Sans Pro" charset="0"/>
              </a:defRPr>
            </a:lvl1pPr>
            <a:lvl2pPr marL="685800" indent="-228600" algn="ctr" defTabSz="914400" rtl="0" eaLnBrk="1" latinLnBrk="0" hangingPunct="1">
              <a:lnSpc>
                <a:spcPct val="90000"/>
              </a:lnSpc>
              <a:spcBef>
                <a:spcPts val="500"/>
              </a:spcBef>
              <a:buFont typeface="Arial"/>
              <a:buChar char="•"/>
              <a:defRPr sz="2400" b="0" i="0" kern="1200">
                <a:solidFill>
                  <a:schemeClr val="tx1">
                    <a:alpha val="60000"/>
                  </a:schemeClr>
                </a:solidFill>
                <a:latin typeface="Source Sans Pro" charset="0"/>
                <a:ea typeface="Source Sans Pro" charset="0"/>
                <a:cs typeface="Source Sans Pro" charset="0"/>
              </a:defRPr>
            </a:lvl2pPr>
            <a:lvl3pPr marL="1143000" indent="-228600" algn="ctr" defTabSz="914400" rtl="0" eaLnBrk="1" latinLnBrk="0" hangingPunct="1">
              <a:lnSpc>
                <a:spcPct val="90000"/>
              </a:lnSpc>
              <a:spcBef>
                <a:spcPts val="500"/>
              </a:spcBef>
              <a:buFont typeface="Arial"/>
              <a:buChar char="•"/>
              <a:defRPr sz="2000" b="0" i="0" kern="1200">
                <a:solidFill>
                  <a:schemeClr val="tx1">
                    <a:alpha val="60000"/>
                  </a:schemeClr>
                </a:solidFill>
                <a:latin typeface="Source Sans Pro" charset="0"/>
                <a:ea typeface="Source Sans Pro" charset="0"/>
                <a:cs typeface="Source Sans Pro" charset="0"/>
              </a:defRPr>
            </a:lvl3pPr>
            <a:lvl4pPr marL="1600200" indent="-228600" algn="ctr" defTabSz="914400" rtl="0" eaLnBrk="1" latinLnBrk="0" hangingPunct="1">
              <a:lnSpc>
                <a:spcPct val="150000"/>
              </a:lnSpc>
              <a:spcBef>
                <a:spcPts val="500"/>
              </a:spcBef>
              <a:buFont typeface="Arial"/>
              <a:buChar char="•"/>
              <a:defRPr sz="1800" b="0" i="0" kern="1200">
                <a:solidFill>
                  <a:schemeClr val="tx1">
                    <a:alpha val="60000"/>
                  </a:schemeClr>
                </a:solidFill>
                <a:latin typeface="Source Sans Pro" charset="0"/>
                <a:ea typeface="Source Sans Pro" charset="0"/>
                <a:cs typeface="Source Sans Pro" charset="0"/>
              </a:defRPr>
            </a:lvl4pPr>
            <a:lvl5pPr marL="2057400" indent="-228600" algn="ctr" defTabSz="914400" rtl="0" eaLnBrk="1" latinLnBrk="0" hangingPunct="1">
              <a:lnSpc>
                <a:spcPct val="90000"/>
              </a:lnSpc>
              <a:spcBef>
                <a:spcPts val="500"/>
              </a:spcBef>
              <a:buFont typeface="Arial"/>
              <a:buChar char="•"/>
              <a:defRPr sz="1800" b="0" i="0" kern="1200">
                <a:solidFill>
                  <a:schemeClr val="tx1">
                    <a:alpha val="60000"/>
                  </a:schemeClr>
                </a:solidFill>
                <a:latin typeface="Source Sans Pro" charset="0"/>
                <a:ea typeface="Source Sans Pro" charset="0"/>
                <a:cs typeface="Source Sans Pro"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defRPr/>
            </a:pPr>
            <a:r>
              <a:rPr lang="en-US" sz="3600" b="1" dirty="0">
                <a:solidFill>
                  <a:schemeClr val="bg1"/>
                </a:solidFill>
                <a:ea typeface="Titillium Semibold" charset="0"/>
                <a:cs typeface="Titillium Semibold" charset="0"/>
              </a:rPr>
              <a:t>30%</a:t>
            </a:r>
          </a:p>
        </p:txBody>
      </p:sp>
      <p:graphicFrame>
        <p:nvGraphicFramePr>
          <p:cNvPr id="9" name="Chart 4"/>
          <p:cNvGraphicFramePr/>
          <p:nvPr>
            <p:extLst>
              <p:ext uri="{D42A27DB-BD31-4B8C-83A1-F6EECF244321}">
                <p14:modId xmlns:p14="http://schemas.microsoft.com/office/powerpoint/2010/main" val="2850747362"/>
              </p:ext>
            </p:extLst>
          </p:nvPr>
        </p:nvGraphicFramePr>
        <p:xfrm>
          <a:off x="6030088" y="1893427"/>
          <a:ext cx="2722636" cy="2152650"/>
        </p:xfrm>
        <a:graphic>
          <a:graphicData uri="http://schemas.openxmlformats.org/drawingml/2006/chart">
            <c:chart xmlns:c="http://schemas.openxmlformats.org/drawingml/2006/chart" xmlns:r="http://schemas.openxmlformats.org/officeDocument/2006/relationships" r:id="rId6"/>
          </a:graphicData>
        </a:graphic>
      </p:graphicFrame>
      <p:sp>
        <p:nvSpPr>
          <p:cNvPr id="10" name="Текст 7"/>
          <p:cNvSpPr txBox="1">
            <a:spLocks/>
          </p:cNvSpPr>
          <p:nvPr/>
        </p:nvSpPr>
        <p:spPr>
          <a:xfrm>
            <a:off x="6698534" y="2668344"/>
            <a:ext cx="1400175" cy="523874"/>
          </a:xfrm>
          <a:prstGeom prst="rect">
            <a:avLst/>
          </a:prstGeom>
        </p:spPr>
        <p:txBody>
          <a:bodyPr tIns="0" anchor="ctr" anchorCtr="0">
            <a:noAutofit/>
          </a:bodyPr>
          <a:lstStyle>
            <a:lvl1pPr marL="0" marR="0" indent="0" algn="ctr" defTabSz="914318" rtl="0" eaLnBrk="1" fontAlgn="auto" latinLnBrk="0" hangingPunct="1">
              <a:lnSpc>
                <a:spcPct val="145000"/>
              </a:lnSpc>
              <a:spcBef>
                <a:spcPts val="0"/>
              </a:spcBef>
              <a:spcAft>
                <a:spcPts val="0"/>
              </a:spcAft>
              <a:buClrTx/>
              <a:buSzTx/>
              <a:buFont typeface="Arial" panose="020B0604020202020204" pitchFamily="34" charset="0"/>
              <a:buNone/>
              <a:tabLst/>
              <a:defRPr sz="1800" b="0" i="0" kern="1200" baseline="0">
                <a:solidFill>
                  <a:schemeClr val="tx1"/>
                </a:solidFill>
                <a:latin typeface="+mj-lt"/>
                <a:ea typeface="Source Sans Pro" charset="0"/>
                <a:cs typeface="Source Sans Pro" charset="0"/>
              </a:defRPr>
            </a:lvl1pPr>
            <a:lvl2pPr marL="685800" indent="-228600" algn="ctr" defTabSz="914400" rtl="0" eaLnBrk="1" latinLnBrk="0" hangingPunct="1">
              <a:lnSpc>
                <a:spcPct val="90000"/>
              </a:lnSpc>
              <a:spcBef>
                <a:spcPts val="500"/>
              </a:spcBef>
              <a:buFont typeface="Arial"/>
              <a:buChar char="•"/>
              <a:defRPr sz="2400" b="0" i="0" kern="1200">
                <a:solidFill>
                  <a:schemeClr val="tx1">
                    <a:alpha val="60000"/>
                  </a:schemeClr>
                </a:solidFill>
                <a:latin typeface="Source Sans Pro" charset="0"/>
                <a:ea typeface="Source Sans Pro" charset="0"/>
                <a:cs typeface="Source Sans Pro" charset="0"/>
              </a:defRPr>
            </a:lvl2pPr>
            <a:lvl3pPr marL="1143000" indent="-228600" algn="ctr" defTabSz="914400" rtl="0" eaLnBrk="1" latinLnBrk="0" hangingPunct="1">
              <a:lnSpc>
                <a:spcPct val="90000"/>
              </a:lnSpc>
              <a:spcBef>
                <a:spcPts val="500"/>
              </a:spcBef>
              <a:buFont typeface="Arial"/>
              <a:buChar char="•"/>
              <a:defRPr sz="2000" b="0" i="0" kern="1200">
                <a:solidFill>
                  <a:schemeClr val="tx1">
                    <a:alpha val="60000"/>
                  </a:schemeClr>
                </a:solidFill>
                <a:latin typeface="Source Sans Pro" charset="0"/>
                <a:ea typeface="Source Sans Pro" charset="0"/>
                <a:cs typeface="Source Sans Pro" charset="0"/>
              </a:defRPr>
            </a:lvl3pPr>
            <a:lvl4pPr marL="1600200" indent="-228600" algn="ctr" defTabSz="914400" rtl="0" eaLnBrk="1" latinLnBrk="0" hangingPunct="1">
              <a:lnSpc>
                <a:spcPct val="150000"/>
              </a:lnSpc>
              <a:spcBef>
                <a:spcPts val="500"/>
              </a:spcBef>
              <a:buFont typeface="Arial"/>
              <a:buChar char="•"/>
              <a:defRPr sz="1800" b="0" i="0" kern="1200">
                <a:solidFill>
                  <a:schemeClr val="tx1">
                    <a:alpha val="60000"/>
                  </a:schemeClr>
                </a:solidFill>
                <a:latin typeface="Source Sans Pro" charset="0"/>
                <a:ea typeface="Source Sans Pro" charset="0"/>
                <a:cs typeface="Source Sans Pro" charset="0"/>
              </a:defRPr>
            </a:lvl4pPr>
            <a:lvl5pPr marL="2057400" indent="-228600" algn="ctr" defTabSz="914400" rtl="0" eaLnBrk="1" latinLnBrk="0" hangingPunct="1">
              <a:lnSpc>
                <a:spcPct val="90000"/>
              </a:lnSpc>
              <a:spcBef>
                <a:spcPts val="500"/>
              </a:spcBef>
              <a:buFont typeface="Arial"/>
              <a:buChar char="•"/>
              <a:defRPr sz="1800" b="0" i="0" kern="1200">
                <a:solidFill>
                  <a:schemeClr val="tx1">
                    <a:alpha val="60000"/>
                  </a:schemeClr>
                </a:solidFill>
                <a:latin typeface="Source Sans Pro" charset="0"/>
                <a:ea typeface="Source Sans Pro" charset="0"/>
                <a:cs typeface="Source Sans Pro"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defRPr/>
            </a:pPr>
            <a:r>
              <a:rPr lang="en-US" sz="3600" b="1" dirty="0">
                <a:solidFill>
                  <a:schemeClr val="bg1"/>
                </a:solidFill>
                <a:ea typeface="Titillium Semibold" charset="0"/>
                <a:cs typeface="Titillium Semibold" charset="0"/>
              </a:rPr>
              <a:t>10%</a:t>
            </a:r>
          </a:p>
        </p:txBody>
      </p:sp>
      <p:graphicFrame>
        <p:nvGraphicFramePr>
          <p:cNvPr id="11" name="Chart 4"/>
          <p:cNvGraphicFramePr/>
          <p:nvPr>
            <p:extLst>
              <p:ext uri="{D42A27DB-BD31-4B8C-83A1-F6EECF244321}">
                <p14:modId xmlns:p14="http://schemas.microsoft.com/office/powerpoint/2010/main" val="4117076865"/>
              </p:ext>
            </p:extLst>
          </p:nvPr>
        </p:nvGraphicFramePr>
        <p:xfrm>
          <a:off x="8608904" y="1893427"/>
          <a:ext cx="2722636" cy="2152650"/>
        </p:xfrm>
        <a:graphic>
          <a:graphicData uri="http://schemas.openxmlformats.org/drawingml/2006/chart">
            <c:chart xmlns:c="http://schemas.openxmlformats.org/drawingml/2006/chart" xmlns:r="http://schemas.openxmlformats.org/officeDocument/2006/relationships" r:id="rId7"/>
          </a:graphicData>
        </a:graphic>
      </p:graphicFrame>
      <p:sp>
        <p:nvSpPr>
          <p:cNvPr id="12" name="Текст 7"/>
          <p:cNvSpPr txBox="1">
            <a:spLocks/>
          </p:cNvSpPr>
          <p:nvPr/>
        </p:nvSpPr>
        <p:spPr>
          <a:xfrm>
            <a:off x="9277350" y="2668344"/>
            <a:ext cx="1400175" cy="523874"/>
          </a:xfrm>
          <a:prstGeom prst="rect">
            <a:avLst/>
          </a:prstGeom>
        </p:spPr>
        <p:txBody>
          <a:bodyPr tIns="0" anchor="ctr" anchorCtr="0">
            <a:noAutofit/>
          </a:bodyPr>
          <a:lstStyle>
            <a:lvl1pPr marL="0" marR="0" indent="0" algn="ctr" defTabSz="914318" rtl="0" eaLnBrk="1" fontAlgn="auto" latinLnBrk="0" hangingPunct="1">
              <a:lnSpc>
                <a:spcPct val="145000"/>
              </a:lnSpc>
              <a:spcBef>
                <a:spcPts val="0"/>
              </a:spcBef>
              <a:spcAft>
                <a:spcPts val="0"/>
              </a:spcAft>
              <a:buClrTx/>
              <a:buSzTx/>
              <a:buFont typeface="Arial" panose="020B0604020202020204" pitchFamily="34" charset="0"/>
              <a:buNone/>
              <a:tabLst/>
              <a:defRPr sz="1800" b="0" i="0" kern="1200" baseline="0">
                <a:solidFill>
                  <a:schemeClr val="tx1"/>
                </a:solidFill>
                <a:latin typeface="+mj-lt"/>
                <a:ea typeface="Source Sans Pro" charset="0"/>
                <a:cs typeface="Source Sans Pro" charset="0"/>
              </a:defRPr>
            </a:lvl1pPr>
            <a:lvl2pPr marL="685800" indent="-228600" algn="ctr" defTabSz="914400" rtl="0" eaLnBrk="1" latinLnBrk="0" hangingPunct="1">
              <a:lnSpc>
                <a:spcPct val="90000"/>
              </a:lnSpc>
              <a:spcBef>
                <a:spcPts val="500"/>
              </a:spcBef>
              <a:buFont typeface="Arial"/>
              <a:buChar char="•"/>
              <a:defRPr sz="2400" b="0" i="0" kern="1200">
                <a:solidFill>
                  <a:schemeClr val="tx1">
                    <a:alpha val="60000"/>
                  </a:schemeClr>
                </a:solidFill>
                <a:latin typeface="Source Sans Pro" charset="0"/>
                <a:ea typeface="Source Sans Pro" charset="0"/>
                <a:cs typeface="Source Sans Pro" charset="0"/>
              </a:defRPr>
            </a:lvl2pPr>
            <a:lvl3pPr marL="1143000" indent="-228600" algn="ctr" defTabSz="914400" rtl="0" eaLnBrk="1" latinLnBrk="0" hangingPunct="1">
              <a:lnSpc>
                <a:spcPct val="90000"/>
              </a:lnSpc>
              <a:spcBef>
                <a:spcPts val="500"/>
              </a:spcBef>
              <a:buFont typeface="Arial"/>
              <a:buChar char="•"/>
              <a:defRPr sz="2000" b="0" i="0" kern="1200">
                <a:solidFill>
                  <a:schemeClr val="tx1">
                    <a:alpha val="60000"/>
                  </a:schemeClr>
                </a:solidFill>
                <a:latin typeface="Source Sans Pro" charset="0"/>
                <a:ea typeface="Source Sans Pro" charset="0"/>
                <a:cs typeface="Source Sans Pro" charset="0"/>
              </a:defRPr>
            </a:lvl3pPr>
            <a:lvl4pPr marL="1600200" indent="-228600" algn="ctr" defTabSz="914400" rtl="0" eaLnBrk="1" latinLnBrk="0" hangingPunct="1">
              <a:lnSpc>
                <a:spcPct val="150000"/>
              </a:lnSpc>
              <a:spcBef>
                <a:spcPts val="500"/>
              </a:spcBef>
              <a:buFont typeface="Arial"/>
              <a:buChar char="•"/>
              <a:defRPr sz="1800" b="0" i="0" kern="1200">
                <a:solidFill>
                  <a:schemeClr val="tx1">
                    <a:alpha val="60000"/>
                  </a:schemeClr>
                </a:solidFill>
                <a:latin typeface="Source Sans Pro" charset="0"/>
                <a:ea typeface="Source Sans Pro" charset="0"/>
                <a:cs typeface="Source Sans Pro" charset="0"/>
              </a:defRPr>
            </a:lvl4pPr>
            <a:lvl5pPr marL="2057400" indent="-228600" algn="ctr" defTabSz="914400" rtl="0" eaLnBrk="1" latinLnBrk="0" hangingPunct="1">
              <a:lnSpc>
                <a:spcPct val="90000"/>
              </a:lnSpc>
              <a:spcBef>
                <a:spcPts val="500"/>
              </a:spcBef>
              <a:buFont typeface="Arial"/>
              <a:buChar char="•"/>
              <a:defRPr sz="1800" b="0" i="0" kern="1200">
                <a:solidFill>
                  <a:schemeClr val="tx1">
                    <a:alpha val="60000"/>
                  </a:schemeClr>
                </a:solidFill>
                <a:latin typeface="Source Sans Pro" charset="0"/>
                <a:ea typeface="Source Sans Pro" charset="0"/>
                <a:cs typeface="Source Sans Pro"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defRPr/>
            </a:pPr>
            <a:r>
              <a:rPr lang="en-US" sz="3600" b="1" dirty="0">
                <a:solidFill>
                  <a:schemeClr val="bg1"/>
                </a:solidFill>
                <a:ea typeface="Titillium Semibold" charset="0"/>
                <a:cs typeface="Titillium Semibold" charset="0"/>
              </a:rPr>
              <a:t>20%</a:t>
            </a:r>
          </a:p>
        </p:txBody>
      </p:sp>
      <p:sp>
        <p:nvSpPr>
          <p:cNvPr id="13" name="TextBox 12"/>
          <p:cNvSpPr txBox="1"/>
          <p:nvPr/>
        </p:nvSpPr>
        <p:spPr>
          <a:xfrm>
            <a:off x="1507260" y="4546250"/>
            <a:ext cx="1485535" cy="307777"/>
          </a:xfrm>
          <a:prstGeom prst="rect">
            <a:avLst/>
          </a:prstGeom>
          <a:noFill/>
        </p:spPr>
        <p:txBody>
          <a:bodyPr wrap="none" lIns="0" rIns="0" rtlCol="0">
            <a:spAutoFit/>
          </a:bodyPr>
          <a:lstStyle/>
          <a:p>
            <a:pPr algn="ctr"/>
            <a:r>
              <a:rPr lang="en-US" sz="1400" b="1" spc="200" dirty="0">
                <a:solidFill>
                  <a:schemeClr val="tx2"/>
                </a:solidFill>
                <a:latin typeface="+mj-lt"/>
                <a:ea typeface="Titillium Semibold" charset="0"/>
                <a:cs typeface="Titillium Semibold" charset="0"/>
              </a:rPr>
              <a:t>Your Title Here</a:t>
            </a:r>
          </a:p>
        </p:txBody>
      </p:sp>
      <p:sp>
        <p:nvSpPr>
          <p:cNvPr id="14" name="TextBox 13"/>
          <p:cNvSpPr txBox="1"/>
          <p:nvPr/>
        </p:nvSpPr>
        <p:spPr>
          <a:xfrm>
            <a:off x="1272988" y="4854027"/>
            <a:ext cx="1807029" cy="913070"/>
          </a:xfrm>
          <a:prstGeom prst="rect">
            <a:avLst/>
          </a:prstGeom>
          <a:noFill/>
        </p:spPr>
        <p:txBody>
          <a:bodyPr wrap="square" lIns="0" rIns="0" rtlCol="0">
            <a:spAutoFit/>
          </a:bodyPr>
          <a:lstStyle/>
          <a:p>
            <a:pPr algn="ctr">
              <a:lnSpc>
                <a:spcPts val="1600"/>
              </a:lnSpc>
            </a:pPr>
            <a:r>
              <a:rPr lang="en-US" sz="1600" dirty="0">
                <a:solidFill>
                  <a:schemeClr val="accent1">
                    <a:alpha val="65000"/>
                  </a:schemeClr>
                </a:solidFill>
                <a:ea typeface="Titillium Light" charset="0"/>
                <a:cs typeface="Titillium Light" charset="0"/>
              </a:rPr>
              <a:t>There are many variations of passages of Lorem Ipsum available.</a:t>
            </a:r>
          </a:p>
        </p:txBody>
      </p:sp>
      <p:sp>
        <p:nvSpPr>
          <p:cNvPr id="15" name="TextBox 14"/>
          <p:cNvSpPr txBox="1"/>
          <p:nvPr/>
        </p:nvSpPr>
        <p:spPr>
          <a:xfrm>
            <a:off x="4075858" y="4546250"/>
            <a:ext cx="1485535" cy="307777"/>
          </a:xfrm>
          <a:prstGeom prst="rect">
            <a:avLst/>
          </a:prstGeom>
          <a:noFill/>
        </p:spPr>
        <p:txBody>
          <a:bodyPr wrap="none" lIns="0" rIns="0" rtlCol="0">
            <a:spAutoFit/>
          </a:bodyPr>
          <a:lstStyle/>
          <a:p>
            <a:pPr algn="ctr"/>
            <a:r>
              <a:rPr lang="en-US" sz="1400" b="1" spc="200" dirty="0">
                <a:solidFill>
                  <a:schemeClr val="tx2"/>
                </a:solidFill>
                <a:latin typeface="+mj-lt"/>
                <a:ea typeface="Titillium Semibold" charset="0"/>
                <a:cs typeface="Titillium Semibold" charset="0"/>
              </a:rPr>
              <a:t>Your Title Here</a:t>
            </a:r>
          </a:p>
        </p:txBody>
      </p:sp>
      <p:sp>
        <p:nvSpPr>
          <p:cNvPr id="16" name="TextBox 15"/>
          <p:cNvSpPr txBox="1"/>
          <p:nvPr/>
        </p:nvSpPr>
        <p:spPr>
          <a:xfrm>
            <a:off x="3841586" y="4854027"/>
            <a:ext cx="1807029" cy="913070"/>
          </a:xfrm>
          <a:prstGeom prst="rect">
            <a:avLst/>
          </a:prstGeom>
          <a:noFill/>
        </p:spPr>
        <p:txBody>
          <a:bodyPr wrap="square" lIns="0" rIns="0" rtlCol="0">
            <a:spAutoFit/>
          </a:bodyPr>
          <a:lstStyle/>
          <a:p>
            <a:pPr algn="ctr">
              <a:lnSpc>
                <a:spcPts val="1600"/>
              </a:lnSpc>
            </a:pPr>
            <a:r>
              <a:rPr lang="en-US" sz="1600" dirty="0">
                <a:solidFill>
                  <a:schemeClr val="accent1">
                    <a:alpha val="65000"/>
                  </a:schemeClr>
                </a:solidFill>
                <a:ea typeface="Titillium Light" charset="0"/>
                <a:cs typeface="Titillium Light" charset="0"/>
              </a:rPr>
              <a:t>There are many variations of passages of Lorem Ipsum available.</a:t>
            </a:r>
          </a:p>
        </p:txBody>
      </p:sp>
      <p:sp>
        <p:nvSpPr>
          <p:cNvPr id="17" name="TextBox 16"/>
          <p:cNvSpPr txBox="1"/>
          <p:nvPr/>
        </p:nvSpPr>
        <p:spPr>
          <a:xfrm>
            <a:off x="6633983" y="4546250"/>
            <a:ext cx="1485535" cy="307777"/>
          </a:xfrm>
          <a:prstGeom prst="rect">
            <a:avLst/>
          </a:prstGeom>
          <a:noFill/>
        </p:spPr>
        <p:txBody>
          <a:bodyPr wrap="none" lIns="0" rIns="0" rtlCol="0">
            <a:spAutoFit/>
          </a:bodyPr>
          <a:lstStyle/>
          <a:p>
            <a:pPr algn="ctr"/>
            <a:r>
              <a:rPr lang="en-US" sz="1400" b="1" spc="200" dirty="0">
                <a:solidFill>
                  <a:schemeClr val="tx2"/>
                </a:solidFill>
                <a:latin typeface="+mj-lt"/>
                <a:ea typeface="Titillium Semibold" charset="0"/>
                <a:cs typeface="Titillium Semibold" charset="0"/>
              </a:rPr>
              <a:t>Your Title Here</a:t>
            </a:r>
          </a:p>
        </p:txBody>
      </p:sp>
      <p:sp>
        <p:nvSpPr>
          <p:cNvPr id="18" name="TextBox 17"/>
          <p:cNvSpPr txBox="1"/>
          <p:nvPr/>
        </p:nvSpPr>
        <p:spPr>
          <a:xfrm>
            <a:off x="6399711" y="4854027"/>
            <a:ext cx="1807029" cy="913070"/>
          </a:xfrm>
          <a:prstGeom prst="rect">
            <a:avLst/>
          </a:prstGeom>
          <a:noFill/>
        </p:spPr>
        <p:txBody>
          <a:bodyPr wrap="square" lIns="0" rIns="0" rtlCol="0">
            <a:spAutoFit/>
          </a:bodyPr>
          <a:lstStyle/>
          <a:p>
            <a:pPr algn="ctr">
              <a:lnSpc>
                <a:spcPts val="1600"/>
              </a:lnSpc>
            </a:pPr>
            <a:r>
              <a:rPr lang="en-US" sz="1600" dirty="0">
                <a:solidFill>
                  <a:schemeClr val="accent1">
                    <a:alpha val="65000"/>
                  </a:schemeClr>
                </a:solidFill>
                <a:ea typeface="Titillium Light" charset="0"/>
                <a:cs typeface="Titillium Light" charset="0"/>
              </a:rPr>
              <a:t>There are many variations of passages of Lorem Ipsum available.</a:t>
            </a:r>
          </a:p>
        </p:txBody>
      </p:sp>
      <p:sp>
        <p:nvSpPr>
          <p:cNvPr id="19" name="TextBox 18"/>
          <p:cNvSpPr txBox="1"/>
          <p:nvPr/>
        </p:nvSpPr>
        <p:spPr>
          <a:xfrm>
            <a:off x="9265089" y="4546250"/>
            <a:ext cx="1485535" cy="307777"/>
          </a:xfrm>
          <a:prstGeom prst="rect">
            <a:avLst/>
          </a:prstGeom>
          <a:noFill/>
        </p:spPr>
        <p:txBody>
          <a:bodyPr wrap="none" lIns="0" rIns="0" rtlCol="0">
            <a:spAutoFit/>
          </a:bodyPr>
          <a:lstStyle/>
          <a:p>
            <a:pPr algn="ctr"/>
            <a:r>
              <a:rPr lang="en-US" sz="1400" b="1" spc="200" dirty="0">
                <a:solidFill>
                  <a:schemeClr val="tx2"/>
                </a:solidFill>
                <a:latin typeface="+mj-lt"/>
                <a:ea typeface="Titillium Semibold" charset="0"/>
                <a:cs typeface="Titillium Semibold" charset="0"/>
              </a:rPr>
              <a:t>Your Title Here</a:t>
            </a:r>
          </a:p>
        </p:txBody>
      </p:sp>
      <p:sp>
        <p:nvSpPr>
          <p:cNvPr id="20" name="TextBox 19"/>
          <p:cNvSpPr txBox="1"/>
          <p:nvPr/>
        </p:nvSpPr>
        <p:spPr>
          <a:xfrm>
            <a:off x="9030817" y="4854027"/>
            <a:ext cx="1807029" cy="913070"/>
          </a:xfrm>
          <a:prstGeom prst="rect">
            <a:avLst/>
          </a:prstGeom>
          <a:noFill/>
        </p:spPr>
        <p:txBody>
          <a:bodyPr wrap="square" lIns="0" rIns="0" rtlCol="0">
            <a:spAutoFit/>
          </a:bodyPr>
          <a:lstStyle/>
          <a:p>
            <a:pPr algn="ctr">
              <a:lnSpc>
                <a:spcPts val="1600"/>
              </a:lnSpc>
            </a:pPr>
            <a:r>
              <a:rPr lang="en-US" sz="1600" dirty="0">
                <a:solidFill>
                  <a:schemeClr val="accent1">
                    <a:alpha val="65000"/>
                  </a:schemeClr>
                </a:solidFill>
                <a:ea typeface="Titillium Light" charset="0"/>
                <a:cs typeface="Titillium Light" charset="0"/>
              </a:rPr>
              <a:t>There are many variations of passages of Lorem Ipsum available.</a:t>
            </a:r>
          </a:p>
        </p:txBody>
      </p:sp>
    </p:spTree>
    <p:extLst>
      <p:ext uri="{BB962C8B-B14F-4D97-AF65-F5344CB8AC3E}">
        <p14:creationId xmlns:p14="http://schemas.microsoft.com/office/powerpoint/2010/main" val="2270250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Maps</a:t>
            </a:r>
          </a:p>
        </p:txBody>
      </p:sp>
      <p:grpSp>
        <p:nvGrpSpPr>
          <p:cNvPr id="5" name="Group 4"/>
          <p:cNvGrpSpPr/>
          <p:nvPr/>
        </p:nvGrpSpPr>
        <p:grpSpPr>
          <a:xfrm>
            <a:off x="600223" y="1854627"/>
            <a:ext cx="5495777" cy="3659913"/>
            <a:chOff x="2359025" y="644525"/>
            <a:chExt cx="5068887" cy="3309938"/>
          </a:xfrm>
          <a:solidFill>
            <a:schemeClr val="tx1">
              <a:lumMod val="20000"/>
              <a:lumOff val="80000"/>
            </a:schemeClr>
          </a:solidFill>
        </p:grpSpPr>
        <p:sp>
          <p:nvSpPr>
            <p:cNvPr id="6" name="Freeform 5"/>
            <p:cNvSpPr>
              <a:spLocks/>
            </p:cNvSpPr>
            <p:nvPr/>
          </p:nvSpPr>
          <p:spPr bwMode="auto">
            <a:xfrm>
              <a:off x="2741613" y="644525"/>
              <a:ext cx="633412" cy="468312"/>
            </a:xfrm>
            <a:custGeom>
              <a:avLst/>
              <a:gdLst/>
              <a:ahLst/>
              <a:cxnLst>
                <a:cxn ang="0">
                  <a:pos x="1178" y="303"/>
                </a:cxn>
                <a:cxn ang="0">
                  <a:pos x="1092" y="679"/>
                </a:cxn>
                <a:cxn ang="0">
                  <a:pos x="1063" y="779"/>
                </a:cxn>
                <a:cxn ang="0">
                  <a:pos x="1054" y="794"/>
                </a:cxn>
                <a:cxn ang="0">
                  <a:pos x="1061" y="813"/>
                </a:cxn>
                <a:cxn ang="0">
                  <a:pos x="1064" y="830"/>
                </a:cxn>
                <a:cxn ang="0">
                  <a:pos x="1056" y="879"/>
                </a:cxn>
                <a:cxn ang="0">
                  <a:pos x="699" y="800"/>
                </a:cxn>
                <a:cxn ang="0">
                  <a:pos x="635" y="804"/>
                </a:cxn>
                <a:cxn ang="0">
                  <a:pos x="473" y="804"/>
                </a:cxn>
                <a:cxn ang="0">
                  <a:pos x="437" y="804"/>
                </a:cxn>
                <a:cxn ang="0">
                  <a:pos x="402" y="794"/>
                </a:cxn>
                <a:cxn ang="0">
                  <a:pos x="374" y="775"/>
                </a:cxn>
                <a:cxn ang="0">
                  <a:pos x="306" y="755"/>
                </a:cxn>
                <a:cxn ang="0">
                  <a:pos x="186" y="752"/>
                </a:cxn>
                <a:cxn ang="0">
                  <a:pos x="157" y="719"/>
                </a:cxn>
                <a:cxn ang="0">
                  <a:pos x="165" y="679"/>
                </a:cxn>
                <a:cxn ang="0">
                  <a:pos x="164" y="648"/>
                </a:cxn>
                <a:cxn ang="0">
                  <a:pos x="152" y="614"/>
                </a:cxn>
                <a:cxn ang="0">
                  <a:pos x="139" y="598"/>
                </a:cxn>
                <a:cxn ang="0">
                  <a:pos x="94" y="584"/>
                </a:cxn>
                <a:cxn ang="0">
                  <a:pos x="90" y="572"/>
                </a:cxn>
                <a:cxn ang="0">
                  <a:pos x="77" y="561"/>
                </a:cxn>
                <a:cxn ang="0">
                  <a:pos x="48" y="560"/>
                </a:cxn>
                <a:cxn ang="0">
                  <a:pos x="4" y="507"/>
                </a:cxn>
                <a:cxn ang="0">
                  <a:pos x="23" y="487"/>
                </a:cxn>
                <a:cxn ang="0">
                  <a:pos x="33" y="469"/>
                </a:cxn>
                <a:cxn ang="0">
                  <a:pos x="41" y="447"/>
                </a:cxn>
                <a:cxn ang="0">
                  <a:pos x="66" y="404"/>
                </a:cxn>
                <a:cxn ang="0">
                  <a:pos x="37" y="362"/>
                </a:cxn>
                <a:cxn ang="0">
                  <a:pos x="37" y="275"/>
                </a:cxn>
                <a:cxn ang="0">
                  <a:pos x="14" y="108"/>
                </a:cxn>
                <a:cxn ang="0">
                  <a:pos x="97" y="99"/>
                </a:cxn>
                <a:cxn ang="0">
                  <a:pos x="226" y="165"/>
                </a:cxn>
                <a:cxn ang="0">
                  <a:pos x="265" y="199"/>
                </a:cxn>
                <a:cxn ang="0">
                  <a:pos x="293" y="257"/>
                </a:cxn>
                <a:cxn ang="0">
                  <a:pos x="215" y="337"/>
                </a:cxn>
                <a:cxn ang="0">
                  <a:pos x="258" y="304"/>
                </a:cxn>
                <a:cxn ang="0">
                  <a:pos x="323" y="283"/>
                </a:cxn>
                <a:cxn ang="0">
                  <a:pos x="241" y="374"/>
                </a:cxn>
                <a:cxn ang="0">
                  <a:pos x="233" y="428"/>
                </a:cxn>
                <a:cxn ang="0">
                  <a:pos x="302" y="382"/>
                </a:cxn>
                <a:cxn ang="0">
                  <a:pos x="348" y="279"/>
                </a:cxn>
                <a:cxn ang="0">
                  <a:pos x="363" y="196"/>
                </a:cxn>
                <a:cxn ang="0">
                  <a:pos x="337" y="175"/>
                </a:cxn>
                <a:cxn ang="0">
                  <a:pos x="351" y="250"/>
                </a:cxn>
                <a:cxn ang="0">
                  <a:pos x="325" y="213"/>
                </a:cxn>
                <a:cxn ang="0">
                  <a:pos x="341" y="150"/>
                </a:cxn>
                <a:cxn ang="0">
                  <a:pos x="366" y="132"/>
                </a:cxn>
                <a:cxn ang="0">
                  <a:pos x="370" y="67"/>
                </a:cxn>
                <a:cxn ang="0">
                  <a:pos x="351" y="0"/>
                </a:cxn>
                <a:cxn ang="0">
                  <a:pos x="673" y="89"/>
                </a:cxn>
                <a:cxn ang="0">
                  <a:pos x="1093" y="200"/>
                </a:cxn>
                <a:cxn ang="0">
                  <a:pos x="1145" y="210"/>
                </a:cxn>
              </a:cxnLst>
              <a:rect l="0" t="0" r="r" b="b"/>
              <a:pathLst>
                <a:path w="1196" h="883">
                  <a:moveTo>
                    <a:pt x="1196" y="218"/>
                  </a:moveTo>
                  <a:lnTo>
                    <a:pt x="1196" y="218"/>
                  </a:lnTo>
                  <a:lnTo>
                    <a:pt x="1178" y="303"/>
                  </a:lnTo>
                  <a:lnTo>
                    <a:pt x="1138" y="487"/>
                  </a:lnTo>
                  <a:lnTo>
                    <a:pt x="1114" y="589"/>
                  </a:lnTo>
                  <a:lnTo>
                    <a:pt x="1092" y="679"/>
                  </a:lnTo>
                  <a:lnTo>
                    <a:pt x="1074" y="747"/>
                  </a:lnTo>
                  <a:lnTo>
                    <a:pt x="1067" y="768"/>
                  </a:lnTo>
                  <a:lnTo>
                    <a:pt x="1063" y="779"/>
                  </a:lnTo>
                  <a:lnTo>
                    <a:pt x="1063" y="779"/>
                  </a:lnTo>
                  <a:lnTo>
                    <a:pt x="1057" y="787"/>
                  </a:lnTo>
                  <a:lnTo>
                    <a:pt x="1054" y="794"/>
                  </a:lnTo>
                  <a:lnTo>
                    <a:pt x="1054" y="800"/>
                  </a:lnTo>
                  <a:lnTo>
                    <a:pt x="1056" y="804"/>
                  </a:lnTo>
                  <a:lnTo>
                    <a:pt x="1061" y="813"/>
                  </a:lnTo>
                  <a:lnTo>
                    <a:pt x="1064" y="820"/>
                  </a:lnTo>
                  <a:lnTo>
                    <a:pt x="1064" y="830"/>
                  </a:lnTo>
                  <a:lnTo>
                    <a:pt x="1064" y="830"/>
                  </a:lnTo>
                  <a:lnTo>
                    <a:pt x="1063" y="851"/>
                  </a:lnTo>
                  <a:lnTo>
                    <a:pt x="1059" y="868"/>
                  </a:lnTo>
                  <a:lnTo>
                    <a:pt x="1056" y="879"/>
                  </a:lnTo>
                  <a:lnTo>
                    <a:pt x="1054" y="883"/>
                  </a:lnTo>
                  <a:lnTo>
                    <a:pt x="748" y="804"/>
                  </a:lnTo>
                  <a:lnTo>
                    <a:pt x="699" y="800"/>
                  </a:lnTo>
                  <a:lnTo>
                    <a:pt x="681" y="807"/>
                  </a:lnTo>
                  <a:lnTo>
                    <a:pt x="656" y="800"/>
                  </a:lnTo>
                  <a:lnTo>
                    <a:pt x="635" y="804"/>
                  </a:lnTo>
                  <a:lnTo>
                    <a:pt x="504" y="809"/>
                  </a:lnTo>
                  <a:lnTo>
                    <a:pt x="490" y="798"/>
                  </a:lnTo>
                  <a:lnTo>
                    <a:pt x="473" y="804"/>
                  </a:lnTo>
                  <a:lnTo>
                    <a:pt x="461" y="808"/>
                  </a:lnTo>
                  <a:lnTo>
                    <a:pt x="449" y="808"/>
                  </a:lnTo>
                  <a:lnTo>
                    <a:pt x="437" y="804"/>
                  </a:lnTo>
                  <a:lnTo>
                    <a:pt x="437" y="798"/>
                  </a:lnTo>
                  <a:lnTo>
                    <a:pt x="415" y="800"/>
                  </a:lnTo>
                  <a:lnTo>
                    <a:pt x="402" y="794"/>
                  </a:lnTo>
                  <a:lnTo>
                    <a:pt x="394" y="787"/>
                  </a:lnTo>
                  <a:lnTo>
                    <a:pt x="394" y="779"/>
                  </a:lnTo>
                  <a:lnTo>
                    <a:pt x="374" y="775"/>
                  </a:lnTo>
                  <a:lnTo>
                    <a:pt x="341" y="768"/>
                  </a:lnTo>
                  <a:lnTo>
                    <a:pt x="318" y="757"/>
                  </a:lnTo>
                  <a:lnTo>
                    <a:pt x="306" y="755"/>
                  </a:lnTo>
                  <a:lnTo>
                    <a:pt x="280" y="757"/>
                  </a:lnTo>
                  <a:lnTo>
                    <a:pt x="238" y="765"/>
                  </a:lnTo>
                  <a:lnTo>
                    <a:pt x="186" y="752"/>
                  </a:lnTo>
                  <a:lnTo>
                    <a:pt x="155" y="725"/>
                  </a:lnTo>
                  <a:lnTo>
                    <a:pt x="155" y="725"/>
                  </a:lnTo>
                  <a:lnTo>
                    <a:pt x="157" y="719"/>
                  </a:lnTo>
                  <a:lnTo>
                    <a:pt x="161" y="702"/>
                  </a:lnTo>
                  <a:lnTo>
                    <a:pt x="164" y="691"/>
                  </a:lnTo>
                  <a:lnTo>
                    <a:pt x="165" y="679"/>
                  </a:lnTo>
                  <a:lnTo>
                    <a:pt x="165" y="664"/>
                  </a:lnTo>
                  <a:lnTo>
                    <a:pt x="164" y="648"/>
                  </a:lnTo>
                  <a:lnTo>
                    <a:pt x="164" y="648"/>
                  </a:lnTo>
                  <a:lnTo>
                    <a:pt x="161" y="634"/>
                  </a:lnTo>
                  <a:lnTo>
                    <a:pt x="157" y="622"/>
                  </a:lnTo>
                  <a:lnTo>
                    <a:pt x="152" y="614"/>
                  </a:lnTo>
                  <a:lnTo>
                    <a:pt x="147" y="607"/>
                  </a:lnTo>
                  <a:lnTo>
                    <a:pt x="143" y="603"/>
                  </a:lnTo>
                  <a:lnTo>
                    <a:pt x="139" y="598"/>
                  </a:lnTo>
                  <a:lnTo>
                    <a:pt x="134" y="597"/>
                  </a:lnTo>
                  <a:lnTo>
                    <a:pt x="114" y="593"/>
                  </a:lnTo>
                  <a:lnTo>
                    <a:pt x="94" y="584"/>
                  </a:lnTo>
                  <a:lnTo>
                    <a:pt x="94" y="584"/>
                  </a:lnTo>
                  <a:lnTo>
                    <a:pt x="94" y="580"/>
                  </a:lnTo>
                  <a:lnTo>
                    <a:pt x="90" y="572"/>
                  </a:lnTo>
                  <a:lnTo>
                    <a:pt x="87" y="568"/>
                  </a:lnTo>
                  <a:lnTo>
                    <a:pt x="83" y="564"/>
                  </a:lnTo>
                  <a:lnTo>
                    <a:pt x="77" y="561"/>
                  </a:lnTo>
                  <a:lnTo>
                    <a:pt x="71" y="560"/>
                  </a:lnTo>
                  <a:lnTo>
                    <a:pt x="71" y="560"/>
                  </a:lnTo>
                  <a:lnTo>
                    <a:pt x="48" y="560"/>
                  </a:lnTo>
                  <a:lnTo>
                    <a:pt x="18" y="551"/>
                  </a:lnTo>
                  <a:lnTo>
                    <a:pt x="0" y="537"/>
                  </a:lnTo>
                  <a:lnTo>
                    <a:pt x="4" y="507"/>
                  </a:lnTo>
                  <a:lnTo>
                    <a:pt x="15" y="476"/>
                  </a:lnTo>
                  <a:lnTo>
                    <a:pt x="19" y="472"/>
                  </a:lnTo>
                  <a:lnTo>
                    <a:pt x="23" y="487"/>
                  </a:lnTo>
                  <a:lnTo>
                    <a:pt x="28" y="493"/>
                  </a:lnTo>
                  <a:lnTo>
                    <a:pt x="33" y="486"/>
                  </a:lnTo>
                  <a:lnTo>
                    <a:pt x="33" y="469"/>
                  </a:lnTo>
                  <a:lnTo>
                    <a:pt x="50" y="461"/>
                  </a:lnTo>
                  <a:lnTo>
                    <a:pt x="51" y="454"/>
                  </a:lnTo>
                  <a:lnTo>
                    <a:pt x="41" y="447"/>
                  </a:lnTo>
                  <a:lnTo>
                    <a:pt x="34" y="442"/>
                  </a:lnTo>
                  <a:lnTo>
                    <a:pt x="30" y="411"/>
                  </a:lnTo>
                  <a:lnTo>
                    <a:pt x="66" y="404"/>
                  </a:lnTo>
                  <a:lnTo>
                    <a:pt x="76" y="393"/>
                  </a:lnTo>
                  <a:lnTo>
                    <a:pt x="44" y="374"/>
                  </a:lnTo>
                  <a:lnTo>
                    <a:pt x="37" y="362"/>
                  </a:lnTo>
                  <a:lnTo>
                    <a:pt x="29" y="294"/>
                  </a:lnTo>
                  <a:lnTo>
                    <a:pt x="28" y="279"/>
                  </a:lnTo>
                  <a:lnTo>
                    <a:pt x="37" y="275"/>
                  </a:lnTo>
                  <a:lnTo>
                    <a:pt x="36" y="192"/>
                  </a:lnTo>
                  <a:lnTo>
                    <a:pt x="15" y="169"/>
                  </a:lnTo>
                  <a:lnTo>
                    <a:pt x="14" y="108"/>
                  </a:lnTo>
                  <a:lnTo>
                    <a:pt x="36" y="79"/>
                  </a:lnTo>
                  <a:lnTo>
                    <a:pt x="46" y="47"/>
                  </a:lnTo>
                  <a:lnTo>
                    <a:pt x="97" y="99"/>
                  </a:lnTo>
                  <a:lnTo>
                    <a:pt x="151" y="139"/>
                  </a:lnTo>
                  <a:lnTo>
                    <a:pt x="193" y="158"/>
                  </a:lnTo>
                  <a:lnTo>
                    <a:pt x="226" y="165"/>
                  </a:lnTo>
                  <a:lnTo>
                    <a:pt x="243" y="165"/>
                  </a:lnTo>
                  <a:lnTo>
                    <a:pt x="255" y="167"/>
                  </a:lnTo>
                  <a:lnTo>
                    <a:pt x="265" y="199"/>
                  </a:lnTo>
                  <a:lnTo>
                    <a:pt x="302" y="193"/>
                  </a:lnTo>
                  <a:lnTo>
                    <a:pt x="308" y="240"/>
                  </a:lnTo>
                  <a:lnTo>
                    <a:pt x="293" y="257"/>
                  </a:lnTo>
                  <a:lnTo>
                    <a:pt x="252" y="283"/>
                  </a:lnTo>
                  <a:lnTo>
                    <a:pt x="222" y="321"/>
                  </a:lnTo>
                  <a:lnTo>
                    <a:pt x="215" y="337"/>
                  </a:lnTo>
                  <a:lnTo>
                    <a:pt x="225" y="343"/>
                  </a:lnTo>
                  <a:lnTo>
                    <a:pt x="241" y="325"/>
                  </a:lnTo>
                  <a:lnTo>
                    <a:pt x="258" y="304"/>
                  </a:lnTo>
                  <a:lnTo>
                    <a:pt x="297" y="281"/>
                  </a:lnTo>
                  <a:lnTo>
                    <a:pt x="323" y="265"/>
                  </a:lnTo>
                  <a:lnTo>
                    <a:pt x="323" y="283"/>
                  </a:lnTo>
                  <a:lnTo>
                    <a:pt x="306" y="294"/>
                  </a:lnTo>
                  <a:lnTo>
                    <a:pt x="290" y="346"/>
                  </a:lnTo>
                  <a:lnTo>
                    <a:pt x="241" y="374"/>
                  </a:lnTo>
                  <a:lnTo>
                    <a:pt x="216" y="401"/>
                  </a:lnTo>
                  <a:lnTo>
                    <a:pt x="212" y="422"/>
                  </a:lnTo>
                  <a:lnTo>
                    <a:pt x="233" y="428"/>
                  </a:lnTo>
                  <a:lnTo>
                    <a:pt x="257" y="404"/>
                  </a:lnTo>
                  <a:lnTo>
                    <a:pt x="280" y="385"/>
                  </a:lnTo>
                  <a:lnTo>
                    <a:pt x="302" y="382"/>
                  </a:lnTo>
                  <a:lnTo>
                    <a:pt x="322" y="362"/>
                  </a:lnTo>
                  <a:lnTo>
                    <a:pt x="330" y="317"/>
                  </a:lnTo>
                  <a:lnTo>
                    <a:pt x="348" y="279"/>
                  </a:lnTo>
                  <a:lnTo>
                    <a:pt x="370" y="251"/>
                  </a:lnTo>
                  <a:lnTo>
                    <a:pt x="376" y="231"/>
                  </a:lnTo>
                  <a:lnTo>
                    <a:pt x="363" y="196"/>
                  </a:lnTo>
                  <a:lnTo>
                    <a:pt x="365" y="156"/>
                  </a:lnTo>
                  <a:lnTo>
                    <a:pt x="349" y="160"/>
                  </a:lnTo>
                  <a:lnTo>
                    <a:pt x="337" y="175"/>
                  </a:lnTo>
                  <a:lnTo>
                    <a:pt x="344" y="211"/>
                  </a:lnTo>
                  <a:lnTo>
                    <a:pt x="354" y="242"/>
                  </a:lnTo>
                  <a:lnTo>
                    <a:pt x="351" y="250"/>
                  </a:lnTo>
                  <a:lnTo>
                    <a:pt x="345" y="244"/>
                  </a:lnTo>
                  <a:lnTo>
                    <a:pt x="337" y="238"/>
                  </a:lnTo>
                  <a:lnTo>
                    <a:pt x="325" y="213"/>
                  </a:lnTo>
                  <a:lnTo>
                    <a:pt x="318" y="192"/>
                  </a:lnTo>
                  <a:lnTo>
                    <a:pt x="316" y="171"/>
                  </a:lnTo>
                  <a:lnTo>
                    <a:pt x="341" y="150"/>
                  </a:lnTo>
                  <a:lnTo>
                    <a:pt x="348" y="129"/>
                  </a:lnTo>
                  <a:lnTo>
                    <a:pt x="345" y="110"/>
                  </a:lnTo>
                  <a:lnTo>
                    <a:pt x="366" y="132"/>
                  </a:lnTo>
                  <a:lnTo>
                    <a:pt x="373" y="138"/>
                  </a:lnTo>
                  <a:lnTo>
                    <a:pt x="374" y="111"/>
                  </a:lnTo>
                  <a:lnTo>
                    <a:pt x="370" y="67"/>
                  </a:lnTo>
                  <a:lnTo>
                    <a:pt x="370" y="56"/>
                  </a:lnTo>
                  <a:lnTo>
                    <a:pt x="356" y="53"/>
                  </a:lnTo>
                  <a:lnTo>
                    <a:pt x="351" y="0"/>
                  </a:lnTo>
                  <a:lnTo>
                    <a:pt x="351" y="0"/>
                  </a:lnTo>
                  <a:lnTo>
                    <a:pt x="492" y="39"/>
                  </a:lnTo>
                  <a:lnTo>
                    <a:pt x="673" y="89"/>
                  </a:lnTo>
                  <a:lnTo>
                    <a:pt x="673" y="89"/>
                  </a:lnTo>
                  <a:lnTo>
                    <a:pt x="1093" y="200"/>
                  </a:lnTo>
                  <a:lnTo>
                    <a:pt x="1093" y="200"/>
                  </a:lnTo>
                  <a:lnTo>
                    <a:pt x="1111" y="204"/>
                  </a:lnTo>
                  <a:lnTo>
                    <a:pt x="1128" y="207"/>
                  </a:lnTo>
                  <a:lnTo>
                    <a:pt x="1145" y="210"/>
                  </a:lnTo>
                  <a:lnTo>
                    <a:pt x="1196" y="218"/>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7" name="Freeform 6"/>
            <p:cNvSpPr>
              <a:spLocks/>
            </p:cNvSpPr>
            <p:nvPr/>
          </p:nvSpPr>
          <p:spPr bwMode="auto">
            <a:xfrm>
              <a:off x="3684588" y="2295525"/>
              <a:ext cx="663575" cy="679450"/>
            </a:xfrm>
            <a:custGeom>
              <a:avLst/>
              <a:gdLst/>
              <a:ahLst/>
              <a:cxnLst>
                <a:cxn ang="0">
                  <a:pos x="185" y="0"/>
                </a:cxn>
                <a:cxn ang="0">
                  <a:pos x="1252" y="123"/>
                </a:cxn>
                <a:cxn ang="0">
                  <a:pos x="1246" y="240"/>
                </a:cxn>
                <a:cxn ang="0">
                  <a:pos x="1234" y="240"/>
                </a:cxn>
                <a:cxn ang="0">
                  <a:pos x="1152" y="1238"/>
                </a:cxn>
                <a:cxn ang="0">
                  <a:pos x="504" y="1178"/>
                </a:cxn>
                <a:cxn ang="0">
                  <a:pos x="497" y="1230"/>
                </a:cxn>
                <a:cxn ang="0">
                  <a:pos x="176" y="1193"/>
                </a:cxn>
                <a:cxn ang="0">
                  <a:pos x="155" y="1284"/>
                </a:cxn>
                <a:cxn ang="0">
                  <a:pos x="0" y="1262"/>
                </a:cxn>
                <a:cxn ang="0">
                  <a:pos x="185" y="0"/>
                </a:cxn>
              </a:cxnLst>
              <a:rect l="0" t="0" r="r" b="b"/>
              <a:pathLst>
                <a:path w="1252" h="1284">
                  <a:moveTo>
                    <a:pt x="185" y="0"/>
                  </a:moveTo>
                  <a:lnTo>
                    <a:pt x="1252" y="123"/>
                  </a:lnTo>
                  <a:lnTo>
                    <a:pt x="1246" y="240"/>
                  </a:lnTo>
                  <a:lnTo>
                    <a:pt x="1234" y="240"/>
                  </a:lnTo>
                  <a:lnTo>
                    <a:pt x="1152" y="1238"/>
                  </a:lnTo>
                  <a:lnTo>
                    <a:pt x="504" y="1178"/>
                  </a:lnTo>
                  <a:lnTo>
                    <a:pt x="497" y="1230"/>
                  </a:lnTo>
                  <a:lnTo>
                    <a:pt x="176" y="1193"/>
                  </a:lnTo>
                  <a:lnTo>
                    <a:pt x="155" y="1284"/>
                  </a:lnTo>
                  <a:lnTo>
                    <a:pt x="0" y="1262"/>
                  </a:lnTo>
                  <a:lnTo>
                    <a:pt x="185" y="0"/>
                  </a:lnTo>
                  <a:close/>
                </a:path>
              </a:pathLst>
            </a:custGeom>
            <a:solidFill>
              <a:schemeClr val="accent3"/>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8" name="Freeform 7"/>
            <p:cNvSpPr>
              <a:spLocks/>
            </p:cNvSpPr>
            <p:nvPr/>
          </p:nvSpPr>
          <p:spPr bwMode="auto">
            <a:xfrm>
              <a:off x="3932238" y="2422525"/>
              <a:ext cx="1314450" cy="1296987"/>
            </a:xfrm>
            <a:custGeom>
              <a:avLst/>
              <a:gdLst/>
              <a:ahLst/>
              <a:cxnLst>
                <a:cxn ang="0">
                  <a:pos x="2477" y="1285"/>
                </a:cxn>
                <a:cxn ang="0">
                  <a:pos x="2454" y="1181"/>
                </a:cxn>
                <a:cxn ang="0">
                  <a:pos x="2395" y="719"/>
                </a:cxn>
                <a:cxn ang="0">
                  <a:pos x="2294" y="702"/>
                </a:cxn>
                <a:cxn ang="0">
                  <a:pos x="2190" y="645"/>
                </a:cxn>
                <a:cxn ang="0">
                  <a:pos x="2078" y="641"/>
                </a:cxn>
                <a:cxn ang="0">
                  <a:pos x="2011" y="650"/>
                </a:cxn>
                <a:cxn ang="0">
                  <a:pos x="1939" y="672"/>
                </a:cxn>
                <a:cxn ang="0">
                  <a:pos x="1828" y="648"/>
                </a:cxn>
                <a:cxn ang="0">
                  <a:pos x="1792" y="638"/>
                </a:cxn>
                <a:cxn ang="0">
                  <a:pos x="1709" y="613"/>
                </a:cxn>
                <a:cxn ang="0">
                  <a:pos x="1656" y="612"/>
                </a:cxn>
                <a:cxn ang="0">
                  <a:pos x="1561" y="586"/>
                </a:cxn>
                <a:cxn ang="0">
                  <a:pos x="1480" y="557"/>
                </a:cxn>
                <a:cxn ang="0">
                  <a:pos x="1389" y="509"/>
                </a:cxn>
                <a:cxn ang="0">
                  <a:pos x="1332" y="494"/>
                </a:cxn>
                <a:cxn ang="0">
                  <a:pos x="686" y="998"/>
                </a:cxn>
                <a:cxn ang="0">
                  <a:pos x="14" y="1003"/>
                </a:cxn>
                <a:cxn ang="0">
                  <a:pos x="72" y="1080"/>
                </a:cxn>
                <a:cxn ang="0">
                  <a:pos x="124" y="1126"/>
                </a:cxn>
                <a:cxn ang="0">
                  <a:pos x="228" y="1230"/>
                </a:cxn>
                <a:cxn ang="0">
                  <a:pos x="301" y="1306"/>
                </a:cxn>
                <a:cxn ang="0">
                  <a:pos x="322" y="1423"/>
                </a:cxn>
                <a:cxn ang="0">
                  <a:pos x="362" y="1527"/>
                </a:cxn>
                <a:cxn ang="0">
                  <a:pos x="407" y="1568"/>
                </a:cxn>
                <a:cxn ang="0">
                  <a:pos x="489" y="1627"/>
                </a:cxn>
                <a:cxn ang="0">
                  <a:pos x="601" y="1686"/>
                </a:cxn>
                <a:cxn ang="0">
                  <a:pos x="659" y="1638"/>
                </a:cxn>
                <a:cxn ang="0">
                  <a:pos x="701" y="1550"/>
                </a:cxn>
                <a:cxn ang="0">
                  <a:pos x="812" y="1509"/>
                </a:cxn>
                <a:cxn ang="0">
                  <a:pos x="936" y="1535"/>
                </a:cxn>
                <a:cxn ang="0">
                  <a:pos x="1011" y="1602"/>
                </a:cxn>
                <a:cxn ang="0">
                  <a:pos x="1104" y="1754"/>
                </a:cxn>
                <a:cxn ang="0">
                  <a:pos x="1160" y="1883"/>
                </a:cxn>
                <a:cxn ang="0">
                  <a:pos x="1294" y="2039"/>
                </a:cxn>
                <a:cxn ang="0">
                  <a:pos x="1309" y="2133"/>
                </a:cxn>
                <a:cxn ang="0">
                  <a:pos x="1370" y="2286"/>
                </a:cxn>
                <a:cxn ang="0">
                  <a:pos x="1505" y="2350"/>
                </a:cxn>
                <a:cxn ang="0">
                  <a:pos x="1599" y="2403"/>
                </a:cxn>
                <a:cxn ang="0">
                  <a:pos x="1681" y="2427"/>
                </a:cxn>
                <a:cxn ang="0">
                  <a:pos x="1768" y="2422"/>
                </a:cxn>
                <a:cxn ang="0">
                  <a:pos x="1743" y="2334"/>
                </a:cxn>
                <a:cxn ang="0">
                  <a:pos x="1696" y="2219"/>
                </a:cxn>
                <a:cxn ang="0">
                  <a:pos x="1749" y="2029"/>
                </a:cxn>
                <a:cxn ang="0">
                  <a:pos x="1711" y="1985"/>
                </a:cxn>
                <a:cxn ang="0">
                  <a:pos x="1793" y="1950"/>
                </a:cxn>
                <a:cxn ang="0">
                  <a:pos x="1782" y="1922"/>
                </a:cxn>
                <a:cxn ang="0">
                  <a:pos x="1861" y="1924"/>
                </a:cxn>
                <a:cxn ang="0">
                  <a:pos x="1849" y="1899"/>
                </a:cxn>
                <a:cxn ang="0">
                  <a:pos x="1907" y="1876"/>
                </a:cxn>
                <a:cxn ang="0">
                  <a:pos x="1901" y="1815"/>
                </a:cxn>
                <a:cxn ang="0">
                  <a:pos x="1964" y="1810"/>
                </a:cxn>
                <a:cxn ang="0">
                  <a:pos x="2018" y="1806"/>
                </a:cxn>
                <a:cxn ang="0">
                  <a:pos x="2173" y="1725"/>
                </a:cxn>
                <a:cxn ang="0">
                  <a:pos x="2219" y="1674"/>
                </a:cxn>
                <a:cxn ang="0">
                  <a:pos x="2216" y="1625"/>
                </a:cxn>
                <a:cxn ang="0">
                  <a:pos x="2255" y="1571"/>
                </a:cxn>
                <a:cxn ang="0">
                  <a:pos x="2265" y="1641"/>
                </a:cxn>
                <a:cxn ang="0">
                  <a:pos x="2412" y="1584"/>
                </a:cxn>
                <a:cxn ang="0">
                  <a:pos x="2459" y="1474"/>
                </a:cxn>
              </a:cxnLst>
              <a:rect l="0" t="0" r="r" b="b"/>
              <a:pathLst>
                <a:path w="2484" h="2452">
                  <a:moveTo>
                    <a:pt x="2451" y="1388"/>
                  </a:moveTo>
                  <a:lnTo>
                    <a:pt x="2469" y="1348"/>
                  </a:lnTo>
                  <a:lnTo>
                    <a:pt x="2484" y="1317"/>
                  </a:lnTo>
                  <a:lnTo>
                    <a:pt x="2477" y="1285"/>
                  </a:lnTo>
                  <a:lnTo>
                    <a:pt x="2469" y="1239"/>
                  </a:lnTo>
                  <a:lnTo>
                    <a:pt x="2463" y="1226"/>
                  </a:lnTo>
                  <a:lnTo>
                    <a:pt x="2463" y="1194"/>
                  </a:lnTo>
                  <a:lnTo>
                    <a:pt x="2454" y="1181"/>
                  </a:lnTo>
                  <a:lnTo>
                    <a:pt x="2432" y="1131"/>
                  </a:lnTo>
                  <a:lnTo>
                    <a:pt x="2432" y="1121"/>
                  </a:lnTo>
                  <a:lnTo>
                    <a:pt x="2395" y="1085"/>
                  </a:lnTo>
                  <a:lnTo>
                    <a:pt x="2395" y="719"/>
                  </a:lnTo>
                  <a:lnTo>
                    <a:pt x="2339" y="713"/>
                  </a:lnTo>
                  <a:lnTo>
                    <a:pt x="2326" y="722"/>
                  </a:lnTo>
                  <a:lnTo>
                    <a:pt x="2312" y="716"/>
                  </a:lnTo>
                  <a:lnTo>
                    <a:pt x="2294" y="702"/>
                  </a:lnTo>
                  <a:lnTo>
                    <a:pt x="2275" y="691"/>
                  </a:lnTo>
                  <a:lnTo>
                    <a:pt x="2248" y="691"/>
                  </a:lnTo>
                  <a:lnTo>
                    <a:pt x="2214" y="668"/>
                  </a:lnTo>
                  <a:lnTo>
                    <a:pt x="2190" y="645"/>
                  </a:lnTo>
                  <a:lnTo>
                    <a:pt x="2162" y="636"/>
                  </a:lnTo>
                  <a:lnTo>
                    <a:pt x="2123" y="647"/>
                  </a:lnTo>
                  <a:lnTo>
                    <a:pt x="2108" y="644"/>
                  </a:lnTo>
                  <a:lnTo>
                    <a:pt x="2078" y="641"/>
                  </a:lnTo>
                  <a:lnTo>
                    <a:pt x="2064" y="652"/>
                  </a:lnTo>
                  <a:lnTo>
                    <a:pt x="2046" y="658"/>
                  </a:lnTo>
                  <a:lnTo>
                    <a:pt x="2029" y="647"/>
                  </a:lnTo>
                  <a:lnTo>
                    <a:pt x="2011" y="650"/>
                  </a:lnTo>
                  <a:lnTo>
                    <a:pt x="1997" y="662"/>
                  </a:lnTo>
                  <a:lnTo>
                    <a:pt x="1972" y="680"/>
                  </a:lnTo>
                  <a:lnTo>
                    <a:pt x="1949" y="686"/>
                  </a:lnTo>
                  <a:lnTo>
                    <a:pt x="1939" y="672"/>
                  </a:lnTo>
                  <a:lnTo>
                    <a:pt x="1921" y="655"/>
                  </a:lnTo>
                  <a:lnTo>
                    <a:pt x="1879" y="656"/>
                  </a:lnTo>
                  <a:lnTo>
                    <a:pt x="1853" y="644"/>
                  </a:lnTo>
                  <a:lnTo>
                    <a:pt x="1828" y="648"/>
                  </a:lnTo>
                  <a:lnTo>
                    <a:pt x="1814" y="670"/>
                  </a:lnTo>
                  <a:lnTo>
                    <a:pt x="1806" y="675"/>
                  </a:lnTo>
                  <a:lnTo>
                    <a:pt x="1799" y="647"/>
                  </a:lnTo>
                  <a:lnTo>
                    <a:pt x="1792" y="638"/>
                  </a:lnTo>
                  <a:lnTo>
                    <a:pt x="1759" y="659"/>
                  </a:lnTo>
                  <a:lnTo>
                    <a:pt x="1749" y="638"/>
                  </a:lnTo>
                  <a:lnTo>
                    <a:pt x="1717" y="613"/>
                  </a:lnTo>
                  <a:lnTo>
                    <a:pt x="1709" y="613"/>
                  </a:lnTo>
                  <a:lnTo>
                    <a:pt x="1697" y="629"/>
                  </a:lnTo>
                  <a:lnTo>
                    <a:pt x="1679" y="643"/>
                  </a:lnTo>
                  <a:lnTo>
                    <a:pt x="1663" y="640"/>
                  </a:lnTo>
                  <a:lnTo>
                    <a:pt x="1656" y="612"/>
                  </a:lnTo>
                  <a:lnTo>
                    <a:pt x="1642" y="611"/>
                  </a:lnTo>
                  <a:lnTo>
                    <a:pt x="1624" y="579"/>
                  </a:lnTo>
                  <a:lnTo>
                    <a:pt x="1582" y="575"/>
                  </a:lnTo>
                  <a:lnTo>
                    <a:pt x="1561" y="586"/>
                  </a:lnTo>
                  <a:lnTo>
                    <a:pt x="1545" y="569"/>
                  </a:lnTo>
                  <a:lnTo>
                    <a:pt x="1538" y="572"/>
                  </a:lnTo>
                  <a:lnTo>
                    <a:pt x="1512" y="575"/>
                  </a:lnTo>
                  <a:lnTo>
                    <a:pt x="1480" y="557"/>
                  </a:lnTo>
                  <a:lnTo>
                    <a:pt x="1437" y="555"/>
                  </a:lnTo>
                  <a:lnTo>
                    <a:pt x="1425" y="516"/>
                  </a:lnTo>
                  <a:lnTo>
                    <a:pt x="1405" y="504"/>
                  </a:lnTo>
                  <a:lnTo>
                    <a:pt x="1389" y="509"/>
                  </a:lnTo>
                  <a:lnTo>
                    <a:pt x="1378" y="505"/>
                  </a:lnTo>
                  <a:lnTo>
                    <a:pt x="1359" y="508"/>
                  </a:lnTo>
                  <a:lnTo>
                    <a:pt x="1346" y="509"/>
                  </a:lnTo>
                  <a:lnTo>
                    <a:pt x="1332" y="494"/>
                  </a:lnTo>
                  <a:lnTo>
                    <a:pt x="1294" y="459"/>
                  </a:lnTo>
                  <a:lnTo>
                    <a:pt x="1314" y="33"/>
                  </a:lnTo>
                  <a:lnTo>
                    <a:pt x="768" y="0"/>
                  </a:lnTo>
                  <a:lnTo>
                    <a:pt x="686" y="998"/>
                  </a:lnTo>
                  <a:lnTo>
                    <a:pt x="38" y="938"/>
                  </a:lnTo>
                  <a:lnTo>
                    <a:pt x="31" y="990"/>
                  </a:lnTo>
                  <a:lnTo>
                    <a:pt x="0" y="987"/>
                  </a:lnTo>
                  <a:lnTo>
                    <a:pt x="14" y="1003"/>
                  </a:lnTo>
                  <a:lnTo>
                    <a:pt x="41" y="1022"/>
                  </a:lnTo>
                  <a:lnTo>
                    <a:pt x="53" y="1044"/>
                  </a:lnTo>
                  <a:lnTo>
                    <a:pt x="60" y="1059"/>
                  </a:lnTo>
                  <a:lnTo>
                    <a:pt x="72" y="1080"/>
                  </a:lnTo>
                  <a:lnTo>
                    <a:pt x="85" y="1087"/>
                  </a:lnTo>
                  <a:lnTo>
                    <a:pt x="103" y="1094"/>
                  </a:lnTo>
                  <a:lnTo>
                    <a:pt x="117" y="1110"/>
                  </a:lnTo>
                  <a:lnTo>
                    <a:pt x="124" y="1126"/>
                  </a:lnTo>
                  <a:lnTo>
                    <a:pt x="142" y="1151"/>
                  </a:lnTo>
                  <a:lnTo>
                    <a:pt x="168" y="1170"/>
                  </a:lnTo>
                  <a:lnTo>
                    <a:pt x="213" y="1230"/>
                  </a:lnTo>
                  <a:lnTo>
                    <a:pt x="228" y="1230"/>
                  </a:lnTo>
                  <a:lnTo>
                    <a:pt x="245" y="1248"/>
                  </a:lnTo>
                  <a:lnTo>
                    <a:pt x="267" y="1260"/>
                  </a:lnTo>
                  <a:lnTo>
                    <a:pt x="292" y="1284"/>
                  </a:lnTo>
                  <a:lnTo>
                    <a:pt x="301" y="1306"/>
                  </a:lnTo>
                  <a:lnTo>
                    <a:pt x="307" y="1348"/>
                  </a:lnTo>
                  <a:lnTo>
                    <a:pt x="322" y="1378"/>
                  </a:lnTo>
                  <a:lnTo>
                    <a:pt x="329" y="1398"/>
                  </a:lnTo>
                  <a:lnTo>
                    <a:pt x="322" y="1423"/>
                  </a:lnTo>
                  <a:lnTo>
                    <a:pt x="322" y="1450"/>
                  </a:lnTo>
                  <a:lnTo>
                    <a:pt x="336" y="1481"/>
                  </a:lnTo>
                  <a:lnTo>
                    <a:pt x="356" y="1509"/>
                  </a:lnTo>
                  <a:lnTo>
                    <a:pt x="362" y="1527"/>
                  </a:lnTo>
                  <a:lnTo>
                    <a:pt x="371" y="1535"/>
                  </a:lnTo>
                  <a:lnTo>
                    <a:pt x="382" y="1543"/>
                  </a:lnTo>
                  <a:lnTo>
                    <a:pt x="396" y="1556"/>
                  </a:lnTo>
                  <a:lnTo>
                    <a:pt x="407" y="1568"/>
                  </a:lnTo>
                  <a:lnTo>
                    <a:pt x="432" y="1591"/>
                  </a:lnTo>
                  <a:lnTo>
                    <a:pt x="444" y="1604"/>
                  </a:lnTo>
                  <a:lnTo>
                    <a:pt x="464" y="1607"/>
                  </a:lnTo>
                  <a:lnTo>
                    <a:pt x="489" y="1627"/>
                  </a:lnTo>
                  <a:lnTo>
                    <a:pt x="522" y="1642"/>
                  </a:lnTo>
                  <a:lnTo>
                    <a:pt x="557" y="1668"/>
                  </a:lnTo>
                  <a:lnTo>
                    <a:pt x="578" y="1677"/>
                  </a:lnTo>
                  <a:lnTo>
                    <a:pt x="601" y="1686"/>
                  </a:lnTo>
                  <a:lnTo>
                    <a:pt x="625" y="1688"/>
                  </a:lnTo>
                  <a:lnTo>
                    <a:pt x="634" y="1663"/>
                  </a:lnTo>
                  <a:lnTo>
                    <a:pt x="650" y="1643"/>
                  </a:lnTo>
                  <a:lnTo>
                    <a:pt x="659" y="1638"/>
                  </a:lnTo>
                  <a:lnTo>
                    <a:pt x="677" y="1629"/>
                  </a:lnTo>
                  <a:lnTo>
                    <a:pt x="677" y="1600"/>
                  </a:lnTo>
                  <a:lnTo>
                    <a:pt x="690" y="1584"/>
                  </a:lnTo>
                  <a:lnTo>
                    <a:pt x="701" y="1550"/>
                  </a:lnTo>
                  <a:lnTo>
                    <a:pt x="730" y="1525"/>
                  </a:lnTo>
                  <a:lnTo>
                    <a:pt x="768" y="1516"/>
                  </a:lnTo>
                  <a:lnTo>
                    <a:pt x="791" y="1509"/>
                  </a:lnTo>
                  <a:lnTo>
                    <a:pt x="812" y="1509"/>
                  </a:lnTo>
                  <a:lnTo>
                    <a:pt x="844" y="1523"/>
                  </a:lnTo>
                  <a:lnTo>
                    <a:pt x="875" y="1527"/>
                  </a:lnTo>
                  <a:lnTo>
                    <a:pt x="894" y="1527"/>
                  </a:lnTo>
                  <a:lnTo>
                    <a:pt x="936" y="1535"/>
                  </a:lnTo>
                  <a:lnTo>
                    <a:pt x="952" y="1545"/>
                  </a:lnTo>
                  <a:lnTo>
                    <a:pt x="966" y="1574"/>
                  </a:lnTo>
                  <a:lnTo>
                    <a:pt x="983" y="1574"/>
                  </a:lnTo>
                  <a:lnTo>
                    <a:pt x="1011" y="1602"/>
                  </a:lnTo>
                  <a:lnTo>
                    <a:pt x="1026" y="1613"/>
                  </a:lnTo>
                  <a:lnTo>
                    <a:pt x="1048" y="1646"/>
                  </a:lnTo>
                  <a:lnTo>
                    <a:pt x="1079" y="1693"/>
                  </a:lnTo>
                  <a:lnTo>
                    <a:pt x="1104" y="1754"/>
                  </a:lnTo>
                  <a:lnTo>
                    <a:pt x="1119" y="1778"/>
                  </a:lnTo>
                  <a:lnTo>
                    <a:pt x="1138" y="1821"/>
                  </a:lnTo>
                  <a:lnTo>
                    <a:pt x="1138" y="1840"/>
                  </a:lnTo>
                  <a:lnTo>
                    <a:pt x="1160" y="1883"/>
                  </a:lnTo>
                  <a:lnTo>
                    <a:pt x="1201" y="1921"/>
                  </a:lnTo>
                  <a:lnTo>
                    <a:pt x="1213" y="1965"/>
                  </a:lnTo>
                  <a:lnTo>
                    <a:pt x="1267" y="2029"/>
                  </a:lnTo>
                  <a:lnTo>
                    <a:pt x="1294" y="2039"/>
                  </a:lnTo>
                  <a:lnTo>
                    <a:pt x="1289" y="2089"/>
                  </a:lnTo>
                  <a:lnTo>
                    <a:pt x="1281" y="2103"/>
                  </a:lnTo>
                  <a:lnTo>
                    <a:pt x="1291" y="2117"/>
                  </a:lnTo>
                  <a:lnTo>
                    <a:pt x="1309" y="2133"/>
                  </a:lnTo>
                  <a:lnTo>
                    <a:pt x="1309" y="2164"/>
                  </a:lnTo>
                  <a:lnTo>
                    <a:pt x="1341" y="2223"/>
                  </a:lnTo>
                  <a:lnTo>
                    <a:pt x="1355" y="2261"/>
                  </a:lnTo>
                  <a:lnTo>
                    <a:pt x="1370" y="2286"/>
                  </a:lnTo>
                  <a:lnTo>
                    <a:pt x="1381" y="2310"/>
                  </a:lnTo>
                  <a:lnTo>
                    <a:pt x="1427" y="2318"/>
                  </a:lnTo>
                  <a:lnTo>
                    <a:pt x="1457" y="2350"/>
                  </a:lnTo>
                  <a:lnTo>
                    <a:pt x="1505" y="2350"/>
                  </a:lnTo>
                  <a:lnTo>
                    <a:pt x="1539" y="2384"/>
                  </a:lnTo>
                  <a:lnTo>
                    <a:pt x="1561" y="2384"/>
                  </a:lnTo>
                  <a:lnTo>
                    <a:pt x="1578" y="2401"/>
                  </a:lnTo>
                  <a:lnTo>
                    <a:pt x="1599" y="2403"/>
                  </a:lnTo>
                  <a:lnTo>
                    <a:pt x="1607" y="2394"/>
                  </a:lnTo>
                  <a:lnTo>
                    <a:pt x="1660" y="2405"/>
                  </a:lnTo>
                  <a:lnTo>
                    <a:pt x="1660" y="2411"/>
                  </a:lnTo>
                  <a:lnTo>
                    <a:pt x="1681" y="2427"/>
                  </a:lnTo>
                  <a:lnTo>
                    <a:pt x="1709" y="2452"/>
                  </a:lnTo>
                  <a:lnTo>
                    <a:pt x="1721" y="2443"/>
                  </a:lnTo>
                  <a:lnTo>
                    <a:pt x="1731" y="2426"/>
                  </a:lnTo>
                  <a:lnTo>
                    <a:pt x="1768" y="2422"/>
                  </a:lnTo>
                  <a:lnTo>
                    <a:pt x="1759" y="2394"/>
                  </a:lnTo>
                  <a:lnTo>
                    <a:pt x="1757" y="2378"/>
                  </a:lnTo>
                  <a:lnTo>
                    <a:pt x="1752" y="2358"/>
                  </a:lnTo>
                  <a:lnTo>
                    <a:pt x="1743" y="2334"/>
                  </a:lnTo>
                  <a:lnTo>
                    <a:pt x="1725" y="2325"/>
                  </a:lnTo>
                  <a:lnTo>
                    <a:pt x="1717" y="2291"/>
                  </a:lnTo>
                  <a:lnTo>
                    <a:pt x="1711" y="2253"/>
                  </a:lnTo>
                  <a:lnTo>
                    <a:pt x="1696" y="2219"/>
                  </a:lnTo>
                  <a:lnTo>
                    <a:pt x="1697" y="2186"/>
                  </a:lnTo>
                  <a:lnTo>
                    <a:pt x="1713" y="2136"/>
                  </a:lnTo>
                  <a:lnTo>
                    <a:pt x="1724" y="2089"/>
                  </a:lnTo>
                  <a:lnTo>
                    <a:pt x="1749" y="2029"/>
                  </a:lnTo>
                  <a:lnTo>
                    <a:pt x="1743" y="2021"/>
                  </a:lnTo>
                  <a:lnTo>
                    <a:pt x="1729" y="2011"/>
                  </a:lnTo>
                  <a:lnTo>
                    <a:pt x="1711" y="1994"/>
                  </a:lnTo>
                  <a:lnTo>
                    <a:pt x="1711" y="1985"/>
                  </a:lnTo>
                  <a:lnTo>
                    <a:pt x="1721" y="1989"/>
                  </a:lnTo>
                  <a:lnTo>
                    <a:pt x="1771" y="1986"/>
                  </a:lnTo>
                  <a:lnTo>
                    <a:pt x="1779" y="1979"/>
                  </a:lnTo>
                  <a:lnTo>
                    <a:pt x="1793" y="1950"/>
                  </a:lnTo>
                  <a:lnTo>
                    <a:pt x="1779" y="1950"/>
                  </a:lnTo>
                  <a:lnTo>
                    <a:pt x="1774" y="1938"/>
                  </a:lnTo>
                  <a:lnTo>
                    <a:pt x="1772" y="1929"/>
                  </a:lnTo>
                  <a:lnTo>
                    <a:pt x="1782" y="1922"/>
                  </a:lnTo>
                  <a:lnTo>
                    <a:pt x="1807" y="1922"/>
                  </a:lnTo>
                  <a:lnTo>
                    <a:pt x="1832" y="1921"/>
                  </a:lnTo>
                  <a:lnTo>
                    <a:pt x="1845" y="1928"/>
                  </a:lnTo>
                  <a:lnTo>
                    <a:pt x="1861" y="1924"/>
                  </a:lnTo>
                  <a:lnTo>
                    <a:pt x="1888" y="1899"/>
                  </a:lnTo>
                  <a:lnTo>
                    <a:pt x="1879" y="1901"/>
                  </a:lnTo>
                  <a:lnTo>
                    <a:pt x="1856" y="1914"/>
                  </a:lnTo>
                  <a:lnTo>
                    <a:pt x="1849" y="1899"/>
                  </a:lnTo>
                  <a:lnTo>
                    <a:pt x="1861" y="1863"/>
                  </a:lnTo>
                  <a:lnTo>
                    <a:pt x="1871" y="1871"/>
                  </a:lnTo>
                  <a:lnTo>
                    <a:pt x="1883" y="1879"/>
                  </a:lnTo>
                  <a:lnTo>
                    <a:pt x="1907" y="1876"/>
                  </a:lnTo>
                  <a:lnTo>
                    <a:pt x="1922" y="1868"/>
                  </a:lnTo>
                  <a:lnTo>
                    <a:pt x="1918" y="1846"/>
                  </a:lnTo>
                  <a:lnTo>
                    <a:pt x="1897" y="1822"/>
                  </a:lnTo>
                  <a:lnTo>
                    <a:pt x="1901" y="1815"/>
                  </a:lnTo>
                  <a:lnTo>
                    <a:pt x="1922" y="1820"/>
                  </a:lnTo>
                  <a:lnTo>
                    <a:pt x="1936" y="1807"/>
                  </a:lnTo>
                  <a:lnTo>
                    <a:pt x="1947" y="1815"/>
                  </a:lnTo>
                  <a:lnTo>
                    <a:pt x="1964" y="1810"/>
                  </a:lnTo>
                  <a:lnTo>
                    <a:pt x="1972" y="1817"/>
                  </a:lnTo>
                  <a:lnTo>
                    <a:pt x="1986" y="1831"/>
                  </a:lnTo>
                  <a:lnTo>
                    <a:pt x="2004" y="1820"/>
                  </a:lnTo>
                  <a:lnTo>
                    <a:pt x="2018" y="1806"/>
                  </a:lnTo>
                  <a:lnTo>
                    <a:pt x="2057" y="1797"/>
                  </a:lnTo>
                  <a:lnTo>
                    <a:pt x="2097" y="1788"/>
                  </a:lnTo>
                  <a:lnTo>
                    <a:pt x="2158" y="1756"/>
                  </a:lnTo>
                  <a:lnTo>
                    <a:pt x="2173" y="1725"/>
                  </a:lnTo>
                  <a:lnTo>
                    <a:pt x="2178" y="1695"/>
                  </a:lnTo>
                  <a:lnTo>
                    <a:pt x="2197" y="1685"/>
                  </a:lnTo>
                  <a:lnTo>
                    <a:pt x="2208" y="1684"/>
                  </a:lnTo>
                  <a:lnTo>
                    <a:pt x="2219" y="1674"/>
                  </a:lnTo>
                  <a:lnTo>
                    <a:pt x="2233" y="1664"/>
                  </a:lnTo>
                  <a:lnTo>
                    <a:pt x="2228" y="1647"/>
                  </a:lnTo>
                  <a:lnTo>
                    <a:pt x="2222" y="1631"/>
                  </a:lnTo>
                  <a:lnTo>
                    <a:pt x="2216" y="1625"/>
                  </a:lnTo>
                  <a:lnTo>
                    <a:pt x="2214" y="1616"/>
                  </a:lnTo>
                  <a:lnTo>
                    <a:pt x="2221" y="1599"/>
                  </a:lnTo>
                  <a:lnTo>
                    <a:pt x="2236" y="1578"/>
                  </a:lnTo>
                  <a:lnTo>
                    <a:pt x="2255" y="1571"/>
                  </a:lnTo>
                  <a:lnTo>
                    <a:pt x="2264" y="1571"/>
                  </a:lnTo>
                  <a:lnTo>
                    <a:pt x="2265" y="1588"/>
                  </a:lnTo>
                  <a:lnTo>
                    <a:pt x="2268" y="1609"/>
                  </a:lnTo>
                  <a:lnTo>
                    <a:pt x="2265" y="1641"/>
                  </a:lnTo>
                  <a:lnTo>
                    <a:pt x="2276" y="1643"/>
                  </a:lnTo>
                  <a:lnTo>
                    <a:pt x="2308" y="1620"/>
                  </a:lnTo>
                  <a:lnTo>
                    <a:pt x="2332" y="1613"/>
                  </a:lnTo>
                  <a:lnTo>
                    <a:pt x="2412" y="1584"/>
                  </a:lnTo>
                  <a:lnTo>
                    <a:pt x="2430" y="1574"/>
                  </a:lnTo>
                  <a:lnTo>
                    <a:pt x="2445" y="1548"/>
                  </a:lnTo>
                  <a:lnTo>
                    <a:pt x="2461" y="1491"/>
                  </a:lnTo>
                  <a:lnTo>
                    <a:pt x="2459" y="1474"/>
                  </a:lnTo>
                  <a:lnTo>
                    <a:pt x="2445" y="1430"/>
                  </a:lnTo>
                  <a:lnTo>
                    <a:pt x="2450" y="1406"/>
                  </a:lnTo>
                  <a:lnTo>
                    <a:pt x="2451" y="1388"/>
                  </a:lnTo>
                  <a:close/>
                </a:path>
              </a:pathLst>
            </a:custGeom>
            <a:solidFill>
              <a:schemeClr val="accent3"/>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9" name="Freeform 8"/>
            <p:cNvSpPr>
              <a:spLocks/>
            </p:cNvSpPr>
            <p:nvPr/>
          </p:nvSpPr>
          <p:spPr bwMode="auto">
            <a:xfrm>
              <a:off x="3146425" y="2214563"/>
              <a:ext cx="636587" cy="749300"/>
            </a:xfrm>
            <a:custGeom>
              <a:avLst/>
              <a:gdLst/>
              <a:ahLst/>
              <a:cxnLst>
                <a:cxn ang="0">
                  <a:pos x="338" y="0"/>
                </a:cxn>
                <a:cxn ang="0">
                  <a:pos x="338" y="0"/>
                </a:cxn>
                <a:cxn ang="0">
                  <a:pos x="328" y="47"/>
                </a:cxn>
                <a:cxn ang="0">
                  <a:pos x="314" y="116"/>
                </a:cxn>
                <a:cxn ang="0">
                  <a:pos x="314" y="116"/>
                </a:cxn>
                <a:cxn ang="0">
                  <a:pos x="299" y="165"/>
                </a:cxn>
                <a:cxn ang="0">
                  <a:pos x="289" y="198"/>
                </a:cxn>
                <a:cxn ang="0">
                  <a:pos x="272" y="208"/>
                </a:cxn>
                <a:cxn ang="0">
                  <a:pos x="260" y="201"/>
                </a:cxn>
                <a:cxn ang="0">
                  <a:pos x="238" y="183"/>
                </a:cxn>
                <a:cxn ang="0">
                  <a:pos x="218" y="193"/>
                </a:cxn>
                <a:cxn ang="0">
                  <a:pos x="207" y="173"/>
                </a:cxn>
                <a:cxn ang="0">
                  <a:pos x="177" y="182"/>
                </a:cxn>
                <a:cxn ang="0">
                  <a:pos x="163" y="197"/>
                </a:cxn>
                <a:cxn ang="0">
                  <a:pos x="164" y="245"/>
                </a:cxn>
                <a:cxn ang="0">
                  <a:pos x="163" y="312"/>
                </a:cxn>
                <a:cxn ang="0">
                  <a:pos x="163" y="370"/>
                </a:cxn>
                <a:cxn ang="0">
                  <a:pos x="159" y="393"/>
                </a:cxn>
                <a:cxn ang="0">
                  <a:pos x="143" y="413"/>
                </a:cxn>
                <a:cxn ang="0">
                  <a:pos x="138" y="438"/>
                </a:cxn>
                <a:cxn ang="0">
                  <a:pos x="141" y="468"/>
                </a:cxn>
                <a:cxn ang="0">
                  <a:pos x="157" y="511"/>
                </a:cxn>
                <a:cxn ang="0">
                  <a:pos x="160" y="552"/>
                </a:cxn>
                <a:cxn ang="0">
                  <a:pos x="172" y="566"/>
                </a:cxn>
                <a:cxn ang="0">
                  <a:pos x="193" y="594"/>
                </a:cxn>
                <a:cxn ang="0">
                  <a:pos x="179" y="606"/>
                </a:cxn>
                <a:cxn ang="0">
                  <a:pos x="156" y="622"/>
                </a:cxn>
                <a:cxn ang="0">
                  <a:pos x="110" y="658"/>
                </a:cxn>
                <a:cxn ang="0">
                  <a:pos x="95" y="719"/>
                </a:cxn>
                <a:cxn ang="0">
                  <a:pos x="77" y="755"/>
                </a:cxn>
                <a:cxn ang="0">
                  <a:pos x="61" y="770"/>
                </a:cxn>
                <a:cxn ang="0">
                  <a:pos x="49" y="778"/>
                </a:cxn>
                <a:cxn ang="0">
                  <a:pos x="41" y="796"/>
                </a:cxn>
                <a:cxn ang="0">
                  <a:pos x="48" y="827"/>
                </a:cxn>
                <a:cxn ang="0">
                  <a:pos x="41" y="852"/>
                </a:cxn>
                <a:cxn ang="0">
                  <a:pos x="70" y="876"/>
                </a:cxn>
                <a:cxn ang="0">
                  <a:pos x="59" y="894"/>
                </a:cxn>
                <a:cxn ang="0">
                  <a:pos x="23" y="910"/>
                </a:cxn>
                <a:cxn ang="0">
                  <a:pos x="12" y="930"/>
                </a:cxn>
                <a:cxn ang="0">
                  <a:pos x="0" y="960"/>
                </a:cxn>
                <a:cxn ang="0">
                  <a:pos x="644" y="1354"/>
                </a:cxn>
                <a:cxn ang="0">
                  <a:pos x="848" y="1391"/>
                </a:cxn>
                <a:cxn ang="0">
                  <a:pos x="1016" y="1414"/>
                </a:cxn>
                <a:cxn ang="0">
                  <a:pos x="1019" y="1416"/>
                </a:cxn>
                <a:cxn ang="0">
                  <a:pos x="1204" y="154"/>
                </a:cxn>
                <a:cxn ang="0">
                  <a:pos x="338" y="0"/>
                </a:cxn>
              </a:cxnLst>
              <a:rect l="0" t="0" r="r" b="b"/>
              <a:pathLst>
                <a:path w="1204" h="1416">
                  <a:moveTo>
                    <a:pt x="338" y="0"/>
                  </a:moveTo>
                  <a:lnTo>
                    <a:pt x="338" y="0"/>
                  </a:lnTo>
                  <a:lnTo>
                    <a:pt x="328" y="47"/>
                  </a:lnTo>
                  <a:lnTo>
                    <a:pt x="314" y="116"/>
                  </a:lnTo>
                  <a:lnTo>
                    <a:pt x="314" y="116"/>
                  </a:lnTo>
                  <a:lnTo>
                    <a:pt x="299" y="165"/>
                  </a:lnTo>
                  <a:lnTo>
                    <a:pt x="289" y="198"/>
                  </a:lnTo>
                  <a:lnTo>
                    <a:pt x="272" y="208"/>
                  </a:lnTo>
                  <a:lnTo>
                    <a:pt x="260" y="201"/>
                  </a:lnTo>
                  <a:lnTo>
                    <a:pt x="238" y="183"/>
                  </a:lnTo>
                  <a:lnTo>
                    <a:pt x="218" y="193"/>
                  </a:lnTo>
                  <a:lnTo>
                    <a:pt x="207" y="173"/>
                  </a:lnTo>
                  <a:lnTo>
                    <a:pt x="177" y="182"/>
                  </a:lnTo>
                  <a:lnTo>
                    <a:pt x="163" y="197"/>
                  </a:lnTo>
                  <a:lnTo>
                    <a:pt x="164" y="245"/>
                  </a:lnTo>
                  <a:lnTo>
                    <a:pt x="163" y="312"/>
                  </a:lnTo>
                  <a:lnTo>
                    <a:pt x="163" y="370"/>
                  </a:lnTo>
                  <a:lnTo>
                    <a:pt x="159" y="393"/>
                  </a:lnTo>
                  <a:lnTo>
                    <a:pt x="143" y="413"/>
                  </a:lnTo>
                  <a:lnTo>
                    <a:pt x="138" y="438"/>
                  </a:lnTo>
                  <a:lnTo>
                    <a:pt x="141" y="468"/>
                  </a:lnTo>
                  <a:lnTo>
                    <a:pt x="157" y="511"/>
                  </a:lnTo>
                  <a:lnTo>
                    <a:pt x="160" y="552"/>
                  </a:lnTo>
                  <a:lnTo>
                    <a:pt x="172" y="566"/>
                  </a:lnTo>
                  <a:lnTo>
                    <a:pt x="193" y="594"/>
                  </a:lnTo>
                  <a:lnTo>
                    <a:pt x="179" y="606"/>
                  </a:lnTo>
                  <a:lnTo>
                    <a:pt x="156" y="622"/>
                  </a:lnTo>
                  <a:lnTo>
                    <a:pt x="110" y="658"/>
                  </a:lnTo>
                  <a:lnTo>
                    <a:pt x="95" y="719"/>
                  </a:lnTo>
                  <a:lnTo>
                    <a:pt x="77" y="755"/>
                  </a:lnTo>
                  <a:lnTo>
                    <a:pt x="61" y="770"/>
                  </a:lnTo>
                  <a:lnTo>
                    <a:pt x="49" y="778"/>
                  </a:lnTo>
                  <a:lnTo>
                    <a:pt x="41" y="796"/>
                  </a:lnTo>
                  <a:lnTo>
                    <a:pt x="48" y="827"/>
                  </a:lnTo>
                  <a:lnTo>
                    <a:pt x="41" y="852"/>
                  </a:lnTo>
                  <a:lnTo>
                    <a:pt x="70" y="876"/>
                  </a:lnTo>
                  <a:lnTo>
                    <a:pt x="59" y="894"/>
                  </a:lnTo>
                  <a:lnTo>
                    <a:pt x="23" y="910"/>
                  </a:lnTo>
                  <a:lnTo>
                    <a:pt x="12" y="930"/>
                  </a:lnTo>
                  <a:lnTo>
                    <a:pt x="0" y="960"/>
                  </a:lnTo>
                  <a:lnTo>
                    <a:pt x="644" y="1354"/>
                  </a:lnTo>
                  <a:lnTo>
                    <a:pt x="848" y="1391"/>
                  </a:lnTo>
                  <a:lnTo>
                    <a:pt x="1016" y="1414"/>
                  </a:lnTo>
                  <a:lnTo>
                    <a:pt x="1019" y="1416"/>
                  </a:lnTo>
                  <a:lnTo>
                    <a:pt x="1204" y="154"/>
                  </a:lnTo>
                  <a:lnTo>
                    <a:pt x="338" y="0"/>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0" name="Freeform 9"/>
            <p:cNvSpPr>
              <a:spLocks/>
            </p:cNvSpPr>
            <p:nvPr/>
          </p:nvSpPr>
          <p:spPr bwMode="auto">
            <a:xfrm>
              <a:off x="2498725" y="1404938"/>
              <a:ext cx="749300" cy="1293812"/>
            </a:xfrm>
            <a:custGeom>
              <a:avLst/>
              <a:gdLst/>
              <a:ahLst/>
              <a:cxnLst>
                <a:cxn ang="0">
                  <a:pos x="1263" y="2382"/>
                </a:cxn>
                <a:cxn ang="0">
                  <a:pos x="1271" y="2308"/>
                </a:cxn>
                <a:cxn ang="0">
                  <a:pos x="1317" y="2249"/>
                </a:cxn>
                <a:cxn ang="0">
                  <a:pos x="1401" y="2136"/>
                </a:cxn>
                <a:cxn ang="0">
                  <a:pos x="1382" y="2082"/>
                </a:cxn>
                <a:cxn ang="0">
                  <a:pos x="1360" y="1968"/>
                </a:cxn>
                <a:cxn ang="0">
                  <a:pos x="652" y="866"/>
                </a:cxn>
                <a:cxn ang="0">
                  <a:pos x="627" y="840"/>
                </a:cxn>
                <a:cxn ang="0">
                  <a:pos x="642" y="801"/>
                </a:cxn>
                <a:cxn ang="0">
                  <a:pos x="146" y="0"/>
                </a:cxn>
                <a:cxn ang="0">
                  <a:pos x="129" y="50"/>
                </a:cxn>
                <a:cxn ang="0">
                  <a:pos x="123" y="139"/>
                </a:cxn>
                <a:cxn ang="0">
                  <a:pos x="93" y="190"/>
                </a:cxn>
                <a:cxn ang="0">
                  <a:pos x="43" y="278"/>
                </a:cxn>
                <a:cxn ang="0">
                  <a:pos x="3" y="345"/>
                </a:cxn>
                <a:cxn ang="0">
                  <a:pos x="19" y="411"/>
                </a:cxn>
                <a:cxn ang="0">
                  <a:pos x="54" y="494"/>
                </a:cxn>
                <a:cxn ang="0">
                  <a:pos x="30" y="604"/>
                </a:cxn>
                <a:cxn ang="0">
                  <a:pos x="18" y="672"/>
                </a:cxn>
                <a:cxn ang="0">
                  <a:pos x="64" y="798"/>
                </a:cxn>
                <a:cxn ang="0">
                  <a:pos x="94" y="883"/>
                </a:cxn>
                <a:cxn ang="0">
                  <a:pos x="80" y="930"/>
                </a:cxn>
                <a:cxn ang="0">
                  <a:pos x="128" y="968"/>
                </a:cxn>
                <a:cxn ang="0">
                  <a:pos x="158" y="959"/>
                </a:cxn>
                <a:cxn ang="0">
                  <a:pos x="208" y="948"/>
                </a:cxn>
                <a:cxn ang="0">
                  <a:pos x="284" y="975"/>
                </a:cxn>
                <a:cxn ang="0">
                  <a:pos x="270" y="986"/>
                </a:cxn>
                <a:cxn ang="0">
                  <a:pos x="222" y="968"/>
                </a:cxn>
                <a:cxn ang="0">
                  <a:pos x="182" y="964"/>
                </a:cxn>
                <a:cxn ang="0">
                  <a:pos x="194" y="1026"/>
                </a:cxn>
                <a:cxn ang="0">
                  <a:pos x="171" y="1057"/>
                </a:cxn>
                <a:cxn ang="0">
                  <a:pos x="161" y="1019"/>
                </a:cxn>
                <a:cxn ang="0">
                  <a:pos x="134" y="1026"/>
                </a:cxn>
                <a:cxn ang="0">
                  <a:pos x="126" y="1122"/>
                </a:cxn>
                <a:cxn ang="0">
                  <a:pos x="168" y="1195"/>
                </a:cxn>
                <a:cxn ang="0">
                  <a:pos x="197" y="1261"/>
                </a:cxn>
                <a:cxn ang="0">
                  <a:pos x="157" y="1286"/>
                </a:cxn>
                <a:cxn ang="0">
                  <a:pos x="186" y="1406"/>
                </a:cxn>
                <a:cxn ang="0">
                  <a:pos x="232" y="1513"/>
                </a:cxn>
                <a:cxn ang="0">
                  <a:pos x="275" y="1580"/>
                </a:cxn>
                <a:cxn ang="0">
                  <a:pos x="273" y="1635"/>
                </a:cxn>
                <a:cxn ang="0">
                  <a:pos x="295" y="1689"/>
                </a:cxn>
                <a:cxn ang="0">
                  <a:pos x="276" y="1795"/>
                </a:cxn>
                <a:cxn ang="0">
                  <a:pos x="408" y="1866"/>
                </a:cxn>
                <a:cxn ang="0">
                  <a:pos x="506" y="1948"/>
                </a:cxn>
                <a:cxn ang="0">
                  <a:pos x="622" y="2054"/>
                </a:cxn>
                <a:cxn ang="0">
                  <a:pos x="706" y="2131"/>
                </a:cxn>
                <a:cxn ang="0">
                  <a:pos x="787" y="2272"/>
                </a:cxn>
                <a:cxn ang="0">
                  <a:pos x="787" y="2385"/>
                </a:cxn>
                <a:cxn ang="0">
                  <a:pos x="1245" y="2440"/>
                </a:cxn>
              </a:cxnLst>
              <a:rect l="0" t="0" r="r" b="b"/>
              <a:pathLst>
                <a:path w="1415" h="2447">
                  <a:moveTo>
                    <a:pt x="1281" y="2424"/>
                  </a:moveTo>
                  <a:lnTo>
                    <a:pt x="1292" y="2406"/>
                  </a:lnTo>
                  <a:lnTo>
                    <a:pt x="1263" y="2382"/>
                  </a:lnTo>
                  <a:lnTo>
                    <a:pt x="1270" y="2357"/>
                  </a:lnTo>
                  <a:lnTo>
                    <a:pt x="1263" y="2326"/>
                  </a:lnTo>
                  <a:lnTo>
                    <a:pt x="1271" y="2308"/>
                  </a:lnTo>
                  <a:lnTo>
                    <a:pt x="1283" y="2300"/>
                  </a:lnTo>
                  <a:lnTo>
                    <a:pt x="1299" y="2285"/>
                  </a:lnTo>
                  <a:lnTo>
                    <a:pt x="1317" y="2249"/>
                  </a:lnTo>
                  <a:lnTo>
                    <a:pt x="1332" y="2188"/>
                  </a:lnTo>
                  <a:lnTo>
                    <a:pt x="1378" y="2152"/>
                  </a:lnTo>
                  <a:lnTo>
                    <a:pt x="1401" y="2136"/>
                  </a:lnTo>
                  <a:lnTo>
                    <a:pt x="1415" y="2124"/>
                  </a:lnTo>
                  <a:lnTo>
                    <a:pt x="1394" y="2096"/>
                  </a:lnTo>
                  <a:lnTo>
                    <a:pt x="1382" y="2082"/>
                  </a:lnTo>
                  <a:lnTo>
                    <a:pt x="1379" y="2041"/>
                  </a:lnTo>
                  <a:lnTo>
                    <a:pt x="1363" y="1998"/>
                  </a:lnTo>
                  <a:lnTo>
                    <a:pt x="1360" y="1968"/>
                  </a:lnTo>
                  <a:lnTo>
                    <a:pt x="1365" y="1943"/>
                  </a:lnTo>
                  <a:lnTo>
                    <a:pt x="1367" y="1941"/>
                  </a:lnTo>
                  <a:lnTo>
                    <a:pt x="652" y="866"/>
                  </a:lnTo>
                  <a:lnTo>
                    <a:pt x="637" y="861"/>
                  </a:lnTo>
                  <a:lnTo>
                    <a:pt x="630" y="855"/>
                  </a:lnTo>
                  <a:lnTo>
                    <a:pt x="627" y="840"/>
                  </a:lnTo>
                  <a:lnTo>
                    <a:pt x="622" y="823"/>
                  </a:lnTo>
                  <a:lnTo>
                    <a:pt x="626" y="808"/>
                  </a:lnTo>
                  <a:lnTo>
                    <a:pt x="642" y="801"/>
                  </a:lnTo>
                  <a:lnTo>
                    <a:pt x="658" y="797"/>
                  </a:lnTo>
                  <a:lnTo>
                    <a:pt x="816" y="195"/>
                  </a:lnTo>
                  <a:lnTo>
                    <a:pt x="146" y="0"/>
                  </a:lnTo>
                  <a:lnTo>
                    <a:pt x="139" y="20"/>
                  </a:lnTo>
                  <a:lnTo>
                    <a:pt x="129" y="29"/>
                  </a:lnTo>
                  <a:lnTo>
                    <a:pt x="129" y="50"/>
                  </a:lnTo>
                  <a:lnTo>
                    <a:pt x="129" y="67"/>
                  </a:lnTo>
                  <a:lnTo>
                    <a:pt x="129" y="115"/>
                  </a:lnTo>
                  <a:lnTo>
                    <a:pt x="123" y="139"/>
                  </a:lnTo>
                  <a:lnTo>
                    <a:pt x="108" y="165"/>
                  </a:lnTo>
                  <a:lnTo>
                    <a:pt x="97" y="182"/>
                  </a:lnTo>
                  <a:lnTo>
                    <a:pt x="93" y="190"/>
                  </a:lnTo>
                  <a:lnTo>
                    <a:pt x="93" y="224"/>
                  </a:lnTo>
                  <a:lnTo>
                    <a:pt x="75" y="249"/>
                  </a:lnTo>
                  <a:lnTo>
                    <a:pt x="43" y="278"/>
                  </a:lnTo>
                  <a:lnTo>
                    <a:pt x="15" y="301"/>
                  </a:lnTo>
                  <a:lnTo>
                    <a:pt x="7" y="315"/>
                  </a:lnTo>
                  <a:lnTo>
                    <a:pt x="3" y="345"/>
                  </a:lnTo>
                  <a:lnTo>
                    <a:pt x="0" y="367"/>
                  </a:lnTo>
                  <a:lnTo>
                    <a:pt x="5" y="388"/>
                  </a:lnTo>
                  <a:lnTo>
                    <a:pt x="19" y="411"/>
                  </a:lnTo>
                  <a:lnTo>
                    <a:pt x="39" y="444"/>
                  </a:lnTo>
                  <a:lnTo>
                    <a:pt x="48" y="469"/>
                  </a:lnTo>
                  <a:lnTo>
                    <a:pt x="54" y="494"/>
                  </a:lnTo>
                  <a:lnTo>
                    <a:pt x="51" y="537"/>
                  </a:lnTo>
                  <a:lnTo>
                    <a:pt x="35" y="572"/>
                  </a:lnTo>
                  <a:lnTo>
                    <a:pt x="30" y="604"/>
                  </a:lnTo>
                  <a:lnTo>
                    <a:pt x="29" y="644"/>
                  </a:lnTo>
                  <a:lnTo>
                    <a:pt x="26" y="660"/>
                  </a:lnTo>
                  <a:lnTo>
                    <a:pt x="18" y="672"/>
                  </a:lnTo>
                  <a:lnTo>
                    <a:pt x="19" y="693"/>
                  </a:lnTo>
                  <a:lnTo>
                    <a:pt x="37" y="733"/>
                  </a:lnTo>
                  <a:lnTo>
                    <a:pt x="64" y="798"/>
                  </a:lnTo>
                  <a:lnTo>
                    <a:pt x="84" y="841"/>
                  </a:lnTo>
                  <a:lnTo>
                    <a:pt x="96" y="859"/>
                  </a:lnTo>
                  <a:lnTo>
                    <a:pt x="94" y="883"/>
                  </a:lnTo>
                  <a:lnTo>
                    <a:pt x="90" y="901"/>
                  </a:lnTo>
                  <a:lnTo>
                    <a:pt x="79" y="915"/>
                  </a:lnTo>
                  <a:lnTo>
                    <a:pt x="80" y="930"/>
                  </a:lnTo>
                  <a:lnTo>
                    <a:pt x="97" y="930"/>
                  </a:lnTo>
                  <a:lnTo>
                    <a:pt x="112" y="945"/>
                  </a:lnTo>
                  <a:lnTo>
                    <a:pt x="128" y="968"/>
                  </a:lnTo>
                  <a:lnTo>
                    <a:pt x="137" y="980"/>
                  </a:lnTo>
                  <a:lnTo>
                    <a:pt x="150" y="984"/>
                  </a:lnTo>
                  <a:lnTo>
                    <a:pt x="158" y="959"/>
                  </a:lnTo>
                  <a:lnTo>
                    <a:pt x="161" y="932"/>
                  </a:lnTo>
                  <a:lnTo>
                    <a:pt x="191" y="932"/>
                  </a:lnTo>
                  <a:lnTo>
                    <a:pt x="208" y="948"/>
                  </a:lnTo>
                  <a:lnTo>
                    <a:pt x="245" y="950"/>
                  </a:lnTo>
                  <a:lnTo>
                    <a:pt x="265" y="966"/>
                  </a:lnTo>
                  <a:lnTo>
                    <a:pt x="284" y="975"/>
                  </a:lnTo>
                  <a:lnTo>
                    <a:pt x="293" y="980"/>
                  </a:lnTo>
                  <a:lnTo>
                    <a:pt x="286" y="990"/>
                  </a:lnTo>
                  <a:lnTo>
                    <a:pt x="270" y="986"/>
                  </a:lnTo>
                  <a:lnTo>
                    <a:pt x="254" y="976"/>
                  </a:lnTo>
                  <a:lnTo>
                    <a:pt x="244" y="970"/>
                  </a:lnTo>
                  <a:lnTo>
                    <a:pt x="222" y="968"/>
                  </a:lnTo>
                  <a:lnTo>
                    <a:pt x="211" y="962"/>
                  </a:lnTo>
                  <a:lnTo>
                    <a:pt x="194" y="958"/>
                  </a:lnTo>
                  <a:lnTo>
                    <a:pt x="182" y="964"/>
                  </a:lnTo>
                  <a:lnTo>
                    <a:pt x="182" y="976"/>
                  </a:lnTo>
                  <a:lnTo>
                    <a:pt x="184" y="1011"/>
                  </a:lnTo>
                  <a:lnTo>
                    <a:pt x="194" y="1026"/>
                  </a:lnTo>
                  <a:lnTo>
                    <a:pt x="191" y="1062"/>
                  </a:lnTo>
                  <a:lnTo>
                    <a:pt x="184" y="1062"/>
                  </a:lnTo>
                  <a:lnTo>
                    <a:pt x="171" y="1057"/>
                  </a:lnTo>
                  <a:lnTo>
                    <a:pt x="164" y="1045"/>
                  </a:lnTo>
                  <a:lnTo>
                    <a:pt x="161" y="1025"/>
                  </a:lnTo>
                  <a:lnTo>
                    <a:pt x="161" y="1019"/>
                  </a:lnTo>
                  <a:lnTo>
                    <a:pt x="157" y="1012"/>
                  </a:lnTo>
                  <a:lnTo>
                    <a:pt x="139" y="1009"/>
                  </a:lnTo>
                  <a:lnTo>
                    <a:pt x="134" y="1026"/>
                  </a:lnTo>
                  <a:lnTo>
                    <a:pt x="133" y="1041"/>
                  </a:lnTo>
                  <a:lnTo>
                    <a:pt x="128" y="1075"/>
                  </a:lnTo>
                  <a:lnTo>
                    <a:pt x="126" y="1122"/>
                  </a:lnTo>
                  <a:lnTo>
                    <a:pt x="129" y="1147"/>
                  </a:lnTo>
                  <a:lnTo>
                    <a:pt x="147" y="1174"/>
                  </a:lnTo>
                  <a:lnTo>
                    <a:pt x="168" y="1195"/>
                  </a:lnTo>
                  <a:lnTo>
                    <a:pt x="191" y="1209"/>
                  </a:lnTo>
                  <a:lnTo>
                    <a:pt x="198" y="1236"/>
                  </a:lnTo>
                  <a:lnTo>
                    <a:pt x="197" y="1261"/>
                  </a:lnTo>
                  <a:lnTo>
                    <a:pt x="189" y="1277"/>
                  </a:lnTo>
                  <a:lnTo>
                    <a:pt x="175" y="1286"/>
                  </a:lnTo>
                  <a:lnTo>
                    <a:pt x="157" y="1286"/>
                  </a:lnTo>
                  <a:lnTo>
                    <a:pt x="155" y="1341"/>
                  </a:lnTo>
                  <a:lnTo>
                    <a:pt x="161" y="1359"/>
                  </a:lnTo>
                  <a:lnTo>
                    <a:pt x="186" y="1406"/>
                  </a:lnTo>
                  <a:lnTo>
                    <a:pt x="198" y="1435"/>
                  </a:lnTo>
                  <a:lnTo>
                    <a:pt x="220" y="1476"/>
                  </a:lnTo>
                  <a:lnTo>
                    <a:pt x="232" y="1513"/>
                  </a:lnTo>
                  <a:lnTo>
                    <a:pt x="250" y="1541"/>
                  </a:lnTo>
                  <a:lnTo>
                    <a:pt x="269" y="1576"/>
                  </a:lnTo>
                  <a:lnTo>
                    <a:pt x="275" y="1580"/>
                  </a:lnTo>
                  <a:lnTo>
                    <a:pt x="276" y="1608"/>
                  </a:lnTo>
                  <a:lnTo>
                    <a:pt x="277" y="1627"/>
                  </a:lnTo>
                  <a:lnTo>
                    <a:pt x="273" y="1635"/>
                  </a:lnTo>
                  <a:lnTo>
                    <a:pt x="287" y="1652"/>
                  </a:lnTo>
                  <a:lnTo>
                    <a:pt x="295" y="1664"/>
                  </a:lnTo>
                  <a:lnTo>
                    <a:pt x="295" y="1689"/>
                  </a:lnTo>
                  <a:lnTo>
                    <a:pt x="287" y="1739"/>
                  </a:lnTo>
                  <a:lnTo>
                    <a:pt x="279" y="1771"/>
                  </a:lnTo>
                  <a:lnTo>
                    <a:pt x="276" y="1795"/>
                  </a:lnTo>
                  <a:lnTo>
                    <a:pt x="326" y="1825"/>
                  </a:lnTo>
                  <a:lnTo>
                    <a:pt x="373" y="1841"/>
                  </a:lnTo>
                  <a:lnTo>
                    <a:pt x="408" y="1866"/>
                  </a:lnTo>
                  <a:lnTo>
                    <a:pt x="451" y="1878"/>
                  </a:lnTo>
                  <a:lnTo>
                    <a:pt x="472" y="1896"/>
                  </a:lnTo>
                  <a:lnTo>
                    <a:pt x="506" y="1948"/>
                  </a:lnTo>
                  <a:lnTo>
                    <a:pt x="547" y="1989"/>
                  </a:lnTo>
                  <a:lnTo>
                    <a:pt x="617" y="2003"/>
                  </a:lnTo>
                  <a:lnTo>
                    <a:pt x="622" y="2054"/>
                  </a:lnTo>
                  <a:lnTo>
                    <a:pt x="630" y="2078"/>
                  </a:lnTo>
                  <a:lnTo>
                    <a:pt x="667" y="2086"/>
                  </a:lnTo>
                  <a:lnTo>
                    <a:pt x="706" y="2131"/>
                  </a:lnTo>
                  <a:lnTo>
                    <a:pt x="753" y="2199"/>
                  </a:lnTo>
                  <a:lnTo>
                    <a:pt x="773" y="2228"/>
                  </a:lnTo>
                  <a:lnTo>
                    <a:pt x="787" y="2272"/>
                  </a:lnTo>
                  <a:lnTo>
                    <a:pt x="776" y="2321"/>
                  </a:lnTo>
                  <a:lnTo>
                    <a:pt x="776" y="2343"/>
                  </a:lnTo>
                  <a:lnTo>
                    <a:pt x="787" y="2385"/>
                  </a:lnTo>
                  <a:lnTo>
                    <a:pt x="810" y="2392"/>
                  </a:lnTo>
                  <a:lnTo>
                    <a:pt x="1240" y="2447"/>
                  </a:lnTo>
                  <a:lnTo>
                    <a:pt x="1245" y="2440"/>
                  </a:lnTo>
                  <a:lnTo>
                    <a:pt x="1281" y="2424"/>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1" name="Freeform 10"/>
            <p:cNvSpPr>
              <a:spLocks/>
            </p:cNvSpPr>
            <p:nvPr/>
          </p:nvSpPr>
          <p:spPr bwMode="auto">
            <a:xfrm>
              <a:off x="4337050" y="2360613"/>
              <a:ext cx="819150" cy="439737"/>
            </a:xfrm>
            <a:custGeom>
              <a:avLst/>
              <a:gdLst/>
              <a:ahLst/>
              <a:cxnLst>
                <a:cxn ang="0">
                  <a:pos x="0" y="134"/>
                </a:cxn>
                <a:cxn ang="0">
                  <a:pos x="548" y="150"/>
                </a:cxn>
                <a:cxn ang="0">
                  <a:pos x="566" y="611"/>
                </a:cxn>
                <a:cxn ang="0">
                  <a:pos x="593" y="625"/>
                </a:cxn>
                <a:cxn ang="0">
                  <a:pos x="623" y="626"/>
                </a:cxn>
                <a:cxn ang="0">
                  <a:pos x="659" y="633"/>
                </a:cxn>
                <a:cxn ang="0">
                  <a:pos x="714" y="674"/>
                </a:cxn>
                <a:cxn ang="0">
                  <a:pos x="772" y="689"/>
                </a:cxn>
                <a:cxn ang="0">
                  <a:pos x="795" y="703"/>
                </a:cxn>
                <a:cxn ang="0">
                  <a:pos x="858" y="696"/>
                </a:cxn>
                <a:cxn ang="0">
                  <a:pos x="890" y="729"/>
                </a:cxn>
                <a:cxn ang="0">
                  <a:pos x="913" y="760"/>
                </a:cxn>
                <a:cxn ang="0">
                  <a:pos x="943" y="730"/>
                </a:cxn>
                <a:cxn ang="0">
                  <a:pos x="983" y="755"/>
                </a:cxn>
                <a:cxn ang="0">
                  <a:pos x="1026" y="755"/>
                </a:cxn>
                <a:cxn ang="0">
                  <a:pos x="1040" y="792"/>
                </a:cxn>
                <a:cxn ang="0">
                  <a:pos x="1062" y="765"/>
                </a:cxn>
                <a:cxn ang="0">
                  <a:pos x="1113" y="773"/>
                </a:cxn>
                <a:cxn ang="0">
                  <a:pos x="1173" y="789"/>
                </a:cxn>
                <a:cxn ang="0">
                  <a:pos x="1206" y="797"/>
                </a:cxn>
                <a:cxn ang="0">
                  <a:pos x="1245" y="767"/>
                </a:cxn>
                <a:cxn ang="0">
                  <a:pos x="1280" y="775"/>
                </a:cxn>
                <a:cxn ang="0">
                  <a:pos x="1312" y="758"/>
                </a:cxn>
                <a:cxn ang="0">
                  <a:pos x="1357" y="764"/>
                </a:cxn>
                <a:cxn ang="0">
                  <a:pos x="1424" y="762"/>
                </a:cxn>
                <a:cxn ang="0">
                  <a:pos x="1482" y="808"/>
                </a:cxn>
                <a:cxn ang="0">
                  <a:pos x="1528" y="819"/>
                </a:cxn>
                <a:cxn ang="0">
                  <a:pos x="1548" y="411"/>
                </a:cxn>
                <a:cxn ang="0">
                  <a:pos x="1509" y="60"/>
                </a:cxn>
                <a:cxn ang="0">
                  <a:pos x="1224" y="53"/>
                </a:cxn>
                <a:cxn ang="0">
                  <a:pos x="816" y="42"/>
                </a:cxn>
                <a:cxn ang="0">
                  <a:pos x="604" y="32"/>
                </a:cxn>
                <a:cxn ang="0">
                  <a:pos x="20" y="0"/>
                </a:cxn>
                <a:cxn ang="0">
                  <a:pos x="2" y="117"/>
                </a:cxn>
              </a:cxnLst>
              <a:rect l="0" t="0" r="r" b="b"/>
              <a:pathLst>
                <a:path w="1548" h="832">
                  <a:moveTo>
                    <a:pt x="2" y="117"/>
                  </a:moveTo>
                  <a:lnTo>
                    <a:pt x="0" y="134"/>
                  </a:lnTo>
                  <a:lnTo>
                    <a:pt x="2" y="117"/>
                  </a:lnTo>
                  <a:lnTo>
                    <a:pt x="548" y="150"/>
                  </a:lnTo>
                  <a:lnTo>
                    <a:pt x="528" y="576"/>
                  </a:lnTo>
                  <a:lnTo>
                    <a:pt x="566" y="611"/>
                  </a:lnTo>
                  <a:lnTo>
                    <a:pt x="580" y="626"/>
                  </a:lnTo>
                  <a:lnTo>
                    <a:pt x="593" y="625"/>
                  </a:lnTo>
                  <a:lnTo>
                    <a:pt x="612" y="622"/>
                  </a:lnTo>
                  <a:lnTo>
                    <a:pt x="623" y="626"/>
                  </a:lnTo>
                  <a:lnTo>
                    <a:pt x="639" y="621"/>
                  </a:lnTo>
                  <a:lnTo>
                    <a:pt x="659" y="633"/>
                  </a:lnTo>
                  <a:lnTo>
                    <a:pt x="671" y="672"/>
                  </a:lnTo>
                  <a:lnTo>
                    <a:pt x="714" y="674"/>
                  </a:lnTo>
                  <a:lnTo>
                    <a:pt x="746" y="692"/>
                  </a:lnTo>
                  <a:lnTo>
                    <a:pt x="772" y="689"/>
                  </a:lnTo>
                  <a:lnTo>
                    <a:pt x="779" y="686"/>
                  </a:lnTo>
                  <a:lnTo>
                    <a:pt x="795" y="703"/>
                  </a:lnTo>
                  <a:lnTo>
                    <a:pt x="816" y="692"/>
                  </a:lnTo>
                  <a:lnTo>
                    <a:pt x="858" y="696"/>
                  </a:lnTo>
                  <a:lnTo>
                    <a:pt x="876" y="728"/>
                  </a:lnTo>
                  <a:lnTo>
                    <a:pt x="890" y="729"/>
                  </a:lnTo>
                  <a:lnTo>
                    <a:pt x="897" y="757"/>
                  </a:lnTo>
                  <a:lnTo>
                    <a:pt x="913" y="760"/>
                  </a:lnTo>
                  <a:lnTo>
                    <a:pt x="931" y="746"/>
                  </a:lnTo>
                  <a:lnTo>
                    <a:pt x="943" y="730"/>
                  </a:lnTo>
                  <a:lnTo>
                    <a:pt x="951" y="730"/>
                  </a:lnTo>
                  <a:lnTo>
                    <a:pt x="983" y="755"/>
                  </a:lnTo>
                  <a:lnTo>
                    <a:pt x="993" y="776"/>
                  </a:lnTo>
                  <a:lnTo>
                    <a:pt x="1026" y="755"/>
                  </a:lnTo>
                  <a:lnTo>
                    <a:pt x="1033" y="764"/>
                  </a:lnTo>
                  <a:lnTo>
                    <a:pt x="1040" y="792"/>
                  </a:lnTo>
                  <a:lnTo>
                    <a:pt x="1048" y="787"/>
                  </a:lnTo>
                  <a:lnTo>
                    <a:pt x="1062" y="765"/>
                  </a:lnTo>
                  <a:lnTo>
                    <a:pt x="1087" y="761"/>
                  </a:lnTo>
                  <a:lnTo>
                    <a:pt x="1113" y="773"/>
                  </a:lnTo>
                  <a:lnTo>
                    <a:pt x="1155" y="772"/>
                  </a:lnTo>
                  <a:lnTo>
                    <a:pt x="1173" y="789"/>
                  </a:lnTo>
                  <a:lnTo>
                    <a:pt x="1183" y="803"/>
                  </a:lnTo>
                  <a:lnTo>
                    <a:pt x="1206" y="797"/>
                  </a:lnTo>
                  <a:lnTo>
                    <a:pt x="1231" y="779"/>
                  </a:lnTo>
                  <a:lnTo>
                    <a:pt x="1245" y="767"/>
                  </a:lnTo>
                  <a:lnTo>
                    <a:pt x="1263" y="764"/>
                  </a:lnTo>
                  <a:lnTo>
                    <a:pt x="1280" y="775"/>
                  </a:lnTo>
                  <a:lnTo>
                    <a:pt x="1298" y="769"/>
                  </a:lnTo>
                  <a:lnTo>
                    <a:pt x="1312" y="758"/>
                  </a:lnTo>
                  <a:lnTo>
                    <a:pt x="1342" y="761"/>
                  </a:lnTo>
                  <a:lnTo>
                    <a:pt x="1357" y="764"/>
                  </a:lnTo>
                  <a:lnTo>
                    <a:pt x="1396" y="753"/>
                  </a:lnTo>
                  <a:lnTo>
                    <a:pt x="1424" y="762"/>
                  </a:lnTo>
                  <a:lnTo>
                    <a:pt x="1448" y="785"/>
                  </a:lnTo>
                  <a:lnTo>
                    <a:pt x="1482" y="808"/>
                  </a:lnTo>
                  <a:lnTo>
                    <a:pt x="1509" y="808"/>
                  </a:lnTo>
                  <a:lnTo>
                    <a:pt x="1528" y="819"/>
                  </a:lnTo>
                  <a:lnTo>
                    <a:pt x="1543" y="832"/>
                  </a:lnTo>
                  <a:lnTo>
                    <a:pt x="1548" y="411"/>
                  </a:lnTo>
                  <a:lnTo>
                    <a:pt x="1509" y="174"/>
                  </a:lnTo>
                  <a:lnTo>
                    <a:pt x="1509" y="60"/>
                  </a:lnTo>
                  <a:lnTo>
                    <a:pt x="1509" y="60"/>
                  </a:lnTo>
                  <a:lnTo>
                    <a:pt x="1224" y="53"/>
                  </a:lnTo>
                  <a:lnTo>
                    <a:pt x="994" y="48"/>
                  </a:lnTo>
                  <a:lnTo>
                    <a:pt x="816" y="42"/>
                  </a:lnTo>
                  <a:lnTo>
                    <a:pt x="816" y="42"/>
                  </a:lnTo>
                  <a:lnTo>
                    <a:pt x="604" y="32"/>
                  </a:lnTo>
                  <a:lnTo>
                    <a:pt x="340" y="18"/>
                  </a:lnTo>
                  <a:lnTo>
                    <a:pt x="20" y="0"/>
                  </a:lnTo>
                  <a:lnTo>
                    <a:pt x="14" y="117"/>
                  </a:lnTo>
                  <a:lnTo>
                    <a:pt x="2" y="117"/>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2" name="Freeform 11"/>
            <p:cNvSpPr>
              <a:spLocks/>
            </p:cNvSpPr>
            <p:nvPr/>
          </p:nvSpPr>
          <p:spPr bwMode="auto">
            <a:xfrm>
              <a:off x="4440238" y="2008188"/>
              <a:ext cx="696912" cy="384175"/>
            </a:xfrm>
            <a:custGeom>
              <a:avLst/>
              <a:gdLst/>
              <a:ahLst/>
              <a:cxnLst>
                <a:cxn ang="0">
                  <a:pos x="1313" y="727"/>
                </a:cxn>
                <a:cxn ang="0">
                  <a:pos x="1316" y="243"/>
                </a:cxn>
                <a:cxn ang="0">
                  <a:pos x="1285" y="227"/>
                </a:cxn>
                <a:cxn ang="0">
                  <a:pos x="1273" y="218"/>
                </a:cxn>
                <a:cxn ang="0">
                  <a:pos x="1263" y="187"/>
                </a:cxn>
                <a:cxn ang="0">
                  <a:pos x="1232" y="162"/>
                </a:cxn>
                <a:cxn ang="0">
                  <a:pos x="1246" y="137"/>
                </a:cxn>
                <a:cxn ang="0">
                  <a:pos x="1263" y="111"/>
                </a:cxn>
                <a:cxn ang="0">
                  <a:pos x="1263" y="86"/>
                </a:cxn>
                <a:cxn ang="0">
                  <a:pos x="1250" y="86"/>
                </a:cxn>
                <a:cxn ang="0">
                  <a:pos x="1211" y="86"/>
                </a:cxn>
                <a:cxn ang="0">
                  <a:pos x="1203" y="66"/>
                </a:cxn>
                <a:cxn ang="0">
                  <a:pos x="1182" y="39"/>
                </a:cxn>
                <a:cxn ang="0">
                  <a:pos x="1182" y="39"/>
                </a:cxn>
                <a:cxn ang="0">
                  <a:pos x="767" y="26"/>
                </a:cxn>
                <a:cxn ang="0">
                  <a:pos x="767" y="26"/>
                </a:cxn>
                <a:cxn ang="0">
                  <a:pos x="47" y="0"/>
                </a:cxn>
                <a:cxn ang="0">
                  <a:pos x="0" y="677"/>
                </a:cxn>
                <a:cxn ang="0">
                  <a:pos x="0" y="677"/>
                </a:cxn>
                <a:cxn ang="0">
                  <a:pos x="332" y="695"/>
                </a:cxn>
                <a:cxn ang="0">
                  <a:pos x="494" y="703"/>
                </a:cxn>
                <a:cxn ang="0">
                  <a:pos x="620" y="709"/>
                </a:cxn>
                <a:cxn ang="0">
                  <a:pos x="620" y="709"/>
                </a:cxn>
                <a:cxn ang="0">
                  <a:pos x="798" y="715"/>
                </a:cxn>
                <a:cxn ang="0">
                  <a:pos x="1028" y="720"/>
                </a:cxn>
                <a:cxn ang="0">
                  <a:pos x="1313" y="727"/>
                </a:cxn>
                <a:cxn ang="0">
                  <a:pos x="1313" y="727"/>
                </a:cxn>
              </a:cxnLst>
              <a:rect l="0" t="0" r="r" b="b"/>
              <a:pathLst>
                <a:path w="1316" h="727">
                  <a:moveTo>
                    <a:pt x="1313" y="727"/>
                  </a:moveTo>
                  <a:lnTo>
                    <a:pt x="1316" y="243"/>
                  </a:lnTo>
                  <a:lnTo>
                    <a:pt x="1285" y="227"/>
                  </a:lnTo>
                  <a:lnTo>
                    <a:pt x="1273" y="218"/>
                  </a:lnTo>
                  <a:lnTo>
                    <a:pt x="1263" y="187"/>
                  </a:lnTo>
                  <a:lnTo>
                    <a:pt x="1232" y="162"/>
                  </a:lnTo>
                  <a:lnTo>
                    <a:pt x="1246" y="137"/>
                  </a:lnTo>
                  <a:lnTo>
                    <a:pt x="1263" y="111"/>
                  </a:lnTo>
                  <a:lnTo>
                    <a:pt x="1263" y="86"/>
                  </a:lnTo>
                  <a:lnTo>
                    <a:pt x="1250" y="86"/>
                  </a:lnTo>
                  <a:lnTo>
                    <a:pt x="1211" y="86"/>
                  </a:lnTo>
                  <a:lnTo>
                    <a:pt x="1203" y="66"/>
                  </a:lnTo>
                  <a:lnTo>
                    <a:pt x="1182" y="39"/>
                  </a:lnTo>
                  <a:lnTo>
                    <a:pt x="1182" y="39"/>
                  </a:lnTo>
                  <a:lnTo>
                    <a:pt x="767" y="26"/>
                  </a:lnTo>
                  <a:lnTo>
                    <a:pt x="767" y="26"/>
                  </a:lnTo>
                  <a:lnTo>
                    <a:pt x="47" y="0"/>
                  </a:lnTo>
                  <a:lnTo>
                    <a:pt x="0" y="677"/>
                  </a:lnTo>
                  <a:lnTo>
                    <a:pt x="0" y="677"/>
                  </a:lnTo>
                  <a:lnTo>
                    <a:pt x="332" y="695"/>
                  </a:lnTo>
                  <a:lnTo>
                    <a:pt x="494" y="703"/>
                  </a:lnTo>
                  <a:lnTo>
                    <a:pt x="620" y="709"/>
                  </a:lnTo>
                  <a:lnTo>
                    <a:pt x="620" y="709"/>
                  </a:lnTo>
                  <a:lnTo>
                    <a:pt x="798" y="715"/>
                  </a:lnTo>
                  <a:lnTo>
                    <a:pt x="1028" y="720"/>
                  </a:lnTo>
                  <a:lnTo>
                    <a:pt x="1313" y="727"/>
                  </a:lnTo>
                  <a:lnTo>
                    <a:pt x="1313" y="727"/>
                  </a:lnTo>
                  <a:close/>
                </a:path>
              </a:pathLst>
            </a:custGeom>
            <a:solidFill>
              <a:schemeClr val="accent1"/>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3" name="Freeform 12"/>
            <p:cNvSpPr>
              <a:spLocks/>
            </p:cNvSpPr>
            <p:nvPr/>
          </p:nvSpPr>
          <p:spPr bwMode="auto">
            <a:xfrm>
              <a:off x="4297363" y="1638300"/>
              <a:ext cx="769937" cy="390525"/>
            </a:xfrm>
            <a:custGeom>
              <a:avLst/>
              <a:gdLst/>
              <a:ahLst/>
              <a:cxnLst>
                <a:cxn ang="0">
                  <a:pos x="1454" y="736"/>
                </a:cxn>
                <a:cxn ang="0">
                  <a:pos x="1456" y="738"/>
                </a:cxn>
                <a:cxn ang="0">
                  <a:pos x="1456" y="738"/>
                </a:cxn>
                <a:cxn ang="0">
                  <a:pos x="1447" y="718"/>
                </a:cxn>
                <a:cxn ang="0">
                  <a:pos x="1440" y="691"/>
                </a:cxn>
                <a:cxn ang="0">
                  <a:pos x="1440" y="691"/>
                </a:cxn>
                <a:cxn ang="0">
                  <a:pos x="1429" y="687"/>
                </a:cxn>
                <a:cxn ang="0">
                  <a:pos x="1421" y="684"/>
                </a:cxn>
                <a:cxn ang="0">
                  <a:pos x="1414" y="680"/>
                </a:cxn>
                <a:cxn ang="0">
                  <a:pos x="1414" y="680"/>
                </a:cxn>
                <a:cxn ang="0">
                  <a:pos x="1411" y="677"/>
                </a:cxn>
                <a:cxn ang="0">
                  <a:pos x="1406" y="665"/>
                </a:cxn>
                <a:cxn ang="0">
                  <a:pos x="1411" y="655"/>
                </a:cxn>
                <a:cxn ang="0">
                  <a:pos x="1407" y="630"/>
                </a:cxn>
                <a:cxn ang="0">
                  <a:pos x="1395" y="620"/>
                </a:cxn>
                <a:cxn ang="0">
                  <a:pos x="1388" y="608"/>
                </a:cxn>
                <a:cxn ang="0">
                  <a:pos x="1382" y="576"/>
                </a:cxn>
                <a:cxn ang="0">
                  <a:pos x="1382" y="527"/>
                </a:cxn>
                <a:cxn ang="0">
                  <a:pos x="1375" y="518"/>
                </a:cxn>
                <a:cxn ang="0">
                  <a:pos x="1368" y="502"/>
                </a:cxn>
                <a:cxn ang="0">
                  <a:pos x="1371" y="484"/>
                </a:cxn>
                <a:cxn ang="0">
                  <a:pos x="1371" y="439"/>
                </a:cxn>
                <a:cxn ang="0">
                  <a:pos x="1364" y="408"/>
                </a:cxn>
                <a:cxn ang="0">
                  <a:pos x="1352" y="398"/>
                </a:cxn>
                <a:cxn ang="0">
                  <a:pos x="1343" y="398"/>
                </a:cxn>
                <a:cxn ang="0">
                  <a:pos x="1339" y="386"/>
                </a:cxn>
                <a:cxn ang="0">
                  <a:pos x="1335" y="364"/>
                </a:cxn>
                <a:cxn ang="0">
                  <a:pos x="1331" y="347"/>
                </a:cxn>
                <a:cxn ang="0">
                  <a:pos x="1343" y="344"/>
                </a:cxn>
                <a:cxn ang="0">
                  <a:pos x="1343" y="337"/>
                </a:cxn>
                <a:cxn ang="0">
                  <a:pos x="1336" y="332"/>
                </a:cxn>
                <a:cxn ang="0">
                  <a:pos x="1332" y="318"/>
                </a:cxn>
                <a:cxn ang="0">
                  <a:pos x="1325" y="304"/>
                </a:cxn>
                <a:cxn ang="0">
                  <a:pos x="1316" y="283"/>
                </a:cxn>
                <a:cxn ang="0">
                  <a:pos x="1304" y="255"/>
                </a:cxn>
                <a:cxn ang="0">
                  <a:pos x="1292" y="228"/>
                </a:cxn>
                <a:cxn ang="0">
                  <a:pos x="1277" y="186"/>
                </a:cxn>
                <a:cxn ang="0">
                  <a:pos x="1263" y="169"/>
                </a:cxn>
                <a:cxn ang="0">
                  <a:pos x="1260" y="165"/>
                </a:cxn>
                <a:cxn ang="0">
                  <a:pos x="1241" y="149"/>
                </a:cxn>
                <a:cxn ang="0">
                  <a:pos x="1207" y="126"/>
                </a:cxn>
                <a:cxn ang="0">
                  <a:pos x="1185" y="118"/>
                </a:cxn>
                <a:cxn ang="0">
                  <a:pos x="1163" y="108"/>
                </a:cxn>
                <a:cxn ang="0">
                  <a:pos x="1143" y="90"/>
                </a:cxn>
                <a:cxn ang="0">
                  <a:pos x="1109" y="86"/>
                </a:cxn>
                <a:cxn ang="0">
                  <a:pos x="1067" y="89"/>
                </a:cxn>
                <a:cxn ang="0">
                  <a:pos x="1056" y="89"/>
                </a:cxn>
                <a:cxn ang="0">
                  <a:pos x="1039" y="96"/>
                </a:cxn>
                <a:cxn ang="0">
                  <a:pos x="1032" y="104"/>
                </a:cxn>
                <a:cxn ang="0">
                  <a:pos x="1019" y="100"/>
                </a:cxn>
                <a:cxn ang="0">
                  <a:pos x="1002" y="89"/>
                </a:cxn>
                <a:cxn ang="0">
                  <a:pos x="974" y="75"/>
                </a:cxn>
                <a:cxn ang="0">
                  <a:pos x="939" y="57"/>
                </a:cxn>
                <a:cxn ang="0">
                  <a:pos x="46" y="0"/>
                </a:cxn>
                <a:cxn ang="0">
                  <a:pos x="0" y="444"/>
                </a:cxn>
                <a:cxn ang="0">
                  <a:pos x="337" y="476"/>
                </a:cxn>
                <a:cxn ang="0">
                  <a:pos x="321" y="697"/>
                </a:cxn>
                <a:cxn ang="0">
                  <a:pos x="321" y="697"/>
                </a:cxn>
                <a:cxn ang="0">
                  <a:pos x="321" y="697"/>
                </a:cxn>
                <a:cxn ang="0">
                  <a:pos x="1039" y="723"/>
                </a:cxn>
                <a:cxn ang="0">
                  <a:pos x="1039" y="723"/>
                </a:cxn>
                <a:cxn ang="0">
                  <a:pos x="1454" y="736"/>
                </a:cxn>
                <a:cxn ang="0">
                  <a:pos x="1454" y="736"/>
                </a:cxn>
              </a:cxnLst>
              <a:rect l="0" t="0" r="r" b="b"/>
              <a:pathLst>
                <a:path w="1456" h="738">
                  <a:moveTo>
                    <a:pt x="1454" y="736"/>
                  </a:moveTo>
                  <a:lnTo>
                    <a:pt x="1456" y="738"/>
                  </a:lnTo>
                  <a:lnTo>
                    <a:pt x="1456" y="738"/>
                  </a:lnTo>
                  <a:lnTo>
                    <a:pt x="1447" y="718"/>
                  </a:lnTo>
                  <a:lnTo>
                    <a:pt x="1440" y="691"/>
                  </a:lnTo>
                  <a:lnTo>
                    <a:pt x="1440" y="691"/>
                  </a:lnTo>
                  <a:lnTo>
                    <a:pt x="1429" y="687"/>
                  </a:lnTo>
                  <a:lnTo>
                    <a:pt x="1421" y="684"/>
                  </a:lnTo>
                  <a:lnTo>
                    <a:pt x="1414" y="680"/>
                  </a:lnTo>
                  <a:lnTo>
                    <a:pt x="1414" y="680"/>
                  </a:lnTo>
                  <a:lnTo>
                    <a:pt x="1411" y="677"/>
                  </a:lnTo>
                  <a:lnTo>
                    <a:pt x="1406" y="665"/>
                  </a:lnTo>
                  <a:lnTo>
                    <a:pt x="1411" y="655"/>
                  </a:lnTo>
                  <a:lnTo>
                    <a:pt x="1407" y="630"/>
                  </a:lnTo>
                  <a:lnTo>
                    <a:pt x="1395" y="620"/>
                  </a:lnTo>
                  <a:lnTo>
                    <a:pt x="1388" y="608"/>
                  </a:lnTo>
                  <a:lnTo>
                    <a:pt x="1382" y="576"/>
                  </a:lnTo>
                  <a:lnTo>
                    <a:pt x="1382" y="527"/>
                  </a:lnTo>
                  <a:lnTo>
                    <a:pt x="1375" y="518"/>
                  </a:lnTo>
                  <a:lnTo>
                    <a:pt x="1368" y="502"/>
                  </a:lnTo>
                  <a:lnTo>
                    <a:pt x="1371" y="484"/>
                  </a:lnTo>
                  <a:lnTo>
                    <a:pt x="1371" y="439"/>
                  </a:lnTo>
                  <a:lnTo>
                    <a:pt x="1364" y="408"/>
                  </a:lnTo>
                  <a:lnTo>
                    <a:pt x="1352" y="398"/>
                  </a:lnTo>
                  <a:lnTo>
                    <a:pt x="1343" y="398"/>
                  </a:lnTo>
                  <a:lnTo>
                    <a:pt x="1339" y="386"/>
                  </a:lnTo>
                  <a:lnTo>
                    <a:pt x="1335" y="364"/>
                  </a:lnTo>
                  <a:lnTo>
                    <a:pt x="1331" y="347"/>
                  </a:lnTo>
                  <a:lnTo>
                    <a:pt x="1343" y="344"/>
                  </a:lnTo>
                  <a:lnTo>
                    <a:pt x="1343" y="337"/>
                  </a:lnTo>
                  <a:lnTo>
                    <a:pt x="1336" y="332"/>
                  </a:lnTo>
                  <a:lnTo>
                    <a:pt x="1332" y="318"/>
                  </a:lnTo>
                  <a:lnTo>
                    <a:pt x="1325" y="304"/>
                  </a:lnTo>
                  <a:lnTo>
                    <a:pt x="1316" y="283"/>
                  </a:lnTo>
                  <a:lnTo>
                    <a:pt x="1304" y="255"/>
                  </a:lnTo>
                  <a:lnTo>
                    <a:pt x="1292" y="228"/>
                  </a:lnTo>
                  <a:lnTo>
                    <a:pt x="1277" y="186"/>
                  </a:lnTo>
                  <a:lnTo>
                    <a:pt x="1263" y="169"/>
                  </a:lnTo>
                  <a:lnTo>
                    <a:pt x="1260" y="165"/>
                  </a:lnTo>
                  <a:lnTo>
                    <a:pt x="1241" y="149"/>
                  </a:lnTo>
                  <a:lnTo>
                    <a:pt x="1207" y="126"/>
                  </a:lnTo>
                  <a:lnTo>
                    <a:pt x="1185" y="118"/>
                  </a:lnTo>
                  <a:lnTo>
                    <a:pt x="1163" y="108"/>
                  </a:lnTo>
                  <a:lnTo>
                    <a:pt x="1143" y="90"/>
                  </a:lnTo>
                  <a:lnTo>
                    <a:pt x="1109" y="86"/>
                  </a:lnTo>
                  <a:lnTo>
                    <a:pt x="1067" y="89"/>
                  </a:lnTo>
                  <a:lnTo>
                    <a:pt x="1056" y="89"/>
                  </a:lnTo>
                  <a:lnTo>
                    <a:pt x="1039" y="96"/>
                  </a:lnTo>
                  <a:lnTo>
                    <a:pt x="1032" y="104"/>
                  </a:lnTo>
                  <a:lnTo>
                    <a:pt x="1019" y="100"/>
                  </a:lnTo>
                  <a:lnTo>
                    <a:pt x="1002" y="89"/>
                  </a:lnTo>
                  <a:lnTo>
                    <a:pt x="974" y="75"/>
                  </a:lnTo>
                  <a:lnTo>
                    <a:pt x="939" y="57"/>
                  </a:lnTo>
                  <a:lnTo>
                    <a:pt x="46" y="0"/>
                  </a:lnTo>
                  <a:lnTo>
                    <a:pt x="0" y="444"/>
                  </a:lnTo>
                  <a:lnTo>
                    <a:pt x="337" y="476"/>
                  </a:lnTo>
                  <a:lnTo>
                    <a:pt x="321" y="697"/>
                  </a:lnTo>
                  <a:lnTo>
                    <a:pt x="321" y="697"/>
                  </a:lnTo>
                  <a:lnTo>
                    <a:pt x="321" y="697"/>
                  </a:lnTo>
                  <a:lnTo>
                    <a:pt x="1039" y="723"/>
                  </a:lnTo>
                  <a:lnTo>
                    <a:pt x="1039" y="723"/>
                  </a:lnTo>
                  <a:lnTo>
                    <a:pt x="1454" y="736"/>
                  </a:lnTo>
                  <a:lnTo>
                    <a:pt x="1454" y="736"/>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4" name="Freeform 13"/>
            <p:cNvSpPr>
              <a:spLocks/>
            </p:cNvSpPr>
            <p:nvPr/>
          </p:nvSpPr>
          <p:spPr bwMode="auto">
            <a:xfrm>
              <a:off x="4321175" y="1289050"/>
              <a:ext cx="661987" cy="444500"/>
            </a:xfrm>
            <a:custGeom>
              <a:avLst/>
              <a:gdLst/>
              <a:ahLst/>
              <a:cxnLst>
                <a:cxn ang="0">
                  <a:pos x="928" y="736"/>
                </a:cxn>
                <a:cxn ang="0">
                  <a:pos x="956" y="750"/>
                </a:cxn>
                <a:cxn ang="0">
                  <a:pos x="973" y="761"/>
                </a:cxn>
                <a:cxn ang="0">
                  <a:pos x="986" y="765"/>
                </a:cxn>
                <a:cxn ang="0">
                  <a:pos x="993" y="757"/>
                </a:cxn>
                <a:cxn ang="0">
                  <a:pos x="1010" y="750"/>
                </a:cxn>
                <a:cxn ang="0">
                  <a:pos x="1021" y="750"/>
                </a:cxn>
                <a:cxn ang="0">
                  <a:pos x="1063" y="747"/>
                </a:cxn>
                <a:cxn ang="0">
                  <a:pos x="1097" y="751"/>
                </a:cxn>
                <a:cxn ang="0">
                  <a:pos x="1117" y="769"/>
                </a:cxn>
                <a:cxn ang="0">
                  <a:pos x="1139" y="779"/>
                </a:cxn>
                <a:cxn ang="0">
                  <a:pos x="1161" y="787"/>
                </a:cxn>
                <a:cxn ang="0">
                  <a:pos x="1195" y="810"/>
                </a:cxn>
                <a:cxn ang="0">
                  <a:pos x="1214" y="826"/>
                </a:cxn>
                <a:cxn ang="0">
                  <a:pos x="1217" y="830"/>
                </a:cxn>
                <a:cxn ang="0">
                  <a:pos x="1224" y="839"/>
                </a:cxn>
                <a:cxn ang="0">
                  <a:pos x="1224" y="839"/>
                </a:cxn>
                <a:cxn ang="0">
                  <a:pos x="1224" y="828"/>
                </a:cxn>
                <a:cxn ang="0">
                  <a:pos x="1224" y="807"/>
                </a:cxn>
                <a:cxn ang="0">
                  <a:pos x="1204" y="794"/>
                </a:cxn>
                <a:cxn ang="0">
                  <a:pos x="1204" y="779"/>
                </a:cxn>
                <a:cxn ang="0">
                  <a:pos x="1211" y="765"/>
                </a:cxn>
                <a:cxn ang="0">
                  <a:pos x="1224" y="761"/>
                </a:cxn>
                <a:cxn ang="0">
                  <a:pos x="1224" y="729"/>
                </a:cxn>
                <a:cxn ang="0">
                  <a:pos x="1227" y="712"/>
                </a:cxn>
                <a:cxn ang="0">
                  <a:pos x="1236" y="708"/>
                </a:cxn>
                <a:cxn ang="0">
                  <a:pos x="1236" y="690"/>
                </a:cxn>
                <a:cxn ang="0">
                  <a:pos x="1225" y="667"/>
                </a:cxn>
                <a:cxn ang="0">
                  <a:pos x="1217" y="661"/>
                </a:cxn>
                <a:cxn ang="0">
                  <a:pos x="1221" y="637"/>
                </a:cxn>
                <a:cxn ang="0">
                  <a:pos x="1221" y="624"/>
                </a:cxn>
                <a:cxn ang="0">
                  <a:pos x="1236" y="624"/>
                </a:cxn>
                <a:cxn ang="0">
                  <a:pos x="1250" y="222"/>
                </a:cxn>
                <a:cxn ang="0">
                  <a:pos x="1236" y="206"/>
                </a:cxn>
                <a:cxn ang="0">
                  <a:pos x="1228" y="193"/>
                </a:cxn>
                <a:cxn ang="0">
                  <a:pos x="1204" y="184"/>
                </a:cxn>
                <a:cxn ang="0">
                  <a:pos x="1199" y="171"/>
                </a:cxn>
                <a:cxn ang="0">
                  <a:pos x="1188" y="157"/>
                </a:cxn>
                <a:cxn ang="0">
                  <a:pos x="1181" y="146"/>
                </a:cxn>
                <a:cxn ang="0">
                  <a:pos x="1181" y="135"/>
                </a:cxn>
                <a:cxn ang="0">
                  <a:pos x="1181" y="127"/>
                </a:cxn>
                <a:cxn ang="0">
                  <a:pos x="1193" y="111"/>
                </a:cxn>
                <a:cxn ang="0">
                  <a:pos x="1208" y="98"/>
                </a:cxn>
                <a:cxn ang="0">
                  <a:pos x="1225" y="81"/>
                </a:cxn>
                <a:cxn ang="0">
                  <a:pos x="1224" y="71"/>
                </a:cxn>
                <a:cxn ang="0">
                  <a:pos x="1222" y="67"/>
                </a:cxn>
                <a:cxn ang="0">
                  <a:pos x="1222" y="67"/>
                </a:cxn>
                <a:cxn ang="0">
                  <a:pos x="982" y="57"/>
                </a:cxn>
                <a:cxn ang="0">
                  <a:pos x="787" y="48"/>
                </a:cxn>
                <a:cxn ang="0">
                  <a:pos x="634" y="41"/>
                </a:cxn>
                <a:cxn ang="0">
                  <a:pos x="634" y="41"/>
                </a:cxn>
                <a:cxn ang="0">
                  <a:pos x="483" y="31"/>
                </a:cxn>
                <a:cxn ang="0">
                  <a:pos x="295" y="17"/>
                </a:cxn>
                <a:cxn ang="0">
                  <a:pos x="65" y="0"/>
                </a:cxn>
                <a:cxn ang="0">
                  <a:pos x="0" y="661"/>
                </a:cxn>
                <a:cxn ang="0">
                  <a:pos x="893" y="718"/>
                </a:cxn>
                <a:cxn ang="0">
                  <a:pos x="928" y="736"/>
                </a:cxn>
              </a:cxnLst>
              <a:rect l="0" t="0" r="r" b="b"/>
              <a:pathLst>
                <a:path w="1250" h="839">
                  <a:moveTo>
                    <a:pt x="928" y="736"/>
                  </a:moveTo>
                  <a:lnTo>
                    <a:pt x="956" y="750"/>
                  </a:lnTo>
                  <a:lnTo>
                    <a:pt x="973" y="761"/>
                  </a:lnTo>
                  <a:lnTo>
                    <a:pt x="986" y="765"/>
                  </a:lnTo>
                  <a:lnTo>
                    <a:pt x="993" y="757"/>
                  </a:lnTo>
                  <a:lnTo>
                    <a:pt x="1010" y="750"/>
                  </a:lnTo>
                  <a:lnTo>
                    <a:pt x="1021" y="750"/>
                  </a:lnTo>
                  <a:lnTo>
                    <a:pt x="1063" y="747"/>
                  </a:lnTo>
                  <a:lnTo>
                    <a:pt x="1097" y="751"/>
                  </a:lnTo>
                  <a:lnTo>
                    <a:pt x="1117" y="769"/>
                  </a:lnTo>
                  <a:lnTo>
                    <a:pt x="1139" y="779"/>
                  </a:lnTo>
                  <a:lnTo>
                    <a:pt x="1161" y="787"/>
                  </a:lnTo>
                  <a:lnTo>
                    <a:pt x="1195" y="810"/>
                  </a:lnTo>
                  <a:lnTo>
                    <a:pt x="1214" y="826"/>
                  </a:lnTo>
                  <a:lnTo>
                    <a:pt x="1217" y="830"/>
                  </a:lnTo>
                  <a:lnTo>
                    <a:pt x="1224" y="839"/>
                  </a:lnTo>
                  <a:lnTo>
                    <a:pt x="1224" y="839"/>
                  </a:lnTo>
                  <a:lnTo>
                    <a:pt x="1224" y="828"/>
                  </a:lnTo>
                  <a:lnTo>
                    <a:pt x="1224" y="807"/>
                  </a:lnTo>
                  <a:lnTo>
                    <a:pt x="1204" y="794"/>
                  </a:lnTo>
                  <a:lnTo>
                    <a:pt x="1204" y="779"/>
                  </a:lnTo>
                  <a:lnTo>
                    <a:pt x="1211" y="765"/>
                  </a:lnTo>
                  <a:lnTo>
                    <a:pt x="1224" y="761"/>
                  </a:lnTo>
                  <a:lnTo>
                    <a:pt x="1224" y="729"/>
                  </a:lnTo>
                  <a:lnTo>
                    <a:pt x="1227" y="712"/>
                  </a:lnTo>
                  <a:lnTo>
                    <a:pt x="1236" y="708"/>
                  </a:lnTo>
                  <a:lnTo>
                    <a:pt x="1236" y="690"/>
                  </a:lnTo>
                  <a:lnTo>
                    <a:pt x="1225" y="667"/>
                  </a:lnTo>
                  <a:lnTo>
                    <a:pt x="1217" y="661"/>
                  </a:lnTo>
                  <a:lnTo>
                    <a:pt x="1221" y="637"/>
                  </a:lnTo>
                  <a:lnTo>
                    <a:pt x="1221" y="624"/>
                  </a:lnTo>
                  <a:lnTo>
                    <a:pt x="1236" y="624"/>
                  </a:lnTo>
                  <a:lnTo>
                    <a:pt x="1250" y="222"/>
                  </a:lnTo>
                  <a:lnTo>
                    <a:pt x="1236" y="206"/>
                  </a:lnTo>
                  <a:lnTo>
                    <a:pt x="1228" y="193"/>
                  </a:lnTo>
                  <a:lnTo>
                    <a:pt x="1204" y="184"/>
                  </a:lnTo>
                  <a:lnTo>
                    <a:pt x="1199" y="171"/>
                  </a:lnTo>
                  <a:lnTo>
                    <a:pt x="1188" y="157"/>
                  </a:lnTo>
                  <a:lnTo>
                    <a:pt x="1181" y="146"/>
                  </a:lnTo>
                  <a:lnTo>
                    <a:pt x="1181" y="135"/>
                  </a:lnTo>
                  <a:lnTo>
                    <a:pt x="1181" y="127"/>
                  </a:lnTo>
                  <a:lnTo>
                    <a:pt x="1193" y="111"/>
                  </a:lnTo>
                  <a:lnTo>
                    <a:pt x="1208" y="98"/>
                  </a:lnTo>
                  <a:lnTo>
                    <a:pt x="1225" y="81"/>
                  </a:lnTo>
                  <a:lnTo>
                    <a:pt x="1224" y="71"/>
                  </a:lnTo>
                  <a:lnTo>
                    <a:pt x="1222" y="67"/>
                  </a:lnTo>
                  <a:lnTo>
                    <a:pt x="1222" y="67"/>
                  </a:lnTo>
                  <a:lnTo>
                    <a:pt x="982" y="57"/>
                  </a:lnTo>
                  <a:lnTo>
                    <a:pt x="787" y="48"/>
                  </a:lnTo>
                  <a:lnTo>
                    <a:pt x="634" y="41"/>
                  </a:lnTo>
                  <a:lnTo>
                    <a:pt x="634" y="41"/>
                  </a:lnTo>
                  <a:lnTo>
                    <a:pt x="483" y="31"/>
                  </a:lnTo>
                  <a:lnTo>
                    <a:pt x="295" y="17"/>
                  </a:lnTo>
                  <a:lnTo>
                    <a:pt x="65" y="0"/>
                  </a:lnTo>
                  <a:lnTo>
                    <a:pt x="0" y="661"/>
                  </a:lnTo>
                  <a:lnTo>
                    <a:pt x="893" y="718"/>
                  </a:lnTo>
                  <a:lnTo>
                    <a:pt x="928" y="736"/>
                  </a:lnTo>
                  <a:close/>
                </a:path>
              </a:pathLst>
            </a:custGeom>
            <a:solidFill>
              <a:schemeClr val="accent2"/>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5" name="Freeform 14"/>
            <p:cNvSpPr>
              <a:spLocks/>
            </p:cNvSpPr>
            <p:nvPr/>
          </p:nvSpPr>
          <p:spPr bwMode="auto">
            <a:xfrm>
              <a:off x="3679825" y="1325563"/>
              <a:ext cx="665162" cy="547687"/>
            </a:xfrm>
            <a:custGeom>
              <a:avLst/>
              <a:gdLst/>
              <a:ahLst/>
              <a:cxnLst>
                <a:cxn ang="0">
                  <a:pos x="1256" y="142"/>
                </a:cxn>
                <a:cxn ang="0">
                  <a:pos x="1255" y="142"/>
                </a:cxn>
                <a:cxn ang="0">
                  <a:pos x="154" y="0"/>
                </a:cxn>
                <a:cxn ang="0">
                  <a:pos x="132" y="127"/>
                </a:cxn>
                <a:cxn ang="0">
                  <a:pos x="35" y="668"/>
                </a:cxn>
                <a:cxn ang="0">
                  <a:pos x="0" y="887"/>
                </a:cxn>
                <a:cxn ang="0">
                  <a:pos x="335" y="940"/>
                </a:cxn>
                <a:cxn ang="0">
                  <a:pos x="1166" y="1037"/>
                </a:cxn>
                <a:cxn ang="0">
                  <a:pos x="1212" y="593"/>
                </a:cxn>
                <a:cxn ang="0">
                  <a:pos x="1256" y="142"/>
                </a:cxn>
              </a:cxnLst>
              <a:rect l="0" t="0" r="r" b="b"/>
              <a:pathLst>
                <a:path w="1256" h="1037">
                  <a:moveTo>
                    <a:pt x="1256" y="142"/>
                  </a:moveTo>
                  <a:lnTo>
                    <a:pt x="1255" y="142"/>
                  </a:lnTo>
                  <a:lnTo>
                    <a:pt x="154" y="0"/>
                  </a:lnTo>
                  <a:lnTo>
                    <a:pt x="132" y="127"/>
                  </a:lnTo>
                  <a:lnTo>
                    <a:pt x="35" y="668"/>
                  </a:lnTo>
                  <a:lnTo>
                    <a:pt x="0" y="887"/>
                  </a:lnTo>
                  <a:lnTo>
                    <a:pt x="335" y="940"/>
                  </a:lnTo>
                  <a:lnTo>
                    <a:pt x="1166" y="1037"/>
                  </a:lnTo>
                  <a:lnTo>
                    <a:pt x="1212" y="593"/>
                  </a:lnTo>
                  <a:lnTo>
                    <a:pt x="1256" y="142"/>
                  </a:lnTo>
                  <a:close/>
                </a:path>
              </a:pathLst>
            </a:custGeom>
            <a:solidFill>
              <a:schemeClr val="accent2"/>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6" name="Freeform 15"/>
            <p:cNvSpPr>
              <a:spLocks/>
            </p:cNvSpPr>
            <p:nvPr/>
          </p:nvSpPr>
          <p:spPr bwMode="auto">
            <a:xfrm>
              <a:off x="4356100" y="928688"/>
              <a:ext cx="617537" cy="398462"/>
            </a:xfrm>
            <a:custGeom>
              <a:avLst/>
              <a:gdLst/>
              <a:ahLst/>
              <a:cxnLst>
                <a:cxn ang="0">
                  <a:pos x="1157" y="749"/>
                </a:cxn>
                <a:cxn ang="0">
                  <a:pos x="1159" y="753"/>
                </a:cxn>
                <a:cxn ang="0">
                  <a:pos x="1159" y="755"/>
                </a:cxn>
                <a:cxn ang="0">
                  <a:pos x="1168" y="743"/>
                </a:cxn>
                <a:cxn ang="0">
                  <a:pos x="1168" y="720"/>
                </a:cxn>
                <a:cxn ang="0">
                  <a:pos x="1168" y="699"/>
                </a:cxn>
                <a:cxn ang="0">
                  <a:pos x="1163" y="671"/>
                </a:cxn>
                <a:cxn ang="0">
                  <a:pos x="1153" y="656"/>
                </a:cxn>
                <a:cxn ang="0">
                  <a:pos x="1142" y="641"/>
                </a:cxn>
                <a:cxn ang="0">
                  <a:pos x="1142" y="612"/>
                </a:cxn>
                <a:cxn ang="0">
                  <a:pos x="1135" y="602"/>
                </a:cxn>
                <a:cxn ang="0">
                  <a:pos x="1125" y="588"/>
                </a:cxn>
                <a:cxn ang="0">
                  <a:pos x="1125" y="546"/>
                </a:cxn>
                <a:cxn ang="0">
                  <a:pos x="1125" y="480"/>
                </a:cxn>
                <a:cxn ang="0">
                  <a:pos x="1121" y="399"/>
                </a:cxn>
                <a:cxn ang="0">
                  <a:pos x="1121" y="356"/>
                </a:cxn>
                <a:cxn ang="0">
                  <a:pos x="1103" y="326"/>
                </a:cxn>
                <a:cxn ang="0">
                  <a:pos x="1091" y="277"/>
                </a:cxn>
                <a:cxn ang="0">
                  <a:pos x="1081" y="249"/>
                </a:cxn>
                <a:cxn ang="0">
                  <a:pos x="1087" y="219"/>
                </a:cxn>
                <a:cxn ang="0">
                  <a:pos x="1085" y="192"/>
                </a:cxn>
                <a:cxn ang="0">
                  <a:pos x="1081" y="180"/>
                </a:cxn>
                <a:cxn ang="0">
                  <a:pos x="1081" y="158"/>
                </a:cxn>
                <a:cxn ang="0">
                  <a:pos x="1081" y="154"/>
                </a:cxn>
                <a:cxn ang="0">
                  <a:pos x="1089" y="144"/>
                </a:cxn>
                <a:cxn ang="0">
                  <a:pos x="1094" y="133"/>
                </a:cxn>
                <a:cxn ang="0">
                  <a:pos x="1091" y="116"/>
                </a:cxn>
                <a:cxn ang="0">
                  <a:pos x="1081" y="104"/>
                </a:cxn>
                <a:cxn ang="0">
                  <a:pos x="1081" y="97"/>
                </a:cxn>
                <a:cxn ang="0">
                  <a:pos x="1077" y="81"/>
                </a:cxn>
                <a:cxn ang="0">
                  <a:pos x="1071" y="62"/>
                </a:cxn>
                <a:cxn ang="0">
                  <a:pos x="1071" y="62"/>
                </a:cxn>
                <a:cxn ang="0">
                  <a:pos x="819" y="51"/>
                </a:cxn>
                <a:cxn ang="0">
                  <a:pos x="612" y="41"/>
                </a:cxn>
                <a:cxn ang="0">
                  <a:pos x="450" y="33"/>
                </a:cxn>
                <a:cxn ang="0">
                  <a:pos x="450" y="33"/>
                </a:cxn>
                <a:cxn ang="0">
                  <a:pos x="350" y="25"/>
                </a:cxn>
                <a:cxn ang="0">
                  <a:pos x="222" y="13"/>
                </a:cxn>
                <a:cxn ang="0">
                  <a:pos x="65" y="0"/>
                </a:cxn>
                <a:cxn ang="0">
                  <a:pos x="0" y="682"/>
                </a:cxn>
                <a:cxn ang="0">
                  <a:pos x="0" y="682"/>
                </a:cxn>
                <a:cxn ang="0">
                  <a:pos x="230" y="699"/>
                </a:cxn>
                <a:cxn ang="0">
                  <a:pos x="418" y="713"/>
                </a:cxn>
                <a:cxn ang="0">
                  <a:pos x="569" y="723"/>
                </a:cxn>
                <a:cxn ang="0">
                  <a:pos x="569" y="723"/>
                </a:cxn>
                <a:cxn ang="0">
                  <a:pos x="722" y="730"/>
                </a:cxn>
                <a:cxn ang="0">
                  <a:pos x="917" y="739"/>
                </a:cxn>
                <a:cxn ang="0">
                  <a:pos x="1157" y="749"/>
                </a:cxn>
                <a:cxn ang="0">
                  <a:pos x="1157" y="749"/>
                </a:cxn>
              </a:cxnLst>
              <a:rect l="0" t="0" r="r" b="b"/>
              <a:pathLst>
                <a:path w="1168" h="755">
                  <a:moveTo>
                    <a:pt x="1157" y="749"/>
                  </a:moveTo>
                  <a:lnTo>
                    <a:pt x="1159" y="753"/>
                  </a:lnTo>
                  <a:lnTo>
                    <a:pt x="1159" y="755"/>
                  </a:lnTo>
                  <a:lnTo>
                    <a:pt x="1168" y="743"/>
                  </a:lnTo>
                  <a:lnTo>
                    <a:pt x="1168" y="720"/>
                  </a:lnTo>
                  <a:lnTo>
                    <a:pt x="1168" y="699"/>
                  </a:lnTo>
                  <a:lnTo>
                    <a:pt x="1163" y="671"/>
                  </a:lnTo>
                  <a:lnTo>
                    <a:pt x="1153" y="656"/>
                  </a:lnTo>
                  <a:lnTo>
                    <a:pt x="1142" y="641"/>
                  </a:lnTo>
                  <a:lnTo>
                    <a:pt x="1142" y="612"/>
                  </a:lnTo>
                  <a:lnTo>
                    <a:pt x="1135" y="602"/>
                  </a:lnTo>
                  <a:lnTo>
                    <a:pt x="1125" y="588"/>
                  </a:lnTo>
                  <a:lnTo>
                    <a:pt x="1125" y="546"/>
                  </a:lnTo>
                  <a:lnTo>
                    <a:pt x="1125" y="480"/>
                  </a:lnTo>
                  <a:lnTo>
                    <a:pt x="1121" y="399"/>
                  </a:lnTo>
                  <a:lnTo>
                    <a:pt x="1121" y="356"/>
                  </a:lnTo>
                  <a:lnTo>
                    <a:pt x="1103" y="326"/>
                  </a:lnTo>
                  <a:lnTo>
                    <a:pt x="1091" y="277"/>
                  </a:lnTo>
                  <a:lnTo>
                    <a:pt x="1081" y="249"/>
                  </a:lnTo>
                  <a:lnTo>
                    <a:pt x="1087" y="219"/>
                  </a:lnTo>
                  <a:lnTo>
                    <a:pt x="1085" y="192"/>
                  </a:lnTo>
                  <a:lnTo>
                    <a:pt x="1081" y="180"/>
                  </a:lnTo>
                  <a:lnTo>
                    <a:pt x="1081" y="158"/>
                  </a:lnTo>
                  <a:lnTo>
                    <a:pt x="1081" y="154"/>
                  </a:lnTo>
                  <a:lnTo>
                    <a:pt x="1089" y="144"/>
                  </a:lnTo>
                  <a:lnTo>
                    <a:pt x="1094" y="133"/>
                  </a:lnTo>
                  <a:lnTo>
                    <a:pt x="1091" y="116"/>
                  </a:lnTo>
                  <a:lnTo>
                    <a:pt x="1081" y="104"/>
                  </a:lnTo>
                  <a:lnTo>
                    <a:pt x="1081" y="97"/>
                  </a:lnTo>
                  <a:lnTo>
                    <a:pt x="1077" y="81"/>
                  </a:lnTo>
                  <a:lnTo>
                    <a:pt x="1071" y="62"/>
                  </a:lnTo>
                  <a:lnTo>
                    <a:pt x="1071" y="62"/>
                  </a:lnTo>
                  <a:lnTo>
                    <a:pt x="819" y="51"/>
                  </a:lnTo>
                  <a:lnTo>
                    <a:pt x="612" y="41"/>
                  </a:lnTo>
                  <a:lnTo>
                    <a:pt x="450" y="33"/>
                  </a:lnTo>
                  <a:lnTo>
                    <a:pt x="450" y="33"/>
                  </a:lnTo>
                  <a:lnTo>
                    <a:pt x="350" y="25"/>
                  </a:lnTo>
                  <a:lnTo>
                    <a:pt x="222" y="13"/>
                  </a:lnTo>
                  <a:lnTo>
                    <a:pt x="65" y="0"/>
                  </a:lnTo>
                  <a:lnTo>
                    <a:pt x="0" y="682"/>
                  </a:lnTo>
                  <a:lnTo>
                    <a:pt x="0" y="682"/>
                  </a:lnTo>
                  <a:lnTo>
                    <a:pt x="230" y="699"/>
                  </a:lnTo>
                  <a:lnTo>
                    <a:pt x="418" y="713"/>
                  </a:lnTo>
                  <a:lnTo>
                    <a:pt x="569" y="723"/>
                  </a:lnTo>
                  <a:lnTo>
                    <a:pt x="569" y="723"/>
                  </a:lnTo>
                  <a:lnTo>
                    <a:pt x="722" y="730"/>
                  </a:lnTo>
                  <a:lnTo>
                    <a:pt x="917" y="739"/>
                  </a:lnTo>
                  <a:lnTo>
                    <a:pt x="1157" y="749"/>
                  </a:lnTo>
                  <a:lnTo>
                    <a:pt x="1157" y="749"/>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7" name="Freeform 16"/>
            <p:cNvSpPr>
              <a:spLocks/>
            </p:cNvSpPr>
            <p:nvPr/>
          </p:nvSpPr>
          <p:spPr bwMode="auto">
            <a:xfrm>
              <a:off x="3783013" y="1822450"/>
              <a:ext cx="692150" cy="542925"/>
            </a:xfrm>
            <a:custGeom>
              <a:avLst/>
              <a:gdLst/>
              <a:ahLst/>
              <a:cxnLst>
                <a:cxn ang="0">
                  <a:pos x="1243" y="1027"/>
                </a:cxn>
                <a:cxn ang="0">
                  <a:pos x="1290" y="350"/>
                </a:cxn>
                <a:cxn ang="0">
                  <a:pos x="1290" y="350"/>
                </a:cxn>
                <a:cxn ang="0">
                  <a:pos x="1292" y="350"/>
                </a:cxn>
                <a:cxn ang="0">
                  <a:pos x="1292" y="350"/>
                </a:cxn>
                <a:cxn ang="0">
                  <a:pos x="1308" y="129"/>
                </a:cxn>
                <a:cxn ang="0">
                  <a:pos x="971" y="97"/>
                </a:cxn>
                <a:cxn ang="0">
                  <a:pos x="140" y="0"/>
                </a:cxn>
                <a:cxn ang="0">
                  <a:pos x="0" y="894"/>
                </a:cxn>
                <a:cxn ang="0">
                  <a:pos x="1067" y="1017"/>
                </a:cxn>
                <a:cxn ang="0">
                  <a:pos x="1067" y="1017"/>
                </a:cxn>
                <a:cxn ang="0">
                  <a:pos x="1243" y="1027"/>
                </a:cxn>
                <a:cxn ang="0">
                  <a:pos x="1243" y="1027"/>
                </a:cxn>
              </a:cxnLst>
              <a:rect l="0" t="0" r="r" b="b"/>
              <a:pathLst>
                <a:path w="1308" h="1027">
                  <a:moveTo>
                    <a:pt x="1243" y="1027"/>
                  </a:moveTo>
                  <a:lnTo>
                    <a:pt x="1290" y="350"/>
                  </a:lnTo>
                  <a:lnTo>
                    <a:pt x="1290" y="350"/>
                  </a:lnTo>
                  <a:lnTo>
                    <a:pt x="1292" y="350"/>
                  </a:lnTo>
                  <a:lnTo>
                    <a:pt x="1292" y="350"/>
                  </a:lnTo>
                  <a:lnTo>
                    <a:pt x="1308" y="129"/>
                  </a:lnTo>
                  <a:lnTo>
                    <a:pt x="971" y="97"/>
                  </a:lnTo>
                  <a:lnTo>
                    <a:pt x="140" y="0"/>
                  </a:lnTo>
                  <a:lnTo>
                    <a:pt x="0" y="894"/>
                  </a:lnTo>
                  <a:lnTo>
                    <a:pt x="1067" y="1017"/>
                  </a:lnTo>
                  <a:lnTo>
                    <a:pt x="1067" y="1017"/>
                  </a:lnTo>
                  <a:lnTo>
                    <a:pt x="1243" y="1027"/>
                  </a:lnTo>
                  <a:lnTo>
                    <a:pt x="1243" y="1027"/>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8" name="Freeform 17"/>
            <p:cNvSpPr>
              <a:spLocks/>
            </p:cNvSpPr>
            <p:nvPr/>
          </p:nvSpPr>
          <p:spPr bwMode="auto">
            <a:xfrm>
              <a:off x="3324225" y="1628775"/>
              <a:ext cx="533400" cy="666750"/>
            </a:xfrm>
            <a:custGeom>
              <a:avLst/>
              <a:gdLst/>
              <a:ahLst/>
              <a:cxnLst>
                <a:cxn ang="0">
                  <a:pos x="1006" y="366"/>
                </a:cxn>
                <a:cxn ang="0">
                  <a:pos x="671" y="313"/>
                </a:cxn>
                <a:cxn ang="0">
                  <a:pos x="706" y="94"/>
                </a:cxn>
                <a:cxn ang="0">
                  <a:pos x="216" y="0"/>
                </a:cxn>
                <a:cxn ang="0">
                  <a:pos x="0" y="1106"/>
                </a:cxn>
                <a:cxn ang="0">
                  <a:pos x="866" y="1260"/>
                </a:cxn>
                <a:cxn ang="0">
                  <a:pos x="1006" y="366"/>
                </a:cxn>
              </a:cxnLst>
              <a:rect l="0" t="0" r="r" b="b"/>
              <a:pathLst>
                <a:path w="1006" h="1260">
                  <a:moveTo>
                    <a:pt x="1006" y="366"/>
                  </a:moveTo>
                  <a:lnTo>
                    <a:pt x="671" y="313"/>
                  </a:lnTo>
                  <a:lnTo>
                    <a:pt x="706" y="94"/>
                  </a:lnTo>
                  <a:lnTo>
                    <a:pt x="216" y="0"/>
                  </a:lnTo>
                  <a:lnTo>
                    <a:pt x="0" y="1106"/>
                  </a:lnTo>
                  <a:lnTo>
                    <a:pt x="866" y="1260"/>
                  </a:lnTo>
                  <a:lnTo>
                    <a:pt x="1006" y="366"/>
                  </a:lnTo>
                  <a:close/>
                </a:path>
              </a:pathLst>
            </a:custGeom>
            <a:solidFill>
              <a:schemeClr val="accent2"/>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19" name="Freeform 18"/>
            <p:cNvSpPr>
              <a:spLocks/>
            </p:cNvSpPr>
            <p:nvPr/>
          </p:nvSpPr>
          <p:spPr bwMode="auto">
            <a:xfrm>
              <a:off x="2828925" y="1508125"/>
              <a:ext cx="609600" cy="923925"/>
            </a:xfrm>
            <a:custGeom>
              <a:avLst/>
              <a:gdLst/>
              <a:ahLst/>
              <a:cxnLst>
                <a:cxn ang="0">
                  <a:pos x="20" y="606"/>
                </a:cxn>
                <a:cxn ang="0">
                  <a:pos x="4" y="613"/>
                </a:cxn>
                <a:cxn ang="0">
                  <a:pos x="0" y="628"/>
                </a:cxn>
                <a:cxn ang="0">
                  <a:pos x="5" y="645"/>
                </a:cxn>
                <a:cxn ang="0">
                  <a:pos x="8" y="660"/>
                </a:cxn>
                <a:cxn ang="0">
                  <a:pos x="15" y="666"/>
                </a:cxn>
                <a:cxn ang="0">
                  <a:pos x="30" y="671"/>
                </a:cxn>
                <a:cxn ang="0">
                  <a:pos x="745" y="1746"/>
                </a:cxn>
                <a:cxn ang="0">
                  <a:pos x="759" y="1728"/>
                </a:cxn>
                <a:cxn ang="0">
                  <a:pos x="763" y="1705"/>
                </a:cxn>
                <a:cxn ang="0">
                  <a:pos x="763" y="1647"/>
                </a:cxn>
                <a:cxn ang="0">
                  <a:pos x="764" y="1580"/>
                </a:cxn>
                <a:cxn ang="0">
                  <a:pos x="763" y="1532"/>
                </a:cxn>
                <a:cxn ang="0">
                  <a:pos x="777" y="1517"/>
                </a:cxn>
                <a:cxn ang="0">
                  <a:pos x="807" y="1508"/>
                </a:cxn>
                <a:cxn ang="0">
                  <a:pos x="818" y="1528"/>
                </a:cxn>
                <a:cxn ang="0">
                  <a:pos x="838" y="1518"/>
                </a:cxn>
                <a:cxn ang="0">
                  <a:pos x="860" y="1536"/>
                </a:cxn>
                <a:cxn ang="0">
                  <a:pos x="872" y="1543"/>
                </a:cxn>
                <a:cxn ang="0">
                  <a:pos x="889" y="1533"/>
                </a:cxn>
                <a:cxn ang="0">
                  <a:pos x="889" y="1533"/>
                </a:cxn>
                <a:cxn ang="0">
                  <a:pos x="899" y="1500"/>
                </a:cxn>
                <a:cxn ang="0">
                  <a:pos x="914" y="1451"/>
                </a:cxn>
                <a:cxn ang="0">
                  <a:pos x="914" y="1451"/>
                </a:cxn>
                <a:cxn ang="0">
                  <a:pos x="928" y="1382"/>
                </a:cxn>
                <a:cxn ang="0">
                  <a:pos x="938" y="1335"/>
                </a:cxn>
                <a:cxn ang="0">
                  <a:pos x="1154" y="229"/>
                </a:cxn>
                <a:cxn ang="0">
                  <a:pos x="1154" y="229"/>
                </a:cxn>
                <a:cxn ang="0">
                  <a:pos x="938" y="181"/>
                </a:cxn>
                <a:cxn ang="0">
                  <a:pos x="761" y="141"/>
                </a:cxn>
                <a:cxn ang="0">
                  <a:pos x="623" y="111"/>
                </a:cxn>
                <a:cxn ang="0">
                  <a:pos x="623" y="111"/>
                </a:cxn>
                <a:cxn ang="0">
                  <a:pos x="510" y="81"/>
                </a:cxn>
                <a:cxn ang="0">
                  <a:pos x="367" y="45"/>
                </a:cxn>
                <a:cxn ang="0">
                  <a:pos x="194" y="0"/>
                </a:cxn>
                <a:cxn ang="0">
                  <a:pos x="36" y="602"/>
                </a:cxn>
                <a:cxn ang="0">
                  <a:pos x="20" y="606"/>
                </a:cxn>
              </a:cxnLst>
              <a:rect l="0" t="0" r="r" b="b"/>
              <a:pathLst>
                <a:path w="1154" h="1746">
                  <a:moveTo>
                    <a:pt x="20" y="606"/>
                  </a:moveTo>
                  <a:lnTo>
                    <a:pt x="4" y="613"/>
                  </a:lnTo>
                  <a:lnTo>
                    <a:pt x="0" y="628"/>
                  </a:lnTo>
                  <a:lnTo>
                    <a:pt x="5" y="645"/>
                  </a:lnTo>
                  <a:lnTo>
                    <a:pt x="8" y="660"/>
                  </a:lnTo>
                  <a:lnTo>
                    <a:pt x="15" y="666"/>
                  </a:lnTo>
                  <a:lnTo>
                    <a:pt x="30" y="671"/>
                  </a:lnTo>
                  <a:lnTo>
                    <a:pt x="745" y="1746"/>
                  </a:lnTo>
                  <a:lnTo>
                    <a:pt x="759" y="1728"/>
                  </a:lnTo>
                  <a:lnTo>
                    <a:pt x="763" y="1705"/>
                  </a:lnTo>
                  <a:lnTo>
                    <a:pt x="763" y="1647"/>
                  </a:lnTo>
                  <a:lnTo>
                    <a:pt x="764" y="1580"/>
                  </a:lnTo>
                  <a:lnTo>
                    <a:pt x="763" y="1532"/>
                  </a:lnTo>
                  <a:lnTo>
                    <a:pt x="777" y="1517"/>
                  </a:lnTo>
                  <a:lnTo>
                    <a:pt x="807" y="1508"/>
                  </a:lnTo>
                  <a:lnTo>
                    <a:pt x="818" y="1528"/>
                  </a:lnTo>
                  <a:lnTo>
                    <a:pt x="838" y="1518"/>
                  </a:lnTo>
                  <a:lnTo>
                    <a:pt x="860" y="1536"/>
                  </a:lnTo>
                  <a:lnTo>
                    <a:pt x="872" y="1543"/>
                  </a:lnTo>
                  <a:lnTo>
                    <a:pt x="889" y="1533"/>
                  </a:lnTo>
                  <a:lnTo>
                    <a:pt x="889" y="1533"/>
                  </a:lnTo>
                  <a:lnTo>
                    <a:pt x="899" y="1500"/>
                  </a:lnTo>
                  <a:lnTo>
                    <a:pt x="914" y="1451"/>
                  </a:lnTo>
                  <a:lnTo>
                    <a:pt x="914" y="1451"/>
                  </a:lnTo>
                  <a:lnTo>
                    <a:pt x="928" y="1382"/>
                  </a:lnTo>
                  <a:lnTo>
                    <a:pt x="938" y="1335"/>
                  </a:lnTo>
                  <a:lnTo>
                    <a:pt x="1154" y="229"/>
                  </a:lnTo>
                  <a:lnTo>
                    <a:pt x="1154" y="229"/>
                  </a:lnTo>
                  <a:lnTo>
                    <a:pt x="938" y="181"/>
                  </a:lnTo>
                  <a:lnTo>
                    <a:pt x="761" y="141"/>
                  </a:lnTo>
                  <a:lnTo>
                    <a:pt x="623" y="111"/>
                  </a:lnTo>
                  <a:lnTo>
                    <a:pt x="623" y="111"/>
                  </a:lnTo>
                  <a:lnTo>
                    <a:pt x="510" y="81"/>
                  </a:lnTo>
                  <a:lnTo>
                    <a:pt x="367" y="45"/>
                  </a:lnTo>
                  <a:lnTo>
                    <a:pt x="194" y="0"/>
                  </a:lnTo>
                  <a:lnTo>
                    <a:pt x="36" y="602"/>
                  </a:lnTo>
                  <a:lnTo>
                    <a:pt x="20" y="606"/>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0" name="Freeform 19"/>
            <p:cNvSpPr>
              <a:spLocks/>
            </p:cNvSpPr>
            <p:nvPr/>
          </p:nvSpPr>
          <p:spPr bwMode="auto">
            <a:xfrm>
              <a:off x="2566988" y="928688"/>
              <a:ext cx="760412" cy="642937"/>
            </a:xfrm>
            <a:custGeom>
              <a:avLst/>
              <a:gdLst/>
              <a:ahLst/>
              <a:cxnLst>
                <a:cxn ang="0">
                  <a:pos x="1254" y="848"/>
                </a:cxn>
                <a:cxn ang="0">
                  <a:pos x="1261" y="815"/>
                </a:cxn>
                <a:cxn ang="0">
                  <a:pos x="1282" y="797"/>
                </a:cxn>
                <a:cxn ang="0">
                  <a:pos x="1286" y="743"/>
                </a:cxn>
                <a:cxn ang="0">
                  <a:pos x="1278" y="721"/>
                </a:cxn>
                <a:cxn ang="0">
                  <a:pos x="1263" y="715"/>
                </a:cxn>
                <a:cxn ang="0">
                  <a:pos x="1259" y="678"/>
                </a:cxn>
                <a:cxn ang="0">
                  <a:pos x="1292" y="640"/>
                </a:cxn>
                <a:cxn ang="0">
                  <a:pos x="1342" y="586"/>
                </a:cxn>
                <a:cxn ang="0">
                  <a:pos x="1356" y="558"/>
                </a:cxn>
                <a:cxn ang="0">
                  <a:pos x="1388" y="518"/>
                </a:cxn>
                <a:cxn ang="0">
                  <a:pos x="1417" y="485"/>
                </a:cxn>
                <a:cxn ang="0">
                  <a:pos x="1435" y="460"/>
                </a:cxn>
                <a:cxn ang="0">
                  <a:pos x="1431" y="419"/>
                </a:cxn>
                <a:cxn ang="0">
                  <a:pos x="1397" y="388"/>
                </a:cxn>
                <a:cxn ang="0">
                  <a:pos x="1383" y="346"/>
                </a:cxn>
                <a:cxn ang="0">
                  <a:pos x="1028" y="263"/>
                </a:cxn>
                <a:cxn ang="0">
                  <a:pos x="985" y="263"/>
                </a:cxn>
                <a:cxn ang="0">
                  <a:pos x="833" y="272"/>
                </a:cxn>
                <a:cxn ang="0">
                  <a:pos x="802" y="267"/>
                </a:cxn>
                <a:cxn ang="0">
                  <a:pos x="778" y="271"/>
                </a:cxn>
                <a:cxn ang="0">
                  <a:pos x="766" y="261"/>
                </a:cxn>
                <a:cxn ang="0">
                  <a:pos x="731" y="257"/>
                </a:cxn>
                <a:cxn ang="0">
                  <a:pos x="723" y="242"/>
                </a:cxn>
                <a:cxn ang="0">
                  <a:pos x="670" y="231"/>
                </a:cxn>
                <a:cxn ang="0">
                  <a:pos x="635" y="218"/>
                </a:cxn>
                <a:cxn ang="0">
                  <a:pos x="567" y="228"/>
                </a:cxn>
                <a:cxn ang="0">
                  <a:pos x="484" y="188"/>
                </a:cxn>
                <a:cxn ang="0">
                  <a:pos x="486" y="182"/>
                </a:cxn>
                <a:cxn ang="0">
                  <a:pos x="493" y="154"/>
                </a:cxn>
                <a:cxn ang="0">
                  <a:pos x="494" y="127"/>
                </a:cxn>
                <a:cxn ang="0">
                  <a:pos x="493" y="111"/>
                </a:cxn>
                <a:cxn ang="0">
                  <a:pos x="486" y="85"/>
                </a:cxn>
                <a:cxn ang="0">
                  <a:pos x="476" y="70"/>
                </a:cxn>
                <a:cxn ang="0">
                  <a:pos x="468" y="61"/>
                </a:cxn>
                <a:cxn ang="0">
                  <a:pos x="443" y="56"/>
                </a:cxn>
                <a:cxn ang="0">
                  <a:pos x="423" y="47"/>
                </a:cxn>
                <a:cxn ang="0">
                  <a:pos x="419" y="35"/>
                </a:cxn>
                <a:cxn ang="0">
                  <a:pos x="412" y="27"/>
                </a:cxn>
                <a:cxn ang="0">
                  <a:pos x="400" y="23"/>
                </a:cxn>
                <a:cxn ang="0">
                  <a:pos x="377" y="23"/>
                </a:cxn>
                <a:cxn ang="0">
                  <a:pos x="329" y="0"/>
                </a:cxn>
                <a:cxn ang="0">
                  <a:pos x="319" y="64"/>
                </a:cxn>
                <a:cxn ang="0">
                  <a:pos x="301" y="131"/>
                </a:cxn>
                <a:cxn ang="0">
                  <a:pos x="282" y="179"/>
                </a:cxn>
                <a:cxn ang="0">
                  <a:pos x="258" y="236"/>
                </a:cxn>
                <a:cxn ang="0">
                  <a:pos x="221" y="313"/>
                </a:cxn>
                <a:cxn ang="0">
                  <a:pos x="164" y="461"/>
                </a:cxn>
                <a:cxn ang="0">
                  <a:pos x="115" y="560"/>
                </a:cxn>
                <a:cxn ang="0">
                  <a:pos x="86" y="605"/>
                </a:cxn>
                <a:cxn ang="0">
                  <a:pos x="65" y="636"/>
                </a:cxn>
                <a:cxn ang="0">
                  <a:pos x="28" y="691"/>
                </a:cxn>
                <a:cxn ang="0">
                  <a:pos x="23" y="747"/>
                </a:cxn>
                <a:cxn ang="0">
                  <a:pos x="23" y="766"/>
                </a:cxn>
                <a:cxn ang="0">
                  <a:pos x="17" y="787"/>
                </a:cxn>
                <a:cxn ang="0">
                  <a:pos x="5" y="814"/>
                </a:cxn>
                <a:cxn ang="0">
                  <a:pos x="3" y="873"/>
                </a:cxn>
                <a:cxn ang="0">
                  <a:pos x="17" y="898"/>
                </a:cxn>
                <a:cxn ang="0">
                  <a:pos x="687" y="1093"/>
                </a:cxn>
                <a:cxn ang="0">
                  <a:pos x="1003" y="1174"/>
                </a:cxn>
                <a:cxn ang="0">
                  <a:pos x="1116" y="1204"/>
                </a:cxn>
                <a:cxn ang="0">
                  <a:pos x="1168" y="1215"/>
                </a:cxn>
              </a:cxnLst>
              <a:rect l="0" t="0" r="r" b="b"/>
              <a:pathLst>
                <a:path w="1435" h="1215">
                  <a:moveTo>
                    <a:pt x="1168" y="1215"/>
                  </a:moveTo>
                  <a:lnTo>
                    <a:pt x="1254" y="848"/>
                  </a:lnTo>
                  <a:lnTo>
                    <a:pt x="1254" y="825"/>
                  </a:lnTo>
                  <a:lnTo>
                    <a:pt x="1261" y="815"/>
                  </a:lnTo>
                  <a:lnTo>
                    <a:pt x="1281" y="808"/>
                  </a:lnTo>
                  <a:lnTo>
                    <a:pt x="1282" y="797"/>
                  </a:lnTo>
                  <a:lnTo>
                    <a:pt x="1286" y="779"/>
                  </a:lnTo>
                  <a:lnTo>
                    <a:pt x="1286" y="743"/>
                  </a:lnTo>
                  <a:lnTo>
                    <a:pt x="1290" y="730"/>
                  </a:lnTo>
                  <a:lnTo>
                    <a:pt x="1278" y="721"/>
                  </a:lnTo>
                  <a:lnTo>
                    <a:pt x="1272" y="721"/>
                  </a:lnTo>
                  <a:lnTo>
                    <a:pt x="1263" y="715"/>
                  </a:lnTo>
                  <a:lnTo>
                    <a:pt x="1254" y="701"/>
                  </a:lnTo>
                  <a:lnTo>
                    <a:pt x="1259" y="678"/>
                  </a:lnTo>
                  <a:lnTo>
                    <a:pt x="1265" y="665"/>
                  </a:lnTo>
                  <a:lnTo>
                    <a:pt x="1292" y="640"/>
                  </a:lnTo>
                  <a:lnTo>
                    <a:pt x="1329" y="603"/>
                  </a:lnTo>
                  <a:lnTo>
                    <a:pt x="1342" y="586"/>
                  </a:lnTo>
                  <a:lnTo>
                    <a:pt x="1350" y="567"/>
                  </a:lnTo>
                  <a:lnTo>
                    <a:pt x="1356" y="558"/>
                  </a:lnTo>
                  <a:lnTo>
                    <a:pt x="1365" y="537"/>
                  </a:lnTo>
                  <a:lnTo>
                    <a:pt x="1388" y="518"/>
                  </a:lnTo>
                  <a:lnTo>
                    <a:pt x="1400" y="499"/>
                  </a:lnTo>
                  <a:lnTo>
                    <a:pt x="1417" y="485"/>
                  </a:lnTo>
                  <a:lnTo>
                    <a:pt x="1422" y="465"/>
                  </a:lnTo>
                  <a:lnTo>
                    <a:pt x="1435" y="460"/>
                  </a:lnTo>
                  <a:lnTo>
                    <a:pt x="1435" y="440"/>
                  </a:lnTo>
                  <a:lnTo>
                    <a:pt x="1431" y="419"/>
                  </a:lnTo>
                  <a:lnTo>
                    <a:pt x="1421" y="404"/>
                  </a:lnTo>
                  <a:lnTo>
                    <a:pt x="1397" y="388"/>
                  </a:lnTo>
                  <a:lnTo>
                    <a:pt x="1388" y="367"/>
                  </a:lnTo>
                  <a:lnTo>
                    <a:pt x="1383" y="346"/>
                  </a:lnTo>
                  <a:lnTo>
                    <a:pt x="1077" y="267"/>
                  </a:lnTo>
                  <a:lnTo>
                    <a:pt x="1028" y="263"/>
                  </a:lnTo>
                  <a:lnTo>
                    <a:pt x="1010" y="270"/>
                  </a:lnTo>
                  <a:lnTo>
                    <a:pt x="985" y="263"/>
                  </a:lnTo>
                  <a:lnTo>
                    <a:pt x="964" y="267"/>
                  </a:lnTo>
                  <a:lnTo>
                    <a:pt x="833" y="272"/>
                  </a:lnTo>
                  <a:lnTo>
                    <a:pt x="819" y="261"/>
                  </a:lnTo>
                  <a:lnTo>
                    <a:pt x="802" y="267"/>
                  </a:lnTo>
                  <a:lnTo>
                    <a:pt x="790" y="271"/>
                  </a:lnTo>
                  <a:lnTo>
                    <a:pt x="778" y="271"/>
                  </a:lnTo>
                  <a:lnTo>
                    <a:pt x="766" y="267"/>
                  </a:lnTo>
                  <a:lnTo>
                    <a:pt x="766" y="261"/>
                  </a:lnTo>
                  <a:lnTo>
                    <a:pt x="744" y="263"/>
                  </a:lnTo>
                  <a:lnTo>
                    <a:pt x="731" y="257"/>
                  </a:lnTo>
                  <a:lnTo>
                    <a:pt x="723" y="250"/>
                  </a:lnTo>
                  <a:lnTo>
                    <a:pt x="723" y="242"/>
                  </a:lnTo>
                  <a:lnTo>
                    <a:pt x="703" y="238"/>
                  </a:lnTo>
                  <a:lnTo>
                    <a:pt x="670" y="231"/>
                  </a:lnTo>
                  <a:lnTo>
                    <a:pt x="647" y="220"/>
                  </a:lnTo>
                  <a:lnTo>
                    <a:pt x="635" y="218"/>
                  </a:lnTo>
                  <a:lnTo>
                    <a:pt x="609" y="220"/>
                  </a:lnTo>
                  <a:lnTo>
                    <a:pt x="567" y="228"/>
                  </a:lnTo>
                  <a:lnTo>
                    <a:pt x="515" y="215"/>
                  </a:lnTo>
                  <a:lnTo>
                    <a:pt x="484" y="188"/>
                  </a:lnTo>
                  <a:lnTo>
                    <a:pt x="484" y="188"/>
                  </a:lnTo>
                  <a:lnTo>
                    <a:pt x="486" y="182"/>
                  </a:lnTo>
                  <a:lnTo>
                    <a:pt x="490" y="165"/>
                  </a:lnTo>
                  <a:lnTo>
                    <a:pt x="493" y="154"/>
                  </a:lnTo>
                  <a:lnTo>
                    <a:pt x="494" y="142"/>
                  </a:lnTo>
                  <a:lnTo>
                    <a:pt x="494" y="127"/>
                  </a:lnTo>
                  <a:lnTo>
                    <a:pt x="493" y="111"/>
                  </a:lnTo>
                  <a:lnTo>
                    <a:pt x="493" y="111"/>
                  </a:lnTo>
                  <a:lnTo>
                    <a:pt x="490" y="97"/>
                  </a:lnTo>
                  <a:lnTo>
                    <a:pt x="486" y="85"/>
                  </a:lnTo>
                  <a:lnTo>
                    <a:pt x="481" y="77"/>
                  </a:lnTo>
                  <a:lnTo>
                    <a:pt x="476" y="70"/>
                  </a:lnTo>
                  <a:lnTo>
                    <a:pt x="472" y="66"/>
                  </a:lnTo>
                  <a:lnTo>
                    <a:pt x="468" y="61"/>
                  </a:lnTo>
                  <a:lnTo>
                    <a:pt x="463" y="60"/>
                  </a:lnTo>
                  <a:lnTo>
                    <a:pt x="443" y="56"/>
                  </a:lnTo>
                  <a:lnTo>
                    <a:pt x="423" y="47"/>
                  </a:lnTo>
                  <a:lnTo>
                    <a:pt x="423" y="47"/>
                  </a:lnTo>
                  <a:lnTo>
                    <a:pt x="423" y="43"/>
                  </a:lnTo>
                  <a:lnTo>
                    <a:pt x="419" y="35"/>
                  </a:lnTo>
                  <a:lnTo>
                    <a:pt x="416" y="31"/>
                  </a:lnTo>
                  <a:lnTo>
                    <a:pt x="412" y="27"/>
                  </a:lnTo>
                  <a:lnTo>
                    <a:pt x="406" y="24"/>
                  </a:lnTo>
                  <a:lnTo>
                    <a:pt x="400" y="23"/>
                  </a:lnTo>
                  <a:lnTo>
                    <a:pt x="400" y="23"/>
                  </a:lnTo>
                  <a:lnTo>
                    <a:pt x="377" y="23"/>
                  </a:lnTo>
                  <a:lnTo>
                    <a:pt x="347" y="14"/>
                  </a:lnTo>
                  <a:lnTo>
                    <a:pt x="329" y="0"/>
                  </a:lnTo>
                  <a:lnTo>
                    <a:pt x="329" y="34"/>
                  </a:lnTo>
                  <a:lnTo>
                    <a:pt x="319" y="64"/>
                  </a:lnTo>
                  <a:lnTo>
                    <a:pt x="298" y="104"/>
                  </a:lnTo>
                  <a:lnTo>
                    <a:pt x="301" y="131"/>
                  </a:lnTo>
                  <a:lnTo>
                    <a:pt x="297" y="154"/>
                  </a:lnTo>
                  <a:lnTo>
                    <a:pt x="282" y="179"/>
                  </a:lnTo>
                  <a:lnTo>
                    <a:pt x="273" y="202"/>
                  </a:lnTo>
                  <a:lnTo>
                    <a:pt x="258" y="236"/>
                  </a:lnTo>
                  <a:lnTo>
                    <a:pt x="248" y="260"/>
                  </a:lnTo>
                  <a:lnTo>
                    <a:pt x="221" y="313"/>
                  </a:lnTo>
                  <a:lnTo>
                    <a:pt x="190" y="397"/>
                  </a:lnTo>
                  <a:lnTo>
                    <a:pt x="164" y="461"/>
                  </a:lnTo>
                  <a:lnTo>
                    <a:pt x="141" y="519"/>
                  </a:lnTo>
                  <a:lnTo>
                    <a:pt x="115" y="560"/>
                  </a:lnTo>
                  <a:lnTo>
                    <a:pt x="104" y="580"/>
                  </a:lnTo>
                  <a:lnTo>
                    <a:pt x="86" y="605"/>
                  </a:lnTo>
                  <a:lnTo>
                    <a:pt x="73" y="619"/>
                  </a:lnTo>
                  <a:lnTo>
                    <a:pt x="65" y="636"/>
                  </a:lnTo>
                  <a:lnTo>
                    <a:pt x="53" y="658"/>
                  </a:lnTo>
                  <a:lnTo>
                    <a:pt x="28" y="691"/>
                  </a:lnTo>
                  <a:lnTo>
                    <a:pt x="17" y="708"/>
                  </a:lnTo>
                  <a:lnTo>
                    <a:pt x="23" y="747"/>
                  </a:lnTo>
                  <a:lnTo>
                    <a:pt x="23" y="757"/>
                  </a:lnTo>
                  <a:lnTo>
                    <a:pt x="23" y="766"/>
                  </a:lnTo>
                  <a:lnTo>
                    <a:pt x="23" y="772"/>
                  </a:lnTo>
                  <a:lnTo>
                    <a:pt x="17" y="787"/>
                  </a:lnTo>
                  <a:lnTo>
                    <a:pt x="10" y="793"/>
                  </a:lnTo>
                  <a:lnTo>
                    <a:pt x="5" y="814"/>
                  </a:lnTo>
                  <a:lnTo>
                    <a:pt x="0" y="850"/>
                  </a:lnTo>
                  <a:lnTo>
                    <a:pt x="3" y="873"/>
                  </a:lnTo>
                  <a:lnTo>
                    <a:pt x="11" y="886"/>
                  </a:lnTo>
                  <a:lnTo>
                    <a:pt x="17" y="898"/>
                  </a:lnTo>
                  <a:lnTo>
                    <a:pt x="687" y="1093"/>
                  </a:lnTo>
                  <a:lnTo>
                    <a:pt x="687" y="1093"/>
                  </a:lnTo>
                  <a:lnTo>
                    <a:pt x="860" y="1138"/>
                  </a:lnTo>
                  <a:lnTo>
                    <a:pt x="1003" y="1174"/>
                  </a:lnTo>
                  <a:lnTo>
                    <a:pt x="1116" y="1204"/>
                  </a:lnTo>
                  <a:lnTo>
                    <a:pt x="1116" y="1204"/>
                  </a:lnTo>
                  <a:lnTo>
                    <a:pt x="1168" y="1215"/>
                  </a:lnTo>
                  <a:lnTo>
                    <a:pt x="1168" y="1215"/>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1" name="Freeform 20"/>
            <p:cNvSpPr>
              <a:spLocks/>
            </p:cNvSpPr>
            <p:nvPr/>
          </p:nvSpPr>
          <p:spPr bwMode="auto">
            <a:xfrm>
              <a:off x="3186113" y="760413"/>
              <a:ext cx="563562" cy="917575"/>
            </a:xfrm>
            <a:custGeom>
              <a:avLst/>
              <a:gdLst/>
              <a:ahLst/>
              <a:cxnLst>
                <a:cxn ang="0">
                  <a:pos x="224" y="633"/>
                </a:cxn>
                <a:cxn ang="0">
                  <a:pos x="215" y="665"/>
                </a:cxn>
                <a:cxn ang="0">
                  <a:pos x="253" y="723"/>
                </a:cxn>
                <a:cxn ang="0">
                  <a:pos x="267" y="779"/>
                </a:cxn>
                <a:cxn ang="0">
                  <a:pos x="232" y="818"/>
                </a:cxn>
                <a:cxn ang="0">
                  <a:pos x="188" y="877"/>
                </a:cxn>
                <a:cxn ang="0">
                  <a:pos x="161" y="922"/>
                </a:cxn>
                <a:cxn ang="0">
                  <a:pos x="91" y="997"/>
                </a:cxn>
                <a:cxn ang="0">
                  <a:pos x="104" y="1040"/>
                </a:cxn>
                <a:cxn ang="0">
                  <a:pos x="118" y="1062"/>
                </a:cxn>
                <a:cxn ang="0">
                  <a:pos x="113" y="1127"/>
                </a:cxn>
                <a:cxn ang="0">
                  <a:pos x="86" y="1167"/>
                </a:cxn>
                <a:cxn ang="0">
                  <a:pos x="301" y="1602"/>
                </a:cxn>
                <a:cxn ang="0">
                  <a:pos x="1066" y="1194"/>
                </a:cxn>
                <a:cxn ang="0">
                  <a:pos x="1044" y="1166"/>
                </a:cxn>
                <a:cxn ang="0">
                  <a:pos x="1018" y="1123"/>
                </a:cxn>
                <a:cxn ang="0">
                  <a:pos x="988" y="1160"/>
                </a:cxn>
                <a:cxn ang="0">
                  <a:pos x="884" y="1140"/>
                </a:cxn>
                <a:cxn ang="0">
                  <a:pos x="858" y="1160"/>
                </a:cxn>
                <a:cxn ang="0">
                  <a:pos x="801" y="1134"/>
                </a:cxn>
                <a:cxn ang="0">
                  <a:pos x="783" y="1158"/>
                </a:cxn>
                <a:cxn ang="0">
                  <a:pos x="757" y="1127"/>
                </a:cxn>
                <a:cxn ang="0">
                  <a:pos x="747" y="1052"/>
                </a:cxn>
                <a:cxn ang="0">
                  <a:pos x="698" y="1026"/>
                </a:cxn>
                <a:cxn ang="0">
                  <a:pos x="698" y="967"/>
                </a:cxn>
                <a:cxn ang="0">
                  <a:pos x="680" y="908"/>
                </a:cxn>
                <a:cxn ang="0">
                  <a:pos x="658" y="834"/>
                </a:cxn>
                <a:cxn ang="0">
                  <a:pos x="622" y="845"/>
                </a:cxn>
                <a:cxn ang="0">
                  <a:pos x="585" y="866"/>
                </a:cxn>
                <a:cxn ang="0">
                  <a:pos x="558" y="834"/>
                </a:cxn>
                <a:cxn ang="0">
                  <a:pos x="598" y="783"/>
                </a:cxn>
                <a:cxn ang="0">
                  <a:pos x="598" y="716"/>
                </a:cxn>
                <a:cxn ang="0">
                  <a:pos x="643" y="627"/>
                </a:cxn>
                <a:cxn ang="0">
                  <a:pos x="600" y="595"/>
                </a:cxn>
                <a:cxn ang="0">
                  <a:pos x="571" y="515"/>
                </a:cxn>
                <a:cxn ang="0">
                  <a:pos x="512" y="432"/>
                </a:cxn>
                <a:cxn ang="0">
                  <a:pos x="489" y="369"/>
                </a:cxn>
                <a:cxn ang="0">
                  <a:pos x="475" y="319"/>
                </a:cxn>
                <a:cxn ang="0">
                  <a:pos x="454" y="272"/>
                </a:cxn>
                <a:cxn ang="0">
                  <a:pos x="486" y="117"/>
                </a:cxn>
                <a:cxn ang="0">
                  <a:pos x="357" y="0"/>
                </a:cxn>
                <a:cxn ang="0">
                  <a:pos x="299" y="269"/>
                </a:cxn>
                <a:cxn ang="0">
                  <a:pos x="235" y="529"/>
                </a:cxn>
                <a:cxn ang="0">
                  <a:pos x="224" y="561"/>
                </a:cxn>
                <a:cxn ang="0">
                  <a:pos x="215" y="582"/>
                </a:cxn>
                <a:cxn ang="0">
                  <a:pos x="225" y="602"/>
                </a:cxn>
              </a:cxnLst>
              <a:rect l="0" t="0" r="r" b="b"/>
              <a:pathLst>
                <a:path w="1066" h="1735">
                  <a:moveTo>
                    <a:pt x="225" y="612"/>
                  </a:moveTo>
                  <a:lnTo>
                    <a:pt x="225" y="612"/>
                  </a:lnTo>
                  <a:lnTo>
                    <a:pt x="224" y="633"/>
                  </a:lnTo>
                  <a:lnTo>
                    <a:pt x="220" y="650"/>
                  </a:lnTo>
                  <a:lnTo>
                    <a:pt x="217" y="661"/>
                  </a:lnTo>
                  <a:lnTo>
                    <a:pt x="215" y="665"/>
                  </a:lnTo>
                  <a:lnTo>
                    <a:pt x="220" y="686"/>
                  </a:lnTo>
                  <a:lnTo>
                    <a:pt x="229" y="707"/>
                  </a:lnTo>
                  <a:lnTo>
                    <a:pt x="253" y="723"/>
                  </a:lnTo>
                  <a:lnTo>
                    <a:pt x="263" y="738"/>
                  </a:lnTo>
                  <a:lnTo>
                    <a:pt x="267" y="759"/>
                  </a:lnTo>
                  <a:lnTo>
                    <a:pt x="267" y="779"/>
                  </a:lnTo>
                  <a:lnTo>
                    <a:pt x="254" y="784"/>
                  </a:lnTo>
                  <a:lnTo>
                    <a:pt x="249" y="804"/>
                  </a:lnTo>
                  <a:lnTo>
                    <a:pt x="232" y="818"/>
                  </a:lnTo>
                  <a:lnTo>
                    <a:pt x="220" y="837"/>
                  </a:lnTo>
                  <a:lnTo>
                    <a:pt x="197" y="856"/>
                  </a:lnTo>
                  <a:lnTo>
                    <a:pt x="188" y="877"/>
                  </a:lnTo>
                  <a:lnTo>
                    <a:pt x="182" y="886"/>
                  </a:lnTo>
                  <a:lnTo>
                    <a:pt x="174" y="905"/>
                  </a:lnTo>
                  <a:lnTo>
                    <a:pt x="161" y="922"/>
                  </a:lnTo>
                  <a:lnTo>
                    <a:pt x="124" y="959"/>
                  </a:lnTo>
                  <a:lnTo>
                    <a:pt x="97" y="984"/>
                  </a:lnTo>
                  <a:lnTo>
                    <a:pt x="91" y="997"/>
                  </a:lnTo>
                  <a:lnTo>
                    <a:pt x="86" y="1020"/>
                  </a:lnTo>
                  <a:lnTo>
                    <a:pt x="95" y="1034"/>
                  </a:lnTo>
                  <a:lnTo>
                    <a:pt x="104" y="1040"/>
                  </a:lnTo>
                  <a:lnTo>
                    <a:pt x="110" y="1040"/>
                  </a:lnTo>
                  <a:lnTo>
                    <a:pt x="122" y="1049"/>
                  </a:lnTo>
                  <a:lnTo>
                    <a:pt x="118" y="1062"/>
                  </a:lnTo>
                  <a:lnTo>
                    <a:pt x="118" y="1098"/>
                  </a:lnTo>
                  <a:lnTo>
                    <a:pt x="114" y="1116"/>
                  </a:lnTo>
                  <a:lnTo>
                    <a:pt x="113" y="1127"/>
                  </a:lnTo>
                  <a:lnTo>
                    <a:pt x="93" y="1134"/>
                  </a:lnTo>
                  <a:lnTo>
                    <a:pt x="86" y="1144"/>
                  </a:lnTo>
                  <a:lnTo>
                    <a:pt x="86" y="1167"/>
                  </a:lnTo>
                  <a:lnTo>
                    <a:pt x="0" y="1534"/>
                  </a:lnTo>
                  <a:lnTo>
                    <a:pt x="0" y="1534"/>
                  </a:lnTo>
                  <a:lnTo>
                    <a:pt x="301" y="1602"/>
                  </a:lnTo>
                  <a:lnTo>
                    <a:pt x="479" y="1641"/>
                  </a:lnTo>
                  <a:lnTo>
                    <a:pt x="969" y="1735"/>
                  </a:lnTo>
                  <a:lnTo>
                    <a:pt x="1066" y="1194"/>
                  </a:lnTo>
                  <a:lnTo>
                    <a:pt x="1055" y="1183"/>
                  </a:lnTo>
                  <a:lnTo>
                    <a:pt x="1044" y="1173"/>
                  </a:lnTo>
                  <a:lnTo>
                    <a:pt x="1044" y="1166"/>
                  </a:lnTo>
                  <a:lnTo>
                    <a:pt x="1043" y="1151"/>
                  </a:lnTo>
                  <a:lnTo>
                    <a:pt x="1033" y="1137"/>
                  </a:lnTo>
                  <a:lnTo>
                    <a:pt x="1018" y="1123"/>
                  </a:lnTo>
                  <a:lnTo>
                    <a:pt x="1000" y="1123"/>
                  </a:lnTo>
                  <a:lnTo>
                    <a:pt x="993" y="1147"/>
                  </a:lnTo>
                  <a:lnTo>
                    <a:pt x="988" y="1160"/>
                  </a:lnTo>
                  <a:lnTo>
                    <a:pt x="943" y="1152"/>
                  </a:lnTo>
                  <a:lnTo>
                    <a:pt x="919" y="1144"/>
                  </a:lnTo>
                  <a:lnTo>
                    <a:pt x="884" y="1140"/>
                  </a:lnTo>
                  <a:lnTo>
                    <a:pt x="865" y="1141"/>
                  </a:lnTo>
                  <a:lnTo>
                    <a:pt x="858" y="1151"/>
                  </a:lnTo>
                  <a:lnTo>
                    <a:pt x="858" y="1160"/>
                  </a:lnTo>
                  <a:lnTo>
                    <a:pt x="839" y="1149"/>
                  </a:lnTo>
                  <a:lnTo>
                    <a:pt x="814" y="1135"/>
                  </a:lnTo>
                  <a:lnTo>
                    <a:pt x="801" y="1134"/>
                  </a:lnTo>
                  <a:lnTo>
                    <a:pt x="790" y="1137"/>
                  </a:lnTo>
                  <a:lnTo>
                    <a:pt x="783" y="1151"/>
                  </a:lnTo>
                  <a:lnTo>
                    <a:pt x="783" y="1158"/>
                  </a:lnTo>
                  <a:lnTo>
                    <a:pt x="766" y="1158"/>
                  </a:lnTo>
                  <a:lnTo>
                    <a:pt x="757" y="1142"/>
                  </a:lnTo>
                  <a:lnTo>
                    <a:pt x="757" y="1127"/>
                  </a:lnTo>
                  <a:lnTo>
                    <a:pt x="757" y="1108"/>
                  </a:lnTo>
                  <a:lnTo>
                    <a:pt x="747" y="1080"/>
                  </a:lnTo>
                  <a:lnTo>
                    <a:pt x="747" y="1052"/>
                  </a:lnTo>
                  <a:lnTo>
                    <a:pt x="728" y="1052"/>
                  </a:lnTo>
                  <a:lnTo>
                    <a:pt x="707" y="1037"/>
                  </a:lnTo>
                  <a:lnTo>
                    <a:pt x="698" y="1026"/>
                  </a:lnTo>
                  <a:lnTo>
                    <a:pt x="698" y="1016"/>
                  </a:lnTo>
                  <a:lnTo>
                    <a:pt x="698" y="992"/>
                  </a:lnTo>
                  <a:lnTo>
                    <a:pt x="698" y="967"/>
                  </a:lnTo>
                  <a:lnTo>
                    <a:pt x="680" y="951"/>
                  </a:lnTo>
                  <a:lnTo>
                    <a:pt x="680" y="937"/>
                  </a:lnTo>
                  <a:lnTo>
                    <a:pt x="680" y="908"/>
                  </a:lnTo>
                  <a:lnTo>
                    <a:pt x="672" y="872"/>
                  </a:lnTo>
                  <a:lnTo>
                    <a:pt x="665" y="852"/>
                  </a:lnTo>
                  <a:lnTo>
                    <a:pt x="658" y="834"/>
                  </a:lnTo>
                  <a:lnTo>
                    <a:pt x="648" y="834"/>
                  </a:lnTo>
                  <a:lnTo>
                    <a:pt x="632" y="847"/>
                  </a:lnTo>
                  <a:lnTo>
                    <a:pt x="622" y="845"/>
                  </a:lnTo>
                  <a:lnTo>
                    <a:pt x="610" y="854"/>
                  </a:lnTo>
                  <a:lnTo>
                    <a:pt x="594" y="865"/>
                  </a:lnTo>
                  <a:lnTo>
                    <a:pt x="585" y="866"/>
                  </a:lnTo>
                  <a:lnTo>
                    <a:pt x="585" y="854"/>
                  </a:lnTo>
                  <a:lnTo>
                    <a:pt x="567" y="841"/>
                  </a:lnTo>
                  <a:lnTo>
                    <a:pt x="558" y="834"/>
                  </a:lnTo>
                  <a:lnTo>
                    <a:pt x="572" y="800"/>
                  </a:lnTo>
                  <a:lnTo>
                    <a:pt x="583" y="783"/>
                  </a:lnTo>
                  <a:lnTo>
                    <a:pt x="598" y="783"/>
                  </a:lnTo>
                  <a:lnTo>
                    <a:pt x="604" y="773"/>
                  </a:lnTo>
                  <a:lnTo>
                    <a:pt x="594" y="747"/>
                  </a:lnTo>
                  <a:lnTo>
                    <a:pt x="598" y="716"/>
                  </a:lnTo>
                  <a:lnTo>
                    <a:pt x="611" y="686"/>
                  </a:lnTo>
                  <a:lnTo>
                    <a:pt x="625" y="657"/>
                  </a:lnTo>
                  <a:lnTo>
                    <a:pt x="643" y="627"/>
                  </a:lnTo>
                  <a:lnTo>
                    <a:pt x="639" y="609"/>
                  </a:lnTo>
                  <a:lnTo>
                    <a:pt x="600" y="602"/>
                  </a:lnTo>
                  <a:lnTo>
                    <a:pt x="600" y="595"/>
                  </a:lnTo>
                  <a:lnTo>
                    <a:pt x="586" y="579"/>
                  </a:lnTo>
                  <a:lnTo>
                    <a:pt x="573" y="551"/>
                  </a:lnTo>
                  <a:lnTo>
                    <a:pt x="571" y="515"/>
                  </a:lnTo>
                  <a:lnTo>
                    <a:pt x="558" y="491"/>
                  </a:lnTo>
                  <a:lnTo>
                    <a:pt x="536" y="468"/>
                  </a:lnTo>
                  <a:lnTo>
                    <a:pt x="512" y="432"/>
                  </a:lnTo>
                  <a:lnTo>
                    <a:pt x="504" y="408"/>
                  </a:lnTo>
                  <a:lnTo>
                    <a:pt x="489" y="383"/>
                  </a:lnTo>
                  <a:lnTo>
                    <a:pt x="489" y="369"/>
                  </a:lnTo>
                  <a:lnTo>
                    <a:pt x="475" y="354"/>
                  </a:lnTo>
                  <a:lnTo>
                    <a:pt x="475" y="335"/>
                  </a:lnTo>
                  <a:lnTo>
                    <a:pt x="475" y="319"/>
                  </a:lnTo>
                  <a:lnTo>
                    <a:pt x="462" y="298"/>
                  </a:lnTo>
                  <a:lnTo>
                    <a:pt x="454" y="286"/>
                  </a:lnTo>
                  <a:lnTo>
                    <a:pt x="454" y="272"/>
                  </a:lnTo>
                  <a:lnTo>
                    <a:pt x="461" y="224"/>
                  </a:lnTo>
                  <a:lnTo>
                    <a:pt x="474" y="167"/>
                  </a:lnTo>
                  <a:lnTo>
                    <a:pt x="486" y="117"/>
                  </a:lnTo>
                  <a:lnTo>
                    <a:pt x="494" y="83"/>
                  </a:lnTo>
                  <a:lnTo>
                    <a:pt x="504" y="38"/>
                  </a:lnTo>
                  <a:lnTo>
                    <a:pt x="357" y="0"/>
                  </a:lnTo>
                  <a:lnTo>
                    <a:pt x="357" y="0"/>
                  </a:lnTo>
                  <a:lnTo>
                    <a:pt x="339" y="85"/>
                  </a:lnTo>
                  <a:lnTo>
                    <a:pt x="299" y="269"/>
                  </a:lnTo>
                  <a:lnTo>
                    <a:pt x="275" y="371"/>
                  </a:lnTo>
                  <a:lnTo>
                    <a:pt x="253" y="461"/>
                  </a:lnTo>
                  <a:lnTo>
                    <a:pt x="235" y="529"/>
                  </a:lnTo>
                  <a:lnTo>
                    <a:pt x="228" y="550"/>
                  </a:lnTo>
                  <a:lnTo>
                    <a:pt x="224" y="561"/>
                  </a:lnTo>
                  <a:lnTo>
                    <a:pt x="224" y="561"/>
                  </a:lnTo>
                  <a:lnTo>
                    <a:pt x="218" y="569"/>
                  </a:lnTo>
                  <a:lnTo>
                    <a:pt x="215" y="576"/>
                  </a:lnTo>
                  <a:lnTo>
                    <a:pt x="215" y="582"/>
                  </a:lnTo>
                  <a:lnTo>
                    <a:pt x="217" y="586"/>
                  </a:lnTo>
                  <a:lnTo>
                    <a:pt x="222" y="595"/>
                  </a:lnTo>
                  <a:lnTo>
                    <a:pt x="225" y="602"/>
                  </a:lnTo>
                  <a:lnTo>
                    <a:pt x="225" y="612"/>
                  </a:lnTo>
                  <a:lnTo>
                    <a:pt x="225" y="612"/>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2" name="Freeform 21"/>
            <p:cNvSpPr>
              <a:spLocks/>
            </p:cNvSpPr>
            <p:nvPr/>
          </p:nvSpPr>
          <p:spPr bwMode="auto">
            <a:xfrm>
              <a:off x="3425825" y="781050"/>
              <a:ext cx="963612" cy="619125"/>
            </a:xfrm>
            <a:custGeom>
              <a:avLst/>
              <a:gdLst/>
              <a:ahLst/>
              <a:cxnLst>
                <a:cxn ang="0">
                  <a:pos x="1822" y="279"/>
                </a:cxn>
                <a:cxn ang="0">
                  <a:pos x="1124" y="190"/>
                </a:cxn>
                <a:cxn ang="0">
                  <a:pos x="859" y="154"/>
                </a:cxn>
                <a:cxn ang="0">
                  <a:pos x="726" y="133"/>
                </a:cxn>
                <a:cxn ang="0">
                  <a:pos x="454" y="83"/>
                </a:cxn>
                <a:cxn ang="0">
                  <a:pos x="129" y="16"/>
                </a:cxn>
                <a:cxn ang="0">
                  <a:pos x="40" y="45"/>
                </a:cxn>
                <a:cxn ang="0">
                  <a:pos x="20" y="129"/>
                </a:cxn>
                <a:cxn ang="0">
                  <a:pos x="0" y="234"/>
                </a:cxn>
                <a:cxn ang="0">
                  <a:pos x="8" y="260"/>
                </a:cxn>
                <a:cxn ang="0">
                  <a:pos x="21" y="297"/>
                </a:cxn>
                <a:cxn ang="0">
                  <a:pos x="35" y="331"/>
                </a:cxn>
                <a:cxn ang="0">
                  <a:pos x="50" y="370"/>
                </a:cxn>
                <a:cxn ang="0">
                  <a:pos x="82" y="430"/>
                </a:cxn>
                <a:cxn ang="0">
                  <a:pos x="117" y="477"/>
                </a:cxn>
                <a:cxn ang="0">
                  <a:pos x="132" y="541"/>
                </a:cxn>
                <a:cxn ang="0">
                  <a:pos x="146" y="564"/>
                </a:cxn>
                <a:cxn ang="0">
                  <a:pos x="189" y="589"/>
                </a:cxn>
                <a:cxn ang="0">
                  <a:pos x="157" y="648"/>
                </a:cxn>
                <a:cxn ang="0">
                  <a:pos x="140" y="709"/>
                </a:cxn>
                <a:cxn ang="0">
                  <a:pos x="144" y="745"/>
                </a:cxn>
                <a:cxn ang="0">
                  <a:pos x="118" y="762"/>
                </a:cxn>
                <a:cxn ang="0">
                  <a:pos x="113" y="803"/>
                </a:cxn>
                <a:cxn ang="0">
                  <a:pos x="131" y="828"/>
                </a:cxn>
                <a:cxn ang="0">
                  <a:pos x="156" y="816"/>
                </a:cxn>
                <a:cxn ang="0">
                  <a:pos x="178" y="809"/>
                </a:cxn>
                <a:cxn ang="0">
                  <a:pos x="204" y="796"/>
                </a:cxn>
                <a:cxn ang="0">
                  <a:pos x="218" y="834"/>
                </a:cxn>
                <a:cxn ang="0">
                  <a:pos x="226" y="899"/>
                </a:cxn>
                <a:cxn ang="0">
                  <a:pos x="244" y="929"/>
                </a:cxn>
                <a:cxn ang="0">
                  <a:pos x="244" y="978"/>
                </a:cxn>
                <a:cxn ang="0">
                  <a:pos x="253" y="999"/>
                </a:cxn>
                <a:cxn ang="0">
                  <a:pos x="293" y="1014"/>
                </a:cxn>
                <a:cxn ang="0">
                  <a:pos x="303" y="1070"/>
                </a:cxn>
                <a:cxn ang="0">
                  <a:pos x="303" y="1104"/>
                </a:cxn>
                <a:cxn ang="0">
                  <a:pos x="329" y="1120"/>
                </a:cxn>
                <a:cxn ang="0">
                  <a:pos x="336" y="1099"/>
                </a:cxn>
                <a:cxn ang="0">
                  <a:pos x="360" y="1097"/>
                </a:cxn>
                <a:cxn ang="0">
                  <a:pos x="404" y="1122"/>
                </a:cxn>
                <a:cxn ang="0">
                  <a:pos x="411" y="1103"/>
                </a:cxn>
                <a:cxn ang="0">
                  <a:pos x="465" y="1106"/>
                </a:cxn>
                <a:cxn ang="0">
                  <a:pos x="534" y="1122"/>
                </a:cxn>
                <a:cxn ang="0">
                  <a:pos x="546" y="1085"/>
                </a:cxn>
                <a:cxn ang="0">
                  <a:pos x="579" y="1099"/>
                </a:cxn>
                <a:cxn ang="0">
                  <a:pos x="590" y="1128"/>
                </a:cxn>
                <a:cxn ang="0">
                  <a:pos x="601" y="1145"/>
                </a:cxn>
                <a:cxn ang="0">
                  <a:pos x="634" y="1029"/>
                </a:cxn>
                <a:cxn ang="0">
                  <a:pos x="1736" y="1171"/>
                </a:cxn>
                <a:cxn ang="0">
                  <a:pos x="1822" y="279"/>
                </a:cxn>
              </a:cxnLst>
              <a:rect l="0" t="0" r="r" b="b"/>
              <a:pathLst>
                <a:path w="1822" h="1171">
                  <a:moveTo>
                    <a:pt x="1822" y="279"/>
                  </a:moveTo>
                  <a:lnTo>
                    <a:pt x="1822" y="279"/>
                  </a:lnTo>
                  <a:lnTo>
                    <a:pt x="1442" y="231"/>
                  </a:lnTo>
                  <a:lnTo>
                    <a:pt x="1124" y="190"/>
                  </a:lnTo>
                  <a:lnTo>
                    <a:pt x="978" y="170"/>
                  </a:lnTo>
                  <a:lnTo>
                    <a:pt x="859" y="154"/>
                  </a:lnTo>
                  <a:lnTo>
                    <a:pt x="859" y="154"/>
                  </a:lnTo>
                  <a:lnTo>
                    <a:pt x="726" y="133"/>
                  </a:lnTo>
                  <a:lnTo>
                    <a:pt x="590" y="108"/>
                  </a:lnTo>
                  <a:lnTo>
                    <a:pt x="454" y="83"/>
                  </a:lnTo>
                  <a:lnTo>
                    <a:pt x="328" y="58"/>
                  </a:lnTo>
                  <a:lnTo>
                    <a:pt x="129" y="16"/>
                  </a:lnTo>
                  <a:lnTo>
                    <a:pt x="50" y="0"/>
                  </a:lnTo>
                  <a:lnTo>
                    <a:pt x="40" y="45"/>
                  </a:lnTo>
                  <a:lnTo>
                    <a:pt x="32" y="79"/>
                  </a:lnTo>
                  <a:lnTo>
                    <a:pt x="20" y="129"/>
                  </a:lnTo>
                  <a:lnTo>
                    <a:pt x="7" y="186"/>
                  </a:lnTo>
                  <a:lnTo>
                    <a:pt x="0" y="234"/>
                  </a:lnTo>
                  <a:lnTo>
                    <a:pt x="0" y="248"/>
                  </a:lnTo>
                  <a:lnTo>
                    <a:pt x="8" y="260"/>
                  </a:lnTo>
                  <a:lnTo>
                    <a:pt x="21" y="281"/>
                  </a:lnTo>
                  <a:lnTo>
                    <a:pt x="21" y="297"/>
                  </a:lnTo>
                  <a:lnTo>
                    <a:pt x="21" y="316"/>
                  </a:lnTo>
                  <a:lnTo>
                    <a:pt x="35" y="331"/>
                  </a:lnTo>
                  <a:lnTo>
                    <a:pt x="35" y="345"/>
                  </a:lnTo>
                  <a:lnTo>
                    <a:pt x="50" y="370"/>
                  </a:lnTo>
                  <a:lnTo>
                    <a:pt x="58" y="394"/>
                  </a:lnTo>
                  <a:lnTo>
                    <a:pt x="82" y="430"/>
                  </a:lnTo>
                  <a:lnTo>
                    <a:pt x="104" y="453"/>
                  </a:lnTo>
                  <a:lnTo>
                    <a:pt x="117" y="477"/>
                  </a:lnTo>
                  <a:lnTo>
                    <a:pt x="119" y="513"/>
                  </a:lnTo>
                  <a:lnTo>
                    <a:pt x="132" y="541"/>
                  </a:lnTo>
                  <a:lnTo>
                    <a:pt x="146" y="557"/>
                  </a:lnTo>
                  <a:lnTo>
                    <a:pt x="146" y="564"/>
                  </a:lnTo>
                  <a:lnTo>
                    <a:pt x="185" y="571"/>
                  </a:lnTo>
                  <a:lnTo>
                    <a:pt x="189" y="589"/>
                  </a:lnTo>
                  <a:lnTo>
                    <a:pt x="171" y="619"/>
                  </a:lnTo>
                  <a:lnTo>
                    <a:pt x="157" y="648"/>
                  </a:lnTo>
                  <a:lnTo>
                    <a:pt x="144" y="678"/>
                  </a:lnTo>
                  <a:lnTo>
                    <a:pt x="140" y="709"/>
                  </a:lnTo>
                  <a:lnTo>
                    <a:pt x="150" y="735"/>
                  </a:lnTo>
                  <a:lnTo>
                    <a:pt x="144" y="745"/>
                  </a:lnTo>
                  <a:lnTo>
                    <a:pt x="129" y="745"/>
                  </a:lnTo>
                  <a:lnTo>
                    <a:pt x="118" y="762"/>
                  </a:lnTo>
                  <a:lnTo>
                    <a:pt x="104" y="796"/>
                  </a:lnTo>
                  <a:lnTo>
                    <a:pt x="113" y="803"/>
                  </a:lnTo>
                  <a:lnTo>
                    <a:pt x="131" y="816"/>
                  </a:lnTo>
                  <a:lnTo>
                    <a:pt x="131" y="828"/>
                  </a:lnTo>
                  <a:lnTo>
                    <a:pt x="140" y="827"/>
                  </a:lnTo>
                  <a:lnTo>
                    <a:pt x="156" y="816"/>
                  </a:lnTo>
                  <a:lnTo>
                    <a:pt x="168" y="807"/>
                  </a:lnTo>
                  <a:lnTo>
                    <a:pt x="178" y="809"/>
                  </a:lnTo>
                  <a:lnTo>
                    <a:pt x="194" y="796"/>
                  </a:lnTo>
                  <a:lnTo>
                    <a:pt x="204" y="796"/>
                  </a:lnTo>
                  <a:lnTo>
                    <a:pt x="211" y="814"/>
                  </a:lnTo>
                  <a:lnTo>
                    <a:pt x="218" y="834"/>
                  </a:lnTo>
                  <a:lnTo>
                    <a:pt x="226" y="870"/>
                  </a:lnTo>
                  <a:lnTo>
                    <a:pt x="226" y="899"/>
                  </a:lnTo>
                  <a:lnTo>
                    <a:pt x="226" y="913"/>
                  </a:lnTo>
                  <a:lnTo>
                    <a:pt x="244" y="929"/>
                  </a:lnTo>
                  <a:lnTo>
                    <a:pt x="244" y="954"/>
                  </a:lnTo>
                  <a:lnTo>
                    <a:pt x="244" y="978"/>
                  </a:lnTo>
                  <a:lnTo>
                    <a:pt x="244" y="988"/>
                  </a:lnTo>
                  <a:lnTo>
                    <a:pt x="253" y="999"/>
                  </a:lnTo>
                  <a:lnTo>
                    <a:pt x="274" y="1014"/>
                  </a:lnTo>
                  <a:lnTo>
                    <a:pt x="293" y="1014"/>
                  </a:lnTo>
                  <a:lnTo>
                    <a:pt x="293" y="1042"/>
                  </a:lnTo>
                  <a:lnTo>
                    <a:pt x="303" y="1070"/>
                  </a:lnTo>
                  <a:lnTo>
                    <a:pt x="303" y="1089"/>
                  </a:lnTo>
                  <a:lnTo>
                    <a:pt x="303" y="1104"/>
                  </a:lnTo>
                  <a:lnTo>
                    <a:pt x="312" y="1120"/>
                  </a:lnTo>
                  <a:lnTo>
                    <a:pt x="329" y="1120"/>
                  </a:lnTo>
                  <a:lnTo>
                    <a:pt x="329" y="1113"/>
                  </a:lnTo>
                  <a:lnTo>
                    <a:pt x="336" y="1099"/>
                  </a:lnTo>
                  <a:lnTo>
                    <a:pt x="347" y="1096"/>
                  </a:lnTo>
                  <a:lnTo>
                    <a:pt x="360" y="1097"/>
                  </a:lnTo>
                  <a:lnTo>
                    <a:pt x="385" y="1111"/>
                  </a:lnTo>
                  <a:lnTo>
                    <a:pt x="404" y="1122"/>
                  </a:lnTo>
                  <a:lnTo>
                    <a:pt x="404" y="1113"/>
                  </a:lnTo>
                  <a:lnTo>
                    <a:pt x="411" y="1103"/>
                  </a:lnTo>
                  <a:lnTo>
                    <a:pt x="430" y="1102"/>
                  </a:lnTo>
                  <a:lnTo>
                    <a:pt x="465" y="1106"/>
                  </a:lnTo>
                  <a:lnTo>
                    <a:pt x="489" y="1114"/>
                  </a:lnTo>
                  <a:lnTo>
                    <a:pt x="534" y="1122"/>
                  </a:lnTo>
                  <a:lnTo>
                    <a:pt x="539" y="1109"/>
                  </a:lnTo>
                  <a:lnTo>
                    <a:pt x="546" y="1085"/>
                  </a:lnTo>
                  <a:lnTo>
                    <a:pt x="564" y="1085"/>
                  </a:lnTo>
                  <a:lnTo>
                    <a:pt x="579" y="1099"/>
                  </a:lnTo>
                  <a:lnTo>
                    <a:pt x="589" y="1113"/>
                  </a:lnTo>
                  <a:lnTo>
                    <a:pt x="590" y="1128"/>
                  </a:lnTo>
                  <a:lnTo>
                    <a:pt x="590" y="1135"/>
                  </a:lnTo>
                  <a:lnTo>
                    <a:pt x="601" y="1145"/>
                  </a:lnTo>
                  <a:lnTo>
                    <a:pt x="612" y="1156"/>
                  </a:lnTo>
                  <a:lnTo>
                    <a:pt x="634" y="1029"/>
                  </a:lnTo>
                  <a:lnTo>
                    <a:pt x="1735" y="1171"/>
                  </a:lnTo>
                  <a:lnTo>
                    <a:pt x="1736" y="1171"/>
                  </a:lnTo>
                  <a:lnTo>
                    <a:pt x="1757" y="961"/>
                  </a:lnTo>
                  <a:lnTo>
                    <a:pt x="1822" y="279"/>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3" name="Freeform 22"/>
            <p:cNvSpPr>
              <a:spLocks/>
            </p:cNvSpPr>
            <p:nvPr/>
          </p:nvSpPr>
          <p:spPr bwMode="auto">
            <a:xfrm>
              <a:off x="7086600" y="857250"/>
              <a:ext cx="341312" cy="539750"/>
            </a:xfrm>
            <a:custGeom>
              <a:avLst/>
              <a:gdLst/>
              <a:ahLst/>
              <a:cxnLst>
                <a:cxn ang="0">
                  <a:pos x="189" y="995"/>
                </a:cxn>
                <a:cxn ang="0">
                  <a:pos x="185" y="963"/>
                </a:cxn>
                <a:cxn ang="0">
                  <a:pos x="205" y="934"/>
                </a:cxn>
                <a:cxn ang="0">
                  <a:pos x="218" y="915"/>
                </a:cxn>
                <a:cxn ang="0">
                  <a:pos x="241" y="885"/>
                </a:cxn>
                <a:cxn ang="0">
                  <a:pos x="225" y="872"/>
                </a:cxn>
                <a:cxn ang="0">
                  <a:pos x="233" y="848"/>
                </a:cxn>
                <a:cxn ang="0">
                  <a:pos x="250" y="847"/>
                </a:cxn>
                <a:cxn ang="0">
                  <a:pos x="266" y="824"/>
                </a:cxn>
                <a:cxn ang="0">
                  <a:pos x="290" y="838"/>
                </a:cxn>
                <a:cxn ang="0">
                  <a:pos x="284" y="816"/>
                </a:cxn>
                <a:cxn ang="0">
                  <a:pos x="311" y="808"/>
                </a:cxn>
                <a:cxn ang="0">
                  <a:pos x="323" y="760"/>
                </a:cxn>
                <a:cxn ang="0">
                  <a:pos x="366" y="774"/>
                </a:cxn>
                <a:cxn ang="0">
                  <a:pos x="379" y="720"/>
                </a:cxn>
                <a:cxn ang="0">
                  <a:pos x="376" y="672"/>
                </a:cxn>
                <a:cxn ang="0">
                  <a:pos x="383" y="640"/>
                </a:cxn>
                <a:cxn ang="0">
                  <a:pos x="436" y="666"/>
                </a:cxn>
                <a:cxn ang="0">
                  <a:pos x="447" y="627"/>
                </a:cxn>
                <a:cxn ang="0">
                  <a:pos x="466" y="663"/>
                </a:cxn>
                <a:cxn ang="0">
                  <a:pos x="486" y="636"/>
                </a:cxn>
                <a:cxn ang="0">
                  <a:pos x="477" y="608"/>
                </a:cxn>
                <a:cxn ang="0">
                  <a:pos x="520" y="626"/>
                </a:cxn>
                <a:cxn ang="0">
                  <a:pos x="537" y="608"/>
                </a:cxn>
                <a:cxn ang="0">
                  <a:pos x="566" y="579"/>
                </a:cxn>
                <a:cxn ang="0">
                  <a:pos x="581" y="555"/>
                </a:cxn>
                <a:cxn ang="0">
                  <a:pos x="630" y="530"/>
                </a:cxn>
                <a:cxn ang="0">
                  <a:pos x="640" y="479"/>
                </a:cxn>
                <a:cxn ang="0">
                  <a:pos x="622" y="468"/>
                </a:cxn>
                <a:cxn ang="0">
                  <a:pos x="615" y="445"/>
                </a:cxn>
                <a:cxn ang="0">
                  <a:pos x="574" y="418"/>
                </a:cxn>
                <a:cxn ang="0">
                  <a:pos x="559" y="351"/>
                </a:cxn>
                <a:cxn ang="0">
                  <a:pos x="520" y="341"/>
                </a:cxn>
                <a:cxn ang="0">
                  <a:pos x="466" y="305"/>
                </a:cxn>
                <a:cxn ang="0">
                  <a:pos x="425" y="168"/>
                </a:cxn>
                <a:cxn ang="0">
                  <a:pos x="393" y="57"/>
                </a:cxn>
                <a:cxn ang="0">
                  <a:pos x="294" y="15"/>
                </a:cxn>
                <a:cxn ang="0">
                  <a:pos x="232" y="55"/>
                </a:cxn>
                <a:cxn ang="0">
                  <a:pos x="166" y="21"/>
                </a:cxn>
                <a:cxn ang="0">
                  <a:pos x="122" y="114"/>
                </a:cxn>
                <a:cxn ang="0">
                  <a:pos x="76" y="294"/>
                </a:cxn>
                <a:cxn ang="0">
                  <a:pos x="83" y="386"/>
                </a:cxn>
                <a:cxn ang="0">
                  <a:pos x="64" y="447"/>
                </a:cxn>
                <a:cxn ang="0">
                  <a:pos x="43" y="519"/>
                </a:cxn>
                <a:cxn ang="0">
                  <a:pos x="0" y="561"/>
                </a:cxn>
              </a:cxnLst>
              <a:rect l="0" t="0" r="r" b="b"/>
              <a:pathLst>
                <a:path w="645" h="1021">
                  <a:moveTo>
                    <a:pt x="180" y="1021"/>
                  </a:moveTo>
                  <a:lnTo>
                    <a:pt x="180" y="1013"/>
                  </a:lnTo>
                  <a:lnTo>
                    <a:pt x="189" y="995"/>
                  </a:lnTo>
                  <a:lnTo>
                    <a:pt x="189" y="991"/>
                  </a:lnTo>
                  <a:lnTo>
                    <a:pt x="185" y="973"/>
                  </a:lnTo>
                  <a:lnTo>
                    <a:pt x="185" y="963"/>
                  </a:lnTo>
                  <a:lnTo>
                    <a:pt x="198" y="956"/>
                  </a:lnTo>
                  <a:lnTo>
                    <a:pt x="205" y="956"/>
                  </a:lnTo>
                  <a:lnTo>
                    <a:pt x="205" y="934"/>
                  </a:lnTo>
                  <a:lnTo>
                    <a:pt x="212" y="927"/>
                  </a:lnTo>
                  <a:lnTo>
                    <a:pt x="212" y="915"/>
                  </a:lnTo>
                  <a:lnTo>
                    <a:pt x="218" y="915"/>
                  </a:lnTo>
                  <a:lnTo>
                    <a:pt x="228" y="906"/>
                  </a:lnTo>
                  <a:lnTo>
                    <a:pt x="241" y="906"/>
                  </a:lnTo>
                  <a:lnTo>
                    <a:pt x="241" y="885"/>
                  </a:lnTo>
                  <a:lnTo>
                    <a:pt x="229" y="881"/>
                  </a:lnTo>
                  <a:lnTo>
                    <a:pt x="223" y="881"/>
                  </a:lnTo>
                  <a:lnTo>
                    <a:pt x="225" y="872"/>
                  </a:lnTo>
                  <a:lnTo>
                    <a:pt x="226" y="867"/>
                  </a:lnTo>
                  <a:lnTo>
                    <a:pt x="230" y="855"/>
                  </a:lnTo>
                  <a:lnTo>
                    <a:pt x="233" y="848"/>
                  </a:lnTo>
                  <a:lnTo>
                    <a:pt x="241" y="835"/>
                  </a:lnTo>
                  <a:lnTo>
                    <a:pt x="250" y="840"/>
                  </a:lnTo>
                  <a:lnTo>
                    <a:pt x="250" y="847"/>
                  </a:lnTo>
                  <a:lnTo>
                    <a:pt x="259" y="844"/>
                  </a:lnTo>
                  <a:lnTo>
                    <a:pt x="266" y="835"/>
                  </a:lnTo>
                  <a:lnTo>
                    <a:pt x="266" y="824"/>
                  </a:lnTo>
                  <a:lnTo>
                    <a:pt x="275" y="833"/>
                  </a:lnTo>
                  <a:lnTo>
                    <a:pt x="284" y="838"/>
                  </a:lnTo>
                  <a:lnTo>
                    <a:pt x="290" y="838"/>
                  </a:lnTo>
                  <a:lnTo>
                    <a:pt x="290" y="824"/>
                  </a:lnTo>
                  <a:lnTo>
                    <a:pt x="290" y="816"/>
                  </a:lnTo>
                  <a:lnTo>
                    <a:pt x="284" y="816"/>
                  </a:lnTo>
                  <a:lnTo>
                    <a:pt x="275" y="804"/>
                  </a:lnTo>
                  <a:lnTo>
                    <a:pt x="298" y="804"/>
                  </a:lnTo>
                  <a:lnTo>
                    <a:pt x="311" y="808"/>
                  </a:lnTo>
                  <a:lnTo>
                    <a:pt x="323" y="804"/>
                  </a:lnTo>
                  <a:lnTo>
                    <a:pt x="330" y="784"/>
                  </a:lnTo>
                  <a:lnTo>
                    <a:pt x="323" y="760"/>
                  </a:lnTo>
                  <a:lnTo>
                    <a:pt x="336" y="760"/>
                  </a:lnTo>
                  <a:lnTo>
                    <a:pt x="354" y="777"/>
                  </a:lnTo>
                  <a:lnTo>
                    <a:pt x="366" y="774"/>
                  </a:lnTo>
                  <a:lnTo>
                    <a:pt x="379" y="760"/>
                  </a:lnTo>
                  <a:lnTo>
                    <a:pt x="383" y="738"/>
                  </a:lnTo>
                  <a:lnTo>
                    <a:pt x="379" y="720"/>
                  </a:lnTo>
                  <a:lnTo>
                    <a:pt x="383" y="702"/>
                  </a:lnTo>
                  <a:lnTo>
                    <a:pt x="383" y="686"/>
                  </a:lnTo>
                  <a:lnTo>
                    <a:pt x="376" y="672"/>
                  </a:lnTo>
                  <a:lnTo>
                    <a:pt x="377" y="662"/>
                  </a:lnTo>
                  <a:lnTo>
                    <a:pt x="383" y="648"/>
                  </a:lnTo>
                  <a:lnTo>
                    <a:pt x="383" y="640"/>
                  </a:lnTo>
                  <a:lnTo>
                    <a:pt x="398" y="655"/>
                  </a:lnTo>
                  <a:lnTo>
                    <a:pt x="409" y="667"/>
                  </a:lnTo>
                  <a:lnTo>
                    <a:pt x="436" y="666"/>
                  </a:lnTo>
                  <a:lnTo>
                    <a:pt x="436" y="655"/>
                  </a:lnTo>
                  <a:lnTo>
                    <a:pt x="436" y="640"/>
                  </a:lnTo>
                  <a:lnTo>
                    <a:pt x="447" y="627"/>
                  </a:lnTo>
                  <a:lnTo>
                    <a:pt x="461" y="636"/>
                  </a:lnTo>
                  <a:lnTo>
                    <a:pt x="466" y="648"/>
                  </a:lnTo>
                  <a:lnTo>
                    <a:pt x="466" y="663"/>
                  </a:lnTo>
                  <a:lnTo>
                    <a:pt x="480" y="661"/>
                  </a:lnTo>
                  <a:lnTo>
                    <a:pt x="494" y="645"/>
                  </a:lnTo>
                  <a:lnTo>
                    <a:pt x="486" y="636"/>
                  </a:lnTo>
                  <a:lnTo>
                    <a:pt x="473" y="623"/>
                  </a:lnTo>
                  <a:lnTo>
                    <a:pt x="475" y="612"/>
                  </a:lnTo>
                  <a:lnTo>
                    <a:pt x="477" y="608"/>
                  </a:lnTo>
                  <a:lnTo>
                    <a:pt x="494" y="622"/>
                  </a:lnTo>
                  <a:lnTo>
                    <a:pt x="511" y="633"/>
                  </a:lnTo>
                  <a:lnTo>
                    <a:pt x="520" y="626"/>
                  </a:lnTo>
                  <a:lnTo>
                    <a:pt x="516" y="608"/>
                  </a:lnTo>
                  <a:lnTo>
                    <a:pt x="520" y="608"/>
                  </a:lnTo>
                  <a:lnTo>
                    <a:pt x="537" y="608"/>
                  </a:lnTo>
                  <a:lnTo>
                    <a:pt x="537" y="579"/>
                  </a:lnTo>
                  <a:lnTo>
                    <a:pt x="552" y="579"/>
                  </a:lnTo>
                  <a:lnTo>
                    <a:pt x="566" y="579"/>
                  </a:lnTo>
                  <a:lnTo>
                    <a:pt x="573" y="569"/>
                  </a:lnTo>
                  <a:lnTo>
                    <a:pt x="573" y="555"/>
                  </a:lnTo>
                  <a:lnTo>
                    <a:pt x="581" y="555"/>
                  </a:lnTo>
                  <a:lnTo>
                    <a:pt x="594" y="545"/>
                  </a:lnTo>
                  <a:lnTo>
                    <a:pt x="606" y="530"/>
                  </a:lnTo>
                  <a:lnTo>
                    <a:pt x="630" y="530"/>
                  </a:lnTo>
                  <a:lnTo>
                    <a:pt x="637" y="522"/>
                  </a:lnTo>
                  <a:lnTo>
                    <a:pt x="645" y="490"/>
                  </a:lnTo>
                  <a:lnTo>
                    <a:pt x="640" y="479"/>
                  </a:lnTo>
                  <a:lnTo>
                    <a:pt x="633" y="479"/>
                  </a:lnTo>
                  <a:lnTo>
                    <a:pt x="623" y="479"/>
                  </a:lnTo>
                  <a:lnTo>
                    <a:pt x="622" y="468"/>
                  </a:lnTo>
                  <a:lnTo>
                    <a:pt x="626" y="458"/>
                  </a:lnTo>
                  <a:lnTo>
                    <a:pt x="626" y="454"/>
                  </a:lnTo>
                  <a:lnTo>
                    <a:pt x="615" y="445"/>
                  </a:lnTo>
                  <a:lnTo>
                    <a:pt x="604" y="418"/>
                  </a:lnTo>
                  <a:lnTo>
                    <a:pt x="586" y="418"/>
                  </a:lnTo>
                  <a:lnTo>
                    <a:pt x="574" y="418"/>
                  </a:lnTo>
                  <a:lnTo>
                    <a:pt x="563" y="397"/>
                  </a:lnTo>
                  <a:lnTo>
                    <a:pt x="561" y="370"/>
                  </a:lnTo>
                  <a:lnTo>
                    <a:pt x="559" y="351"/>
                  </a:lnTo>
                  <a:lnTo>
                    <a:pt x="549" y="332"/>
                  </a:lnTo>
                  <a:lnTo>
                    <a:pt x="537" y="337"/>
                  </a:lnTo>
                  <a:lnTo>
                    <a:pt x="520" y="341"/>
                  </a:lnTo>
                  <a:lnTo>
                    <a:pt x="502" y="345"/>
                  </a:lnTo>
                  <a:lnTo>
                    <a:pt x="479" y="336"/>
                  </a:lnTo>
                  <a:lnTo>
                    <a:pt x="466" y="305"/>
                  </a:lnTo>
                  <a:lnTo>
                    <a:pt x="455" y="264"/>
                  </a:lnTo>
                  <a:lnTo>
                    <a:pt x="437" y="216"/>
                  </a:lnTo>
                  <a:lnTo>
                    <a:pt x="425" y="168"/>
                  </a:lnTo>
                  <a:lnTo>
                    <a:pt x="412" y="137"/>
                  </a:lnTo>
                  <a:lnTo>
                    <a:pt x="407" y="97"/>
                  </a:lnTo>
                  <a:lnTo>
                    <a:pt x="393" y="57"/>
                  </a:lnTo>
                  <a:lnTo>
                    <a:pt x="382" y="42"/>
                  </a:lnTo>
                  <a:lnTo>
                    <a:pt x="309" y="0"/>
                  </a:lnTo>
                  <a:lnTo>
                    <a:pt x="294" y="15"/>
                  </a:lnTo>
                  <a:lnTo>
                    <a:pt x="275" y="35"/>
                  </a:lnTo>
                  <a:lnTo>
                    <a:pt x="248" y="57"/>
                  </a:lnTo>
                  <a:lnTo>
                    <a:pt x="232" y="55"/>
                  </a:lnTo>
                  <a:lnTo>
                    <a:pt x="214" y="46"/>
                  </a:lnTo>
                  <a:lnTo>
                    <a:pt x="191" y="33"/>
                  </a:lnTo>
                  <a:lnTo>
                    <a:pt x="166" y="21"/>
                  </a:lnTo>
                  <a:lnTo>
                    <a:pt x="158" y="21"/>
                  </a:lnTo>
                  <a:lnTo>
                    <a:pt x="150" y="37"/>
                  </a:lnTo>
                  <a:lnTo>
                    <a:pt x="122" y="114"/>
                  </a:lnTo>
                  <a:lnTo>
                    <a:pt x="111" y="179"/>
                  </a:lnTo>
                  <a:lnTo>
                    <a:pt x="83" y="247"/>
                  </a:lnTo>
                  <a:lnTo>
                    <a:pt x="76" y="294"/>
                  </a:lnTo>
                  <a:lnTo>
                    <a:pt x="64" y="348"/>
                  </a:lnTo>
                  <a:lnTo>
                    <a:pt x="76" y="379"/>
                  </a:lnTo>
                  <a:lnTo>
                    <a:pt x="83" y="386"/>
                  </a:lnTo>
                  <a:lnTo>
                    <a:pt x="80" y="401"/>
                  </a:lnTo>
                  <a:lnTo>
                    <a:pt x="64" y="413"/>
                  </a:lnTo>
                  <a:lnTo>
                    <a:pt x="64" y="447"/>
                  </a:lnTo>
                  <a:lnTo>
                    <a:pt x="54" y="472"/>
                  </a:lnTo>
                  <a:lnTo>
                    <a:pt x="54" y="511"/>
                  </a:lnTo>
                  <a:lnTo>
                    <a:pt x="43" y="519"/>
                  </a:lnTo>
                  <a:lnTo>
                    <a:pt x="43" y="550"/>
                  </a:lnTo>
                  <a:lnTo>
                    <a:pt x="7" y="545"/>
                  </a:lnTo>
                  <a:lnTo>
                    <a:pt x="0" y="561"/>
                  </a:lnTo>
                  <a:lnTo>
                    <a:pt x="132" y="973"/>
                  </a:lnTo>
                  <a:lnTo>
                    <a:pt x="180" y="1021"/>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4" name="Freeform 23"/>
            <p:cNvSpPr>
              <a:spLocks/>
            </p:cNvSpPr>
            <p:nvPr/>
          </p:nvSpPr>
          <p:spPr bwMode="auto">
            <a:xfrm>
              <a:off x="6432550" y="1227138"/>
              <a:ext cx="703262" cy="517525"/>
            </a:xfrm>
            <a:custGeom>
              <a:avLst/>
              <a:gdLst/>
              <a:ahLst/>
              <a:cxnLst>
                <a:cxn ang="0">
                  <a:pos x="56" y="749"/>
                </a:cxn>
                <a:cxn ang="0">
                  <a:pos x="88" y="710"/>
                </a:cxn>
                <a:cxn ang="0">
                  <a:pos x="118" y="683"/>
                </a:cxn>
                <a:cxn ang="0">
                  <a:pos x="118" y="657"/>
                </a:cxn>
                <a:cxn ang="0">
                  <a:pos x="80" y="563"/>
                </a:cxn>
                <a:cxn ang="0">
                  <a:pos x="171" y="528"/>
                </a:cxn>
                <a:cxn ang="0">
                  <a:pos x="260" y="528"/>
                </a:cxn>
                <a:cxn ang="0">
                  <a:pos x="313" y="528"/>
                </a:cxn>
                <a:cxn ang="0">
                  <a:pos x="364" y="513"/>
                </a:cxn>
                <a:cxn ang="0">
                  <a:pos x="457" y="460"/>
                </a:cxn>
                <a:cxn ang="0">
                  <a:pos x="510" y="428"/>
                </a:cxn>
                <a:cxn ang="0">
                  <a:pos x="510" y="389"/>
                </a:cxn>
                <a:cxn ang="0">
                  <a:pos x="510" y="350"/>
                </a:cxn>
                <a:cxn ang="0">
                  <a:pos x="485" y="334"/>
                </a:cxn>
                <a:cxn ang="0">
                  <a:pos x="470" y="306"/>
                </a:cxn>
                <a:cxn ang="0">
                  <a:pos x="538" y="245"/>
                </a:cxn>
                <a:cxn ang="0">
                  <a:pos x="564" y="178"/>
                </a:cxn>
                <a:cxn ang="0">
                  <a:pos x="637" y="84"/>
                </a:cxn>
                <a:cxn ang="0">
                  <a:pos x="718" y="46"/>
                </a:cxn>
                <a:cxn ang="0">
                  <a:pos x="810" y="14"/>
                </a:cxn>
                <a:cxn ang="0">
                  <a:pos x="896" y="31"/>
                </a:cxn>
                <a:cxn ang="0">
                  <a:pos x="909" y="93"/>
                </a:cxn>
                <a:cxn ang="0">
                  <a:pos x="941" y="135"/>
                </a:cxn>
                <a:cxn ang="0">
                  <a:pos x="941" y="188"/>
                </a:cxn>
                <a:cxn ang="0">
                  <a:pos x="957" y="266"/>
                </a:cxn>
                <a:cxn ang="0">
                  <a:pos x="994" y="322"/>
                </a:cxn>
                <a:cxn ang="0">
                  <a:pos x="1014" y="435"/>
                </a:cxn>
                <a:cxn ang="0">
                  <a:pos x="1036" y="490"/>
                </a:cxn>
                <a:cxn ang="0">
                  <a:pos x="1036" y="661"/>
                </a:cxn>
                <a:cxn ang="0">
                  <a:pos x="1055" y="804"/>
                </a:cxn>
                <a:cxn ang="0">
                  <a:pos x="1054" y="869"/>
                </a:cxn>
                <a:cxn ang="0">
                  <a:pos x="1025" y="940"/>
                </a:cxn>
                <a:cxn ang="0">
                  <a:pos x="1088" y="914"/>
                </a:cxn>
                <a:cxn ang="0">
                  <a:pos x="1134" y="880"/>
                </a:cxn>
                <a:cxn ang="0">
                  <a:pos x="1194" y="869"/>
                </a:cxn>
                <a:cxn ang="0">
                  <a:pos x="1237" y="843"/>
                </a:cxn>
                <a:cxn ang="0">
                  <a:pos x="1237" y="865"/>
                </a:cxn>
                <a:cxn ang="0">
                  <a:pos x="1284" y="832"/>
                </a:cxn>
                <a:cxn ang="0">
                  <a:pos x="1319" y="817"/>
                </a:cxn>
                <a:cxn ang="0">
                  <a:pos x="1284" y="865"/>
                </a:cxn>
                <a:cxn ang="0">
                  <a:pos x="1205" y="910"/>
                </a:cxn>
                <a:cxn ang="0">
                  <a:pos x="1134" y="953"/>
                </a:cxn>
                <a:cxn ang="0">
                  <a:pos x="1043" y="979"/>
                </a:cxn>
                <a:cxn ang="0">
                  <a:pos x="1005" y="940"/>
                </a:cxn>
                <a:cxn ang="0">
                  <a:pos x="993" y="905"/>
                </a:cxn>
                <a:cxn ang="0">
                  <a:pos x="848" y="869"/>
                </a:cxn>
                <a:cxn ang="0">
                  <a:pos x="846" y="832"/>
                </a:cxn>
                <a:cxn ang="0">
                  <a:pos x="815" y="821"/>
                </a:cxn>
                <a:cxn ang="0">
                  <a:pos x="771" y="762"/>
                </a:cxn>
                <a:cxn ang="0">
                  <a:pos x="14" y="858"/>
                </a:cxn>
              </a:cxnLst>
              <a:rect l="0" t="0" r="r" b="b"/>
              <a:pathLst>
                <a:path w="1329" h="979">
                  <a:moveTo>
                    <a:pt x="0" y="804"/>
                  </a:moveTo>
                  <a:lnTo>
                    <a:pt x="56" y="749"/>
                  </a:lnTo>
                  <a:lnTo>
                    <a:pt x="71" y="729"/>
                  </a:lnTo>
                  <a:lnTo>
                    <a:pt x="88" y="710"/>
                  </a:lnTo>
                  <a:lnTo>
                    <a:pt x="99" y="701"/>
                  </a:lnTo>
                  <a:lnTo>
                    <a:pt x="118" y="683"/>
                  </a:lnTo>
                  <a:lnTo>
                    <a:pt x="118" y="665"/>
                  </a:lnTo>
                  <a:lnTo>
                    <a:pt x="118" y="657"/>
                  </a:lnTo>
                  <a:lnTo>
                    <a:pt x="98" y="597"/>
                  </a:lnTo>
                  <a:lnTo>
                    <a:pt x="80" y="563"/>
                  </a:lnTo>
                  <a:lnTo>
                    <a:pt x="99" y="543"/>
                  </a:lnTo>
                  <a:lnTo>
                    <a:pt x="171" y="528"/>
                  </a:lnTo>
                  <a:lnTo>
                    <a:pt x="209" y="528"/>
                  </a:lnTo>
                  <a:lnTo>
                    <a:pt x="260" y="528"/>
                  </a:lnTo>
                  <a:lnTo>
                    <a:pt x="291" y="528"/>
                  </a:lnTo>
                  <a:lnTo>
                    <a:pt x="313" y="528"/>
                  </a:lnTo>
                  <a:lnTo>
                    <a:pt x="349" y="513"/>
                  </a:lnTo>
                  <a:lnTo>
                    <a:pt x="364" y="513"/>
                  </a:lnTo>
                  <a:lnTo>
                    <a:pt x="422" y="496"/>
                  </a:lnTo>
                  <a:lnTo>
                    <a:pt x="457" y="460"/>
                  </a:lnTo>
                  <a:lnTo>
                    <a:pt x="490" y="439"/>
                  </a:lnTo>
                  <a:lnTo>
                    <a:pt x="510" y="428"/>
                  </a:lnTo>
                  <a:lnTo>
                    <a:pt x="510" y="413"/>
                  </a:lnTo>
                  <a:lnTo>
                    <a:pt x="510" y="389"/>
                  </a:lnTo>
                  <a:lnTo>
                    <a:pt x="495" y="360"/>
                  </a:lnTo>
                  <a:lnTo>
                    <a:pt x="510" y="350"/>
                  </a:lnTo>
                  <a:lnTo>
                    <a:pt x="518" y="322"/>
                  </a:lnTo>
                  <a:lnTo>
                    <a:pt x="485" y="334"/>
                  </a:lnTo>
                  <a:lnTo>
                    <a:pt x="479" y="322"/>
                  </a:lnTo>
                  <a:lnTo>
                    <a:pt x="470" y="306"/>
                  </a:lnTo>
                  <a:lnTo>
                    <a:pt x="496" y="284"/>
                  </a:lnTo>
                  <a:lnTo>
                    <a:pt x="538" y="245"/>
                  </a:lnTo>
                  <a:lnTo>
                    <a:pt x="556" y="207"/>
                  </a:lnTo>
                  <a:lnTo>
                    <a:pt x="564" y="178"/>
                  </a:lnTo>
                  <a:lnTo>
                    <a:pt x="604" y="129"/>
                  </a:lnTo>
                  <a:lnTo>
                    <a:pt x="637" y="84"/>
                  </a:lnTo>
                  <a:lnTo>
                    <a:pt x="679" y="56"/>
                  </a:lnTo>
                  <a:lnTo>
                    <a:pt x="718" y="46"/>
                  </a:lnTo>
                  <a:lnTo>
                    <a:pt x="775" y="30"/>
                  </a:lnTo>
                  <a:lnTo>
                    <a:pt x="810" y="14"/>
                  </a:lnTo>
                  <a:lnTo>
                    <a:pt x="896" y="0"/>
                  </a:lnTo>
                  <a:lnTo>
                    <a:pt x="896" y="31"/>
                  </a:lnTo>
                  <a:lnTo>
                    <a:pt x="896" y="60"/>
                  </a:lnTo>
                  <a:lnTo>
                    <a:pt x="909" y="93"/>
                  </a:lnTo>
                  <a:lnTo>
                    <a:pt x="925" y="129"/>
                  </a:lnTo>
                  <a:lnTo>
                    <a:pt x="941" y="135"/>
                  </a:lnTo>
                  <a:lnTo>
                    <a:pt x="957" y="177"/>
                  </a:lnTo>
                  <a:lnTo>
                    <a:pt x="941" y="188"/>
                  </a:lnTo>
                  <a:lnTo>
                    <a:pt x="936" y="224"/>
                  </a:lnTo>
                  <a:lnTo>
                    <a:pt x="957" y="266"/>
                  </a:lnTo>
                  <a:lnTo>
                    <a:pt x="975" y="313"/>
                  </a:lnTo>
                  <a:lnTo>
                    <a:pt x="994" y="322"/>
                  </a:lnTo>
                  <a:lnTo>
                    <a:pt x="1004" y="385"/>
                  </a:lnTo>
                  <a:lnTo>
                    <a:pt x="1014" y="435"/>
                  </a:lnTo>
                  <a:lnTo>
                    <a:pt x="1036" y="483"/>
                  </a:lnTo>
                  <a:lnTo>
                    <a:pt x="1036" y="490"/>
                  </a:lnTo>
                  <a:lnTo>
                    <a:pt x="1036" y="560"/>
                  </a:lnTo>
                  <a:lnTo>
                    <a:pt x="1036" y="661"/>
                  </a:lnTo>
                  <a:lnTo>
                    <a:pt x="1055" y="767"/>
                  </a:lnTo>
                  <a:lnTo>
                    <a:pt x="1055" y="804"/>
                  </a:lnTo>
                  <a:lnTo>
                    <a:pt x="1080" y="835"/>
                  </a:lnTo>
                  <a:lnTo>
                    <a:pt x="1054" y="869"/>
                  </a:lnTo>
                  <a:lnTo>
                    <a:pt x="1062" y="889"/>
                  </a:lnTo>
                  <a:lnTo>
                    <a:pt x="1025" y="940"/>
                  </a:lnTo>
                  <a:lnTo>
                    <a:pt x="1058" y="926"/>
                  </a:lnTo>
                  <a:lnTo>
                    <a:pt x="1088" y="914"/>
                  </a:lnTo>
                  <a:lnTo>
                    <a:pt x="1122" y="894"/>
                  </a:lnTo>
                  <a:lnTo>
                    <a:pt x="1134" y="880"/>
                  </a:lnTo>
                  <a:lnTo>
                    <a:pt x="1166" y="873"/>
                  </a:lnTo>
                  <a:lnTo>
                    <a:pt x="1194" y="869"/>
                  </a:lnTo>
                  <a:lnTo>
                    <a:pt x="1205" y="861"/>
                  </a:lnTo>
                  <a:lnTo>
                    <a:pt x="1237" y="843"/>
                  </a:lnTo>
                  <a:lnTo>
                    <a:pt x="1265" y="811"/>
                  </a:lnTo>
                  <a:lnTo>
                    <a:pt x="1237" y="865"/>
                  </a:lnTo>
                  <a:lnTo>
                    <a:pt x="1265" y="854"/>
                  </a:lnTo>
                  <a:lnTo>
                    <a:pt x="1284" y="832"/>
                  </a:lnTo>
                  <a:lnTo>
                    <a:pt x="1297" y="826"/>
                  </a:lnTo>
                  <a:lnTo>
                    <a:pt x="1319" y="817"/>
                  </a:lnTo>
                  <a:lnTo>
                    <a:pt x="1329" y="817"/>
                  </a:lnTo>
                  <a:lnTo>
                    <a:pt x="1284" y="865"/>
                  </a:lnTo>
                  <a:lnTo>
                    <a:pt x="1237" y="896"/>
                  </a:lnTo>
                  <a:lnTo>
                    <a:pt x="1205" y="910"/>
                  </a:lnTo>
                  <a:lnTo>
                    <a:pt x="1176" y="940"/>
                  </a:lnTo>
                  <a:lnTo>
                    <a:pt x="1134" y="953"/>
                  </a:lnTo>
                  <a:lnTo>
                    <a:pt x="1082" y="966"/>
                  </a:lnTo>
                  <a:lnTo>
                    <a:pt x="1043" y="979"/>
                  </a:lnTo>
                  <a:lnTo>
                    <a:pt x="1012" y="964"/>
                  </a:lnTo>
                  <a:lnTo>
                    <a:pt x="1005" y="940"/>
                  </a:lnTo>
                  <a:lnTo>
                    <a:pt x="1005" y="921"/>
                  </a:lnTo>
                  <a:lnTo>
                    <a:pt x="993" y="905"/>
                  </a:lnTo>
                  <a:lnTo>
                    <a:pt x="922" y="883"/>
                  </a:lnTo>
                  <a:lnTo>
                    <a:pt x="848" y="869"/>
                  </a:lnTo>
                  <a:lnTo>
                    <a:pt x="862" y="843"/>
                  </a:lnTo>
                  <a:lnTo>
                    <a:pt x="846" y="832"/>
                  </a:lnTo>
                  <a:lnTo>
                    <a:pt x="830" y="830"/>
                  </a:lnTo>
                  <a:lnTo>
                    <a:pt x="815" y="821"/>
                  </a:lnTo>
                  <a:lnTo>
                    <a:pt x="794" y="786"/>
                  </a:lnTo>
                  <a:lnTo>
                    <a:pt x="771" y="762"/>
                  </a:lnTo>
                  <a:lnTo>
                    <a:pt x="726" y="729"/>
                  </a:lnTo>
                  <a:lnTo>
                    <a:pt x="14" y="858"/>
                  </a:lnTo>
                  <a:lnTo>
                    <a:pt x="0" y="804"/>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5" name="Freeform 24"/>
            <p:cNvSpPr>
              <a:spLocks/>
            </p:cNvSpPr>
            <p:nvPr/>
          </p:nvSpPr>
          <p:spPr bwMode="auto">
            <a:xfrm>
              <a:off x="6905625" y="1190625"/>
              <a:ext cx="163512" cy="295275"/>
            </a:xfrm>
            <a:custGeom>
              <a:avLst/>
              <a:gdLst/>
              <a:ahLst/>
              <a:cxnLst>
                <a:cxn ang="0">
                  <a:pos x="0" y="128"/>
                </a:cxn>
                <a:cxn ang="0">
                  <a:pos x="13" y="161"/>
                </a:cxn>
                <a:cxn ang="0">
                  <a:pos x="29" y="197"/>
                </a:cxn>
                <a:cxn ang="0">
                  <a:pos x="45" y="203"/>
                </a:cxn>
                <a:cxn ang="0">
                  <a:pos x="61" y="245"/>
                </a:cxn>
                <a:cxn ang="0">
                  <a:pos x="45" y="256"/>
                </a:cxn>
                <a:cxn ang="0">
                  <a:pos x="40" y="292"/>
                </a:cxn>
                <a:cxn ang="0">
                  <a:pos x="61" y="334"/>
                </a:cxn>
                <a:cxn ang="0">
                  <a:pos x="79" y="381"/>
                </a:cxn>
                <a:cxn ang="0">
                  <a:pos x="98" y="390"/>
                </a:cxn>
                <a:cxn ang="0">
                  <a:pos x="108" y="453"/>
                </a:cxn>
                <a:cxn ang="0">
                  <a:pos x="118" y="503"/>
                </a:cxn>
                <a:cxn ang="0">
                  <a:pos x="140" y="551"/>
                </a:cxn>
                <a:cxn ang="0">
                  <a:pos x="140" y="558"/>
                </a:cxn>
                <a:cxn ang="0">
                  <a:pos x="263" y="543"/>
                </a:cxn>
                <a:cxn ang="0">
                  <a:pos x="248" y="503"/>
                </a:cxn>
                <a:cxn ang="0">
                  <a:pos x="254" y="453"/>
                </a:cxn>
                <a:cxn ang="0">
                  <a:pos x="248" y="390"/>
                </a:cxn>
                <a:cxn ang="0">
                  <a:pos x="241" y="334"/>
                </a:cxn>
                <a:cxn ang="0">
                  <a:pos x="259" y="249"/>
                </a:cxn>
                <a:cxn ang="0">
                  <a:pos x="263" y="181"/>
                </a:cxn>
                <a:cxn ang="0">
                  <a:pos x="309" y="139"/>
                </a:cxn>
                <a:cxn ang="0">
                  <a:pos x="309" y="120"/>
                </a:cxn>
                <a:cxn ang="0">
                  <a:pos x="294" y="99"/>
                </a:cxn>
                <a:cxn ang="0">
                  <a:pos x="294" y="68"/>
                </a:cxn>
                <a:cxn ang="0">
                  <a:pos x="294" y="23"/>
                </a:cxn>
                <a:cxn ang="0">
                  <a:pos x="276" y="0"/>
                </a:cxn>
                <a:cxn ang="0">
                  <a:pos x="237" y="16"/>
                </a:cxn>
                <a:cxn ang="0">
                  <a:pos x="197" y="25"/>
                </a:cxn>
                <a:cxn ang="0">
                  <a:pos x="120" y="41"/>
                </a:cxn>
                <a:cxn ang="0">
                  <a:pos x="83" y="46"/>
                </a:cxn>
                <a:cxn ang="0">
                  <a:pos x="30" y="68"/>
                </a:cxn>
                <a:cxn ang="0">
                  <a:pos x="0" y="68"/>
                </a:cxn>
                <a:cxn ang="0">
                  <a:pos x="0" y="99"/>
                </a:cxn>
                <a:cxn ang="0">
                  <a:pos x="0" y="128"/>
                </a:cxn>
              </a:cxnLst>
              <a:rect l="0" t="0" r="r" b="b"/>
              <a:pathLst>
                <a:path w="309" h="558">
                  <a:moveTo>
                    <a:pt x="0" y="128"/>
                  </a:moveTo>
                  <a:lnTo>
                    <a:pt x="13" y="161"/>
                  </a:lnTo>
                  <a:lnTo>
                    <a:pt x="29" y="197"/>
                  </a:lnTo>
                  <a:lnTo>
                    <a:pt x="45" y="203"/>
                  </a:lnTo>
                  <a:lnTo>
                    <a:pt x="61" y="245"/>
                  </a:lnTo>
                  <a:lnTo>
                    <a:pt x="45" y="256"/>
                  </a:lnTo>
                  <a:lnTo>
                    <a:pt x="40" y="292"/>
                  </a:lnTo>
                  <a:lnTo>
                    <a:pt x="61" y="334"/>
                  </a:lnTo>
                  <a:lnTo>
                    <a:pt x="79" y="381"/>
                  </a:lnTo>
                  <a:lnTo>
                    <a:pt x="98" y="390"/>
                  </a:lnTo>
                  <a:lnTo>
                    <a:pt x="108" y="453"/>
                  </a:lnTo>
                  <a:lnTo>
                    <a:pt x="118" y="503"/>
                  </a:lnTo>
                  <a:lnTo>
                    <a:pt x="140" y="551"/>
                  </a:lnTo>
                  <a:lnTo>
                    <a:pt x="140" y="558"/>
                  </a:lnTo>
                  <a:lnTo>
                    <a:pt x="263" y="543"/>
                  </a:lnTo>
                  <a:lnTo>
                    <a:pt x="248" y="503"/>
                  </a:lnTo>
                  <a:lnTo>
                    <a:pt x="254" y="453"/>
                  </a:lnTo>
                  <a:lnTo>
                    <a:pt x="248" y="390"/>
                  </a:lnTo>
                  <a:lnTo>
                    <a:pt x="241" y="334"/>
                  </a:lnTo>
                  <a:lnTo>
                    <a:pt x="259" y="249"/>
                  </a:lnTo>
                  <a:lnTo>
                    <a:pt x="263" y="181"/>
                  </a:lnTo>
                  <a:lnTo>
                    <a:pt x="309" y="139"/>
                  </a:lnTo>
                  <a:lnTo>
                    <a:pt x="309" y="120"/>
                  </a:lnTo>
                  <a:lnTo>
                    <a:pt x="294" y="99"/>
                  </a:lnTo>
                  <a:lnTo>
                    <a:pt x="294" y="68"/>
                  </a:lnTo>
                  <a:lnTo>
                    <a:pt x="294" y="23"/>
                  </a:lnTo>
                  <a:lnTo>
                    <a:pt x="276" y="0"/>
                  </a:lnTo>
                  <a:lnTo>
                    <a:pt x="237" y="16"/>
                  </a:lnTo>
                  <a:lnTo>
                    <a:pt x="197" y="25"/>
                  </a:lnTo>
                  <a:lnTo>
                    <a:pt x="120" y="41"/>
                  </a:lnTo>
                  <a:lnTo>
                    <a:pt x="83" y="46"/>
                  </a:lnTo>
                  <a:lnTo>
                    <a:pt x="30" y="68"/>
                  </a:lnTo>
                  <a:lnTo>
                    <a:pt x="0" y="68"/>
                  </a:lnTo>
                  <a:lnTo>
                    <a:pt x="0" y="99"/>
                  </a:lnTo>
                  <a:lnTo>
                    <a:pt x="0" y="128"/>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6" name="Freeform 25"/>
            <p:cNvSpPr>
              <a:spLocks/>
            </p:cNvSpPr>
            <p:nvPr/>
          </p:nvSpPr>
          <p:spPr bwMode="auto">
            <a:xfrm>
              <a:off x="7034213" y="1154113"/>
              <a:ext cx="144462" cy="323850"/>
            </a:xfrm>
            <a:custGeom>
              <a:avLst/>
              <a:gdLst/>
              <a:ahLst/>
              <a:cxnLst>
                <a:cxn ang="0">
                  <a:pos x="100" y="0"/>
                </a:cxn>
                <a:cxn ang="0">
                  <a:pos x="76" y="7"/>
                </a:cxn>
                <a:cxn ang="0">
                  <a:pos x="51" y="7"/>
                </a:cxn>
                <a:cxn ang="0">
                  <a:pos x="51" y="34"/>
                </a:cxn>
                <a:cxn ang="0">
                  <a:pos x="46" y="54"/>
                </a:cxn>
                <a:cxn ang="0">
                  <a:pos x="35" y="70"/>
                </a:cxn>
                <a:cxn ang="0">
                  <a:pos x="53" y="93"/>
                </a:cxn>
                <a:cxn ang="0">
                  <a:pos x="53" y="138"/>
                </a:cxn>
                <a:cxn ang="0">
                  <a:pos x="53" y="169"/>
                </a:cxn>
                <a:cxn ang="0">
                  <a:pos x="68" y="190"/>
                </a:cxn>
                <a:cxn ang="0">
                  <a:pos x="68" y="209"/>
                </a:cxn>
                <a:cxn ang="0">
                  <a:pos x="22" y="251"/>
                </a:cxn>
                <a:cxn ang="0">
                  <a:pos x="18" y="319"/>
                </a:cxn>
                <a:cxn ang="0">
                  <a:pos x="0" y="404"/>
                </a:cxn>
                <a:cxn ang="0">
                  <a:pos x="7" y="460"/>
                </a:cxn>
                <a:cxn ang="0">
                  <a:pos x="13" y="523"/>
                </a:cxn>
                <a:cxn ang="0">
                  <a:pos x="7" y="573"/>
                </a:cxn>
                <a:cxn ang="0">
                  <a:pos x="22" y="613"/>
                </a:cxn>
                <a:cxn ang="0">
                  <a:pos x="221" y="565"/>
                </a:cxn>
                <a:cxn ang="0">
                  <a:pos x="232" y="530"/>
                </a:cxn>
                <a:cxn ang="0">
                  <a:pos x="271" y="517"/>
                </a:cxn>
                <a:cxn ang="0">
                  <a:pos x="266" y="505"/>
                </a:cxn>
                <a:cxn ang="0">
                  <a:pos x="275" y="456"/>
                </a:cxn>
                <a:cxn ang="0">
                  <a:pos x="275" y="456"/>
                </a:cxn>
                <a:cxn ang="0">
                  <a:pos x="232" y="412"/>
                </a:cxn>
                <a:cxn ang="0">
                  <a:pos x="100" y="0"/>
                </a:cxn>
              </a:cxnLst>
              <a:rect l="0" t="0" r="r" b="b"/>
              <a:pathLst>
                <a:path w="275" h="613">
                  <a:moveTo>
                    <a:pt x="100" y="0"/>
                  </a:moveTo>
                  <a:lnTo>
                    <a:pt x="76" y="7"/>
                  </a:lnTo>
                  <a:lnTo>
                    <a:pt x="51" y="7"/>
                  </a:lnTo>
                  <a:lnTo>
                    <a:pt x="51" y="34"/>
                  </a:lnTo>
                  <a:lnTo>
                    <a:pt x="46" y="54"/>
                  </a:lnTo>
                  <a:lnTo>
                    <a:pt x="35" y="70"/>
                  </a:lnTo>
                  <a:lnTo>
                    <a:pt x="53" y="93"/>
                  </a:lnTo>
                  <a:lnTo>
                    <a:pt x="53" y="138"/>
                  </a:lnTo>
                  <a:lnTo>
                    <a:pt x="53" y="169"/>
                  </a:lnTo>
                  <a:lnTo>
                    <a:pt x="68" y="190"/>
                  </a:lnTo>
                  <a:lnTo>
                    <a:pt x="68" y="209"/>
                  </a:lnTo>
                  <a:lnTo>
                    <a:pt x="22" y="251"/>
                  </a:lnTo>
                  <a:lnTo>
                    <a:pt x="18" y="319"/>
                  </a:lnTo>
                  <a:lnTo>
                    <a:pt x="0" y="404"/>
                  </a:lnTo>
                  <a:lnTo>
                    <a:pt x="7" y="460"/>
                  </a:lnTo>
                  <a:lnTo>
                    <a:pt x="13" y="523"/>
                  </a:lnTo>
                  <a:lnTo>
                    <a:pt x="7" y="573"/>
                  </a:lnTo>
                  <a:lnTo>
                    <a:pt x="22" y="613"/>
                  </a:lnTo>
                  <a:lnTo>
                    <a:pt x="221" y="565"/>
                  </a:lnTo>
                  <a:lnTo>
                    <a:pt x="232" y="530"/>
                  </a:lnTo>
                  <a:lnTo>
                    <a:pt x="271" y="517"/>
                  </a:lnTo>
                  <a:lnTo>
                    <a:pt x="266" y="505"/>
                  </a:lnTo>
                  <a:lnTo>
                    <a:pt x="275" y="456"/>
                  </a:lnTo>
                  <a:lnTo>
                    <a:pt x="275" y="456"/>
                  </a:lnTo>
                  <a:lnTo>
                    <a:pt x="232" y="412"/>
                  </a:lnTo>
                  <a:lnTo>
                    <a:pt x="100" y="0"/>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7" name="Freeform 26"/>
            <p:cNvSpPr>
              <a:spLocks/>
            </p:cNvSpPr>
            <p:nvPr/>
          </p:nvSpPr>
          <p:spPr bwMode="auto">
            <a:xfrm>
              <a:off x="6980238" y="1546225"/>
              <a:ext cx="163512" cy="150812"/>
            </a:xfrm>
            <a:custGeom>
              <a:avLst/>
              <a:gdLst/>
              <a:ahLst/>
              <a:cxnLst>
                <a:cxn ang="0">
                  <a:pos x="19" y="163"/>
                </a:cxn>
                <a:cxn ang="0">
                  <a:pos x="19" y="200"/>
                </a:cxn>
                <a:cxn ang="0">
                  <a:pos x="44" y="231"/>
                </a:cxn>
                <a:cxn ang="0">
                  <a:pos x="18" y="265"/>
                </a:cxn>
                <a:cxn ang="0">
                  <a:pos x="26" y="285"/>
                </a:cxn>
                <a:cxn ang="0">
                  <a:pos x="48" y="275"/>
                </a:cxn>
                <a:cxn ang="0">
                  <a:pos x="72" y="253"/>
                </a:cxn>
                <a:cxn ang="0">
                  <a:pos x="80" y="243"/>
                </a:cxn>
                <a:cxn ang="0">
                  <a:pos x="109" y="215"/>
                </a:cxn>
                <a:cxn ang="0">
                  <a:pos x="136" y="199"/>
                </a:cxn>
                <a:cxn ang="0">
                  <a:pos x="183" y="199"/>
                </a:cxn>
                <a:cxn ang="0">
                  <a:pos x="201" y="188"/>
                </a:cxn>
                <a:cxn ang="0">
                  <a:pos x="216" y="178"/>
                </a:cxn>
                <a:cxn ang="0">
                  <a:pos x="238" y="167"/>
                </a:cxn>
                <a:cxn ang="0">
                  <a:pos x="272" y="157"/>
                </a:cxn>
                <a:cxn ang="0">
                  <a:pos x="298" y="153"/>
                </a:cxn>
                <a:cxn ang="0">
                  <a:pos x="309" y="145"/>
                </a:cxn>
                <a:cxn ang="0">
                  <a:pos x="277" y="0"/>
                </a:cxn>
                <a:cxn ang="0">
                  <a:pos x="132" y="28"/>
                </a:cxn>
                <a:cxn ang="0">
                  <a:pos x="0" y="53"/>
                </a:cxn>
                <a:cxn ang="0">
                  <a:pos x="0" y="57"/>
                </a:cxn>
                <a:cxn ang="0">
                  <a:pos x="19" y="163"/>
                </a:cxn>
              </a:cxnLst>
              <a:rect l="0" t="0" r="r" b="b"/>
              <a:pathLst>
                <a:path w="309" h="285">
                  <a:moveTo>
                    <a:pt x="19" y="163"/>
                  </a:moveTo>
                  <a:lnTo>
                    <a:pt x="19" y="200"/>
                  </a:lnTo>
                  <a:lnTo>
                    <a:pt x="44" y="231"/>
                  </a:lnTo>
                  <a:lnTo>
                    <a:pt x="18" y="265"/>
                  </a:lnTo>
                  <a:lnTo>
                    <a:pt x="26" y="285"/>
                  </a:lnTo>
                  <a:lnTo>
                    <a:pt x="48" y="275"/>
                  </a:lnTo>
                  <a:lnTo>
                    <a:pt x="72" y="253"/>
                  </a:lnTo>
                  <a:lnTo>
                    <a:pt x="80" y="243"/>
                  </a:lnTo>
                  <a:lnTo>
                    <a:pt x="109" y="215"/>
                  </a:lnTo>
                  <a:lnTo>
                    <a:pt x="136" y="199"/>
                  </a:lnTo>
                  <a:lnTo>
                    <a:pt x="183" y="199"/>
                  </a:lnTo>
                  <a:lnTo>
                    <a:pt x="201" y="188"/>
                  </a:lnTo>
                  <a:lnTo>
                    <a:pt x="216" y="178"/>
                  </a:lnTo>
                  <a:lnTo>
                    <a:pt x="238" y="167"/>
                  </a:lnTo>
                  <a:lnTo>
                    <a:pt x="272" y="157"/>
                  </a:lnTo>
                  <a:lnTo>
                    <a:pt x="298" y="153"/>
                  </a:lnTo>
                  <a:lnTo>
                    <a:pt x="309" y="145"/>
                  </a:lnTo>
                  <a:lnTo>
                    <a:pt x="277" y="0"/>
                  </a:lnTo>
                  <a:lnTo>
                    <a:pt x="132" y="28"/>
                  </a:lnTo>
                  <a:lnTo>
                    <a:pt x="0" y="53"/>
                  </a:lnTo>
                  <a:lnTo>
                    <a:pt x="0" y="57"/>
                  </a:lnTo>
                  <a:lnTo>
                    <a:pt x="19" y="163"/>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8" name="Freeform 27"/>
            <p:cNvSpPr>
              <a:spLocks/>
            </p:cNvSpPr>
            <p:nvPr/>
          </p:nvSpPr>
          <p:spPr bwMode="auto">
            <a:xfrm>
              <a:off x="7126288" y="1535113"/>
              <a:ext cx="69850" cy="87312"/>
            </a:xfrm>
            <a:custGeom>
              <a:avLst/>
              <a:gdLst/>
              <a:ahLst/>
              <a:cxnLst>
                <a:cxn ang="0">
                  <a:pos x="122" y="76"/>
                </a:cxn>
                <a:cxn ang="0">
                  <a:pos x="117" y="69"/>
                </a:cxn>
                <a:cxn ang="0">
                  <a:pos x="109" y="62"/>
                </a:cxn>
                <a:cxn ang="0">
                  <a:pos x="95" y="55"/>
                </a:cxn>
                <a:cxn ang="0">
                  <a:pos x="89" y="51"/>
                </a:cxn>
                <a:cxn ang="0">
                  <a:pos x="82" y="37"/>
                </a:cxn>
                <a:cxn ang="0">
                  <a:pos x="68" y="22"/>
                </a:cxn>
                <a:cxn ang="0">
                  <a:pos x="54" y="0"/>
                </a:cxn>
                <a:cxn ang="0">
                  <a:pos x="0" y="22"/>
                </a:cxn>
                <a:cxn ang="0">
                  <a:pos x="32" y="167"/>
                </a:cxn>
                <a:cxn ang="0">
                  <a:pos x="43" y="157"/>
                </a:cxn>
                <a:cxn ang="0">
                  <a:pos x="52" y="151"/>
                </a:cxn>
                <a:cxn ang="0">
                  <a:pos x="71" y="140"/>
                </a:cxn>
                <a:cxn ang="0">
                  <a:pos x="71" y="126"/>
                </a:cxn>
                <a:cxn ang="0">
                  <a:pos x="71" y="119"/>
                </a:cxn>
                <a:cxn ang="0">
                  <a:pos x="71" y="104"/>
                </a:cxn>
                <a:cxn ang="0">
                  <a:pos x="71" y="92"/>
                </a:cxn>
                <a:cxn ang="0">
                  <a:pos x="71" y="79"/>
                </a:cxn>
                <a:cxn ang="0">
                  <a:pos x="71" y="74"/>
                </a:cxn>
                <a:cxn ang="0">
                  <a:pos x="78" y="69"/>
                </a:cxn>
                <a:cxn ang="0">
                  <a:pos x="86" y="69"/>
                </a:cxn>
                <a:cxn ang="0">
                  <a:pos x="99" y="74"/>
                </a:cxn>
                <a:cxn ang="0">
                  <a:pos x="103" y="83"/>
                </a:cxn>
                <a:cxn ang="0">
                  <a:pos x="110" y="105"/>
                </a:cxn>
                <a:cxn ang="0">
                  <a:pos x="110" y="110"/>
                </a:cxn>
                <a:cxn ang="0">
                  <a:pos x="120" y="118"/>
                </a:cxn>
                <a:cxn ang="0">
                  <a:pos x="127" y="110"/>
                </a:cxn>
                <a:cxn ang="0">
                  <a:pos x="129" y="105"/>
                </a:cxn>
                <a:cxn ang="0">
                  <a:pos x="131" y="101"/>
                </a:cxn>
                <a:cxn ang="0">
                  <a:pos x="122" y="76"/>
                </a:cxn>
              </a:cxnLst>
              <a:rect l="0" t="0" r="r" b="b"/>
              <a:pathLst>
                <a:path w="131" h="167">
                  <a:moveTo>
                    <a:pt x="122" y="76"/>
                  </a:moveTo>
                  <a:lnTo>
                    <a:pt x="117" y="69"/>
                  </a:lnTo>
                  <a:lnTo>
                    <a:pt x="109" y="62"/>
                  </a:lnTo>
                  <a:lnTo>
                    <a:pt x="95" y="55"/>
                  </a:lnTo>
                  <a:lnTo>
                    <a:pt x="89" y="51"/>
                  </a:lnTo>
                  <a:lnTo>
                    <a:pt x="82" y="37"/>
                  </a:lnTo>
                  <a:lnTo>
                    <a:pt x="68" y="22"/>
                  </a:lnTo>
                  <a:lnTo>
                    <a:pt x="54" y="0"/>
                  </a:lnTo>
                  <a:lnTo>
                    <a:pt x="0" y="22"/>
                  </a:lnTo>
                  <a:lnTo>
                    <a:pt x="32" y="167"/>
                  </a:lnTo>
                  <a:lnTo>
                    <a:pt x="43" y="157"/>
                  </a:lnTo>
                  <a:lnTo>
                    <a:pt x="52" y="151"/>
                  </a:lnTo>
                  <a:lnTo>
                    <a:pt x="71" y="140"/>
                  </a:lnTo>
                  <a:lnTo>
                    <a:pt x="71" y="126"/>
                  </a:lnTo>
                  <a:lnTo>
                    <a:pt x="71" y="119"/>
                  </a:lnTo>
                  <a:lnTo>
                    <a:pt x="71" y="104"/>
                  </a:lnTo>
                  <a:lnTo>
                    <a:pt x="71" y="92"/>
                  </a:lnTo>
                  <a:lnTo>
                    <a:pt x="71" y="79"/>
                  </a:lnTo>
                  <a:lnTo>
                    <a:pt x="71" y="74"/>
                  </a:lnTo>
                  <a:lnTo>
                    <a:pt x="78" y="69"/>
                  </a:lnTo>
                  <a:lnTo>
                    <a:pt x="86" y="69"/>
                  </a:lnTo>
                  <a:lnTo>
                    <a:pt x="99" y="74"/>
                  </a:lnTo>
                  <a:lnTo>
                    <a:pt x="103" y="83"/>
                  </a:lnTo>
                  <a:lnTo>
                    <a:pt x="110" y="105"/>
                  </a:lnTo>
                  <a:lnTo>
                    <a:pt x="110" y="110"/>
                  </a:lnTo>
                  <a:lnTo>
                    <a:pt x="120" y="118"/>
                  </a:lnTo>
                  <a:lnTo>
                    <a:pt x="127" y="110"/>
                  </a:lnTo>
                  <a:lnTo>
                    <a:pt x="129" y="105"/>
                  </a:lnTo>
                  <a:lnTo>
                    <a:pt x="131" y="101"/>
                  </a:lnTo>
                  <a:lnTo>
                    <a:pt x="122" y="76"/>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29" name="Freeform 28"/>
            <p:cNvSpPr>
              <a:spLocks/>
            </p:cNvSpPr>
            <p:nvPr/>
          </p:nvSpPr>
          <p:spPr bwMode="auto">
            <a:xfrm>
              <a:off x="6980238" y="1427163"/>
              <a:ext cx="314325" cy="161925"/>
            </a:xfrm>
            <a:custGeom>
              <a:avLst/>
              <a:gdLst/>
              <a:ahLst/>
              <a:cxnLst>
                <a:cxn ang="0">
                  <a:pos x="576" y="181"/>
                </a:cxn>
                <a:cxn ang="0">
                  <a:pos x="556" y="161"/>
                </a:cxn>
                <a:cxn ang="0">
                  <a:pos x="530" y="142"/>
                </a:cxn>
                <a:cxn ang="0">
                  <a:pos x="534" y="159"/>
                </a:cxn>
                <a:cxn ang="0">
                  <a:pos x="558" y="192"/>
                </a:cxn>
                <a:cxn ang="0">
                  <a:pos x="523" y="203"/>
                </a:cxn>
                <a:cxn ang="0">
                  <a:pos x="478" y="207"/>
                </a:cxn>
                <a:cxn ang="0">
                  <a:pos x="466" y="193"/>
                </a:cxn>
                <a:cxn ang="0">
                  <a:pos x="444" y="177"/>
                </a:cxn>
                <a:cxn ang="0">
                  <a:pos x="444" y="149"/>
                </a:cxn>
                <a:cxn ang="0">
                  <a:pos x="401" y="120"/>
                </a:cxn>
                <a:cxn ang="0">
                  <a:pos x="376" y="120"/>
                </a:cxn>
                <a:cxn ang="0">
                  <a:pos x="372" y="92"/>
                </a:cxn>
                <a:cxn ang="0">
                  <a:pos x="391" y="70"/>
                </a:cxn>
                <a:cxn ang="0">
                  <a:pos x="417" y="52"/>
                </a:cxn>
                <a:cxn ang="0">
                  <a:pos x="415" y="36"/>
                </a:cxn>
                <a:cxn ang="0">
                  <a:pos x="394" y="36"/>
                </a:cxn>
                <a:cxn ang="0">
                  <a:pos x="372" y="0"/>
                </a:cxn>
                <a:cxn ang="0">
                  <a:pos x="322" y="48"/>
                </a:cxn>
                <a:cxn ang="0">
                  <a:pos x="0" y="111"/>
                </a:cxn>
                <a:cxn ang="0">
                  <a:pos x="0" y="278"/>
                </a:cxn>
                <a:cxn ang="0">
                  <a:pos x="277" y="225"/>
                </a:cxn>
                <a:cxn ang="0">
                  <a:pos x="345" y="225"/>
                </a:cxn>
                <a:cxn ang="0">
                  <a:pos x="366" y="254"/>
                </a:cxn>
                <a:cxn ang="0">
                  <a:pos x="386" y="265"/>
                </a:cxn>
                <a:cxn ang="0">
                  <a:pos x="399" y="279"/>
                </a:cxn>
                <a:cxn ang="0">
                  <a:pos x="408" y="306"/>
                </a:cxn>
                <a:cxn ang="0">
                  <a:pos x="422" y="306"/>
                </a:cxn>
                <a:cxn ang="0">
                  <a:pos x="435" y="274"/>
                </a:cxn>
                <a:cxn ang="0">
                  <a:pos x="453" y="247"/>
                </a:cxn>
                <a:cxn ang="0">
                  <a:pos x="473" y="252"/>
                </a:cxn>
                <a:cxn ang="0">
                  <a:pos x="477" y="281"/>
                </a:cxn>
                <a:cxn ang="0">
                  <a:pos x="503" y="256"/>
                </a:cxn>
                <a:cxn ang="0">
                  <a:pos x="519" y="247"/>
                </a:cxn>
                <a:cxn ang="0">
                  <a:pos x="553" y="239"/>
                </a:cxn>
                <a:cxn ang="0">
                  <a:pos x="581" y="221"/>
                </a:cxn>
                <a:cxn ang="0">
                  <a:pos x="595" y="199"/>
                </a:cxn>
              </a:cxnLst>
              <a:rect l="0" t="0" r="r" b="b"/>
              <a:pathLst>
                <a:path w="595" h="306">
                  <a:moveTo>
                    <a:pt x="587" y="192"/>
                  </a:moveTo>
                  <a:lnTo>
                    <a:pt x="576" y="181"/>
                  </a:lnTo>
                  <a:lnTo>
                    <a:pt x="569" y="172"/>
                  </a:lnTo>
                  <a:lnTo>
                    <a:pt x="556" y="161"/>
                  </a:lnTo>
                  <a:lnTo>
                    <a:pt x="538" y="149"/>
                  </a:lnTo>
                  <a:lnTo>
                    <a:pt x="530" y="142"/>
                  </a:lnTo>
                  <a:lnTo>
                    <a:pt x="527" y="150"/>
                  </a:lnTo>
                  <a:lnTo>
                    <a:pt x="534" y="159"/>
                  </a:lnTo>
                  <a:lnTo>
                    <a:pt x="548" y="179"/>
                  </a:lnTo>
                  <a:lnTo>
                    <a:pt x="558" y="192"/>
                  </a:lnTo>
                  <a:lnTo>
                    <a:pt x="545" y="203"/>
                  </a:lnTo>
                  <a:lnTo>
                    <a:pt x="523" y="203"/>
                  </a:lnTo>
                  <a:lnTo>
                    <a:pt x="488" y="217"/>
                  </a:lnTo>
                  <a:lnTo>
                    <a:pt x="478" y="207"/>
                  </a:lnTo>
                  <a:lnTo>
                    <a:pt x="474" y="199"/>
                  </a:lnTo>
                  <a:lnTo>
                    <a:pt x="466" y="193"/>
                  </a:lnTo>
                  <a:lnTo>
                    <a:pt x="455" y="184"/>
                  </a:lnTo>
                  <a:lnTo>
                    <a:pt x="444" y="177"/>
                  </a:lnTo>
                  <a:lnTo>
                    <a:pt x="452" y="164"/>
                  </a:lnTo>
                  <a:lnTo>
                    <a:pt x="444" y="149"/>
                  </a:lnTo>
                  <a:lnTo>
                    <a:pt x="426" y="134"/>
                  </a:lnTo>
                  <a:lnTo>
                    <a:pt x="401" y="120"/>
                  </a:lnTo>
                  <a:lnTo>
                    <a:pt x="387" y="124"/>
                  </a:lnTo>
                  <a:lnTo>
                    <a:pt x="376" y="120"/>
                  </a:lnTo>
                  <a:lnTo>
                    <a:pt x="372" y="111"/>
                  </a:lnTo>
                  <a:lnTo>
                    <a:pt x="372" y="92"/>
                  </a:lnTo>
                  <a:lnTo>
                    <a:pt x="380" y="78"/>
                  </a:lnTo>
                  <a:lnTo>
                    <a:pt x="391" y="70"/>
                  </a:lnTo>
                  <a:lnTo>
                    <a:pt x="404" y="60"/>
                  </a:lnTo>
                  <a:lnTo>
                    <a:pt x="417" y="52"/>
                  </a:lnTo>
                  <a:lnTo>
                    <a:pt x="422" y="42"/>
                  </a:lnTo>
                  <a:lnTo>
                    <a:pt x="415" y="36"/>
                  </a:lnTo>
                  <a:lnTo>
                    <a:pt x="402" y="36"/>
                  </a:lnTo>
                  <a:lnTo>
                    <a:pt x="394" y="36"/>
                  </a:lnTo>
                  <a:lnTo>
                    <a:pt x="381" y="17"/>
                  </a:lnTo>
                  <a:lnTo>
                    <a:pt x="372" y="0"/>
                  </a:lnTo>
                  <a:lnTo>
                    <a:pt x="333" y="13"/>
                  </a:lnTo>
                  <a:lnTo>
                    <a:pt x="322" y="48"/>
                  </a:lnTo>
                  <a:lnTo>
                    <a:pt x="123" y="96"/>
                  </a:lnTo>
                  <a:lnTo>
                    <a:pt x="0" y="111"/>
                  </a:lnTo>
                  <a:lnTo>
                    <a:pt x="0" y="181"/>
                  </a:lnTo>
                  <a:lnTo>
                    <a:pt x="0" y="278"/>
                  </a:lnTo>
                  <a:lnTo>
                    <a:pt x="132" y="253"/>
                  </a:lnTo>
                  <a:lnTo>
                    <a:pt x="277" y="225"/>
                  </a:lnTo>
                  <a:lnTo>
                    <a:pt x="331" y="203"/>
                  </a:lnTo>
                  <a:lnTo>
                    <a:pt x="345" y="225"/>
                  </a:lnTo>
                  <a:lnTo>
                    <a:pt x="359" y="240"/>
                  </a:lnTo>
                  <a:lnTo>
                    <a:pt x="366" y="254"/>
                  </a:lnTo>
                  <a:lnTo>
                    <a:pt x="372" y="258"/>
                  </a:lnTo>
                  <a:lnTo>
                    <a:pt x="386" y="265"/>
                  </a:lnTo>
                  <a:lnTo>
                    <a:pt x="394" y="272"/>
                  </a:lnTo>
                  <a:lnTo>
                    <a:pt x="399" y="279"/>
                  </a:lnTo>
                  <a:lnTo>
                    <a:pt x="408" y="304"/>
                  </a:lnTo>
                  <a:lnTo>
                    <a:pt x="408" y="306"/>
                  </a:lnTo>
                  <a:lnTo>
                    <a:pt x="415" y="306"/>
                  </a:lnTo>
                  <a:lnTo>
                    <a:pt x="422" y="306"/>
                  </a:lnTo>
                  <a:lnTo>
                    <a:pt x="435" y="292"/>
                  </a:lnTo>
                  <a:lnTo>
                    <a:pt x="435" y="274"/>
                  </a:lnTo>
                  <a:lnTo>
                    <a:pt x="448" y="258"/>
                  </a:lnTo>
                  <a:lnTo>
                    <a:pt x="453" y="247"/>
                  </a:lnTo>
                  <a:lnTo>
                    <a:pt x="465" y="239"/>
                  </a:lnTo>
                  <a:lnTo>
                    <a:pt x="473" y="252"/>
                  </a:lnTo>
                  <a:lnTo>
                    <a:pt x="477" y="272"/>
                  </a:lnTo>
                  <a:lnTo>
                    <a:pt x="477" y="281"/>
                  </a:lnTo>
                  <a:lnTo>
                    <a:pt x="494" y="272"/>
                  </a:lnTo>
                  <a:lnTo>
                    <a:pt x="503" y="256"/>
                  </a:lnTo>
                  <a:lnTo>
                    <a:pt x="503" y="247"/>
                  </a:lnTo>
                  <a:lnTo>
                    <a:pt x="519" y="247"/>
                  </a:lnTo>
                  <a:lnTo>
                    <a:pt x="533" y="239"/>
                  </a:lnTo>
                  <a:lnTo>
                    <a:pt x="553" y="239"/>
                  </a:lnTo>
                  <a:lnTo>
                    <a:pt x="565" y="225"/>
                  </a:lnTo>
                  <a:lnTo>
                    <a:pt x="581" y="221"/>
                  </a:lnTo>
                  <a:lnTo>
                    <a:pt x="592" y="213"/>
                  </a:lnTo>
                  <a:lnTo>
                    <a:pt x="595" y="199"/>
                  </a:lnTo>
                  <a:lnTo>
                    <a:pt x="587" y="192"/>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0" name="Freeform 29"/>
            <p:cNvSpPr>
              <a:spLocks/>
            </p:cNvSpPr>
            <p:nvPr/>
          </p:nvSpPr>
          <p:spPr bwMode="auto">
            <a:xfrm>
              <a:off x="7224713" y="1577975"/>
              <a:ext cx="30162" cy="20637"/>
            </a:xfrm>
            <a:custGeom>
              <a:avLst/>
              <a:gdLst/>
              <a:ahLst/>
              <a:cxnLst>
                <a:cxn ang="0">
                  <a:pos x="13" y="38"/>
                </a:cxn>
                <a:cxn ang="0">
                  <a:pos x="31" y="38"/>
                </a:cxn>
                <a:cxn ang="0">
                  <a:pos x="46" y="24"/>
                </a:cxn>
                <a:cxn ang="0">
                  <a:pos x="56" y="16"/>
                </a:cxn>
                <a:cxn ang="0">
                  <a:pos x="35" y="6"/>
                </a:cxn>
                <a:cxn ang="0">
                  <a:pos x="35" y="6"/>
                </a:cxn>
                <a:cxn ang="0">
                  <a:pos x="27" y="2"/>
                </a:cxn>
                <a:cxn ang="0">
                  <a:pos x="21" y="0"/>
                </a:cxn>
                <a:cxn ang="0">
                  <a:pos x="20" y="0"/>
                </a:cxn>
                <a:cxn ang="0">
                  <a:pos x="18" y="0"/>
                </a:cxn>
                <a:cxn ang="0">
                  <a:pos x="18" y="0"/>
                </a:cxn>
                <a:cxn ang="0">
                  <a:pos x="0" y="29"/>
                </a:cxn>
                <a:cxn ang="0">
                  <a:pos x="13" y="38"/>
                </a:cxn>
              </a:cxnLst>
              <a:rect l="0" t="0" r="r" b="b"/>
              <a:pathLst>
                <a:path w="56" h="38">
                  <a:moveTo>
                    <a:pt x="13" y="38"/>
                  </a:moveTo>
                  <a:lnTo>
                    <a:pt x="31" y="38"/>
                  </a:lnTo>
                  <a:lnTo>
                    <a:pt x="46" y="24"/>
                  </a:lnTo>
                  <a:lnTo>
                    <a:pt x="56" y="16"/>
                  </a:lnTo>
                  <a:lnTo>
                    <a:pt x="35" y="6"/>
                  </a:lnTo>
                  <a:lnTo>
                    <a:pt x="35" y="6"/>
                  </a:lnTo>
                  <a:lnTo>
                    <a:pt x="27" y="2"/>
                  </a:lnTo>
                  <a:lnTo>
                    <a:pt x="21" y="0"/>
                  </a:lnTo>
                  <a:lnTo>
                    <a:pt x="20" y="0"/>
                  </a:lnTo>
                  <a:lnTo>
                    <a:pt x="18" y="0"/>
                  </a:lnTo>
                  <a:lnTo>
                    <a:pt x="18" y="0"/>
                  </a:lnTo>
                  <a:lnTo>
                    <a:pt x="0" y="29"/>
                  </a:lnTo>
                  <a:lnTo>
                    <a:pt x="13" y="38"/>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1" name="Freeform 30"/>
            <p:cNvSpPr>
              <a:spLocks/>
            </p:cNvSpPr>
            <p:nvPr/>
          </p:nvSpPr>
          <p:spPr bwMode="auto">
            <a:xfrm>
              <a:off x="6859588" y="1685925"/>
              <a:ext cx="120650" cy="274637"/>
            </a:xfrm>
            <a:custGeom>
              <a:avLst/>
              <a:gdLst/>
              <a:ahLst/>
              <a:cxnLst>
                <a:cxn ang="0">
                  <a:pos x="198" y="71"/>
                </a:cxn>
                <a:cxn ang="0">
                  <a:pos x="198" y="52"/>
                </a:cxn>
                <a:cxn ang="0">
                  <a:pos x="186" y="36"/>
                </a:cxn>
                <a:cxn ang="0">
                  <a:pos x="115" y="14"/>
                </a:cxn>
                <a:cxn ang="0">
                  <a:pos x="41" y="0"/>
                </a:cxn>
                <a:cxn ang="0">
                  <a:pos x="37" y="14"/>
                </a:cxn>
                <a:cxn ang="0">
                  <a:pos x="32" y="36"/>
                </a:cxn>
                <a:cxn ang="0">
                  <a:pos x="18" y="50"/>
                </a:cxn>
                <a:cxn ang="0">
                  <a:pos x="7" y="77"/>
                </a:cxn>
                <a:cxn ang="0">
                  <a:pos x="9" y="110"/>
                </a:cxn>
                <a:cxn ang="0">
                  <a:pos x="11" y="138"/>
                </a:cxn>
                <a:cxn ang="0">
                  <a:pos x="8" y="167"/>
                </a:cxn>
                <a:cxn ang="0">
                  <a:pos x="26" y="177"/>
                </a:cxn>
                <a:cxn ang="0">
                  <a:pos x="43" y="188"/>
                </a:cxn>
                <a:cxn ang="0">
                  <a:pos x="57" y="211"/>
                </a:cxn>
                <a:cxn ang="0">
                  <a:pos x="79" y="231"/>
                </a:cxn>
                <a:cxn ang="0">
                  <a:pos x="108" y="250"/>
                </a:cxn>
                <a:cxn ang="0">
                  <a:pos x="108" y="260"/>
                </a:cxn>
                <a:cxn ang="0">
                  <a:pos x="93" y="292"/>
                </a:cxn>
                <a:cxn ang="0">
                  <a:pos x="55" y="321"/>
                </a:cxn>
                <a:cxn ang="0">
                  <a:pos x="15" y="351"/>
                </a:cxn>
                <a:cxn ang="0">
                  <a:pos x="5" y="369"/>
                </a:cxn>
                <a:cxn ang="0">
                  <a:pos x="0" y="397"/>
                </a:cxn>
                <a:cxn ang="0">
                  <a:pos x="3" y="414"/>
                </a:cxn>
                <a:cxn ang="0">
                  <a:pos x="14" y="435"/>
                </a:cxn>
                <a:cxn ang="0">
                  <a:pos x="40" y="456"/>
                </a:cxn>
                <a:cxn ang="0">
                  <a:pos x="62" y="465"/>
                </a:cxn>
                <a:cxn ang="0">
                  <a:pos x="83" y="475"/>
                </a:cxn>
                <a:cxn ang="0">
                  <a:pos x="102" y="469"/>
                </a:cxn>
                <a:cxn ang="0">
                  <a:pos x="127" y="475"/>
                </a:cxn>
                <a:cxn ang="0">
                  <a:pos x="136" y="475"/>
                </a:cxn>
                <a:cxn ang="0">
                  <a:pos x="129" y="493"/>
                </a:cxn>
                <a:cxn ang="0">
                  <a:pos x="130" y="512"/>
                </a:cxn>
                <a:cxn ang="0">
                  <a:pos x="136" y="518"/>
                </a:cxn>
                <a:cxn ang="0">
                  <a:pos x="144" y="518"/>
                </a:cxn>
                <a:cxn ang="0">
                  <a:pos x="148" y="482"/>
                </a:cxn>
                <a:cxn ang="0">
                  <a:pos x="152" y="469"/>
                </a:cxn>
                <a:cxn ang="0">
                  <a:pos x="166" y="453"/>
                </a:cxn>
                <a:cxn ang="0">
                  <a:pos x="191" y="426"/>
                </a:cxn>
                <a:cxn ang="0">
                  <a:pos x="200" y="383"/>
                </a:cxn>
                <a:cxn ang="0">
                  <a:pos x="200" y="358"/>
                </a:cxn>
                <a:cxn ang="0">
                  <a:pos x="218" y="338"/>
                </a:cxn>
                <a:cxn ang="0">
                  <a:pos x="222" y="292"/>
                </a:cxn>
                <a:cxn ang="0">
                  <a:pos x="229" y="264"/>
                </a:cxn>
                <a:cxn ang="0">
                  <a:pos x="229" y="221"/>
                </a:cxn>
                <a:cxn ang="0">
                  <a:pos x="229" y="196"/>
                </a:cxn>
                <a:cxn ang="0">
                  <a:pos x="218" y="167"/>
                </a:cxn>
                <a:cxn ang="0">
                  <a:pos x="195" y="161"/>
                </a:cxn>
                <a:cxn ang="0">
                  <a:pos x="184" y="161"/>
                </a:cxn>
                <a:cxn ang="0">
                  <a:pos x="186" y="136"/>
                </a:cxn>
                <a:cxn ang="0">
                  <a:pos x="202" y="110"/>
                </a:cxn>
                <a:cxn ang="0">
                  <a:pos x="211" y="97"/>
                </a:cxn>
                <a:cxn ang="0">
                  <a:pos x="205" y="95"/>
                </a:cxn>
                <a:cxn ang="0">
                  <a:pos x="198" y="71"/>
                </a:cxn>
              </a:cxnLst>
              <a:rect l="0" t="0" r="r" b="b"/>
              <a:pathLst>
                <a:path w="229" h="518">
                  <a:moveTo>
                    <a:pt x="198" y="71"/>
                  </a:moveTo>
                  <a:lnTo>
                    <a:pt x="198" y="52"/>
                  </a:lnTo>
                  <a:lnTo>
                    <a:pt x="186" y="36"/>
                  </a:lnTo>
                  <a:lnTo>
                    <a:pt x="115" y="14"/>
                  </a:lnTo>
                  <a:lnTo>
                    <a:pt x="41" y="0"/>
                  </a:lnTo>
                  <a:lnTo>
                    <a:pt x="37" y="14"/>
                  </a:lnTo>
                  <a:lnTo>
                    <a:pt x="32" y="36"/>
                  </a:lnTo>
                  <a:lnTo>
                    <a:pt x="18" y="50"/>
                  </a:lnTo>
                  <a:lnTo>
                    <a:pt x="7" y="77"/>
                  </a:lnTo>
                  <a:lnTo>
                    <a:pt x="9" y="110"/>
                  </a:lnTo>
                  <a:lnTo>
                    <a:pt x="11" y="138"/>
                  </a:lnTo>
                  <a:lnTo>
                    <a:pt x="8" y="167"/>
                  </a:lnTo>
                  <a:lnTo>
                    <a:pt x="26" y="177"/>
                  </a:lnTo>
                  <a:lnTo>
                    <a:pt x="43" y="188"/>
                  </a:lnTo>
                  <a:lnTo>
                    <a:pt x="57" y="211"/>
                  </a:lnTo>
                  <a:lnTo>
                    <a:pt x="79" y="231"/>
                  </a:lnTo>
                  <a:lnTo>
                    <a:pt x="108" y="250"/>
                  </a:lnTo>
                  <a:lnTo>
                    <a:pt x="108" y="260"/>
                  </a:lnTo>
                  <a:lnTo>
                    <a:pt x="93" y="292"/>
                  </a:lnTo>
                  <a:lnTo>
                    <a:pt x="55" y="321"/>
                  </a:lnTo>
                  <a:lnTo>
                    <a:pt x="15" y="351"/>
                  </a:lnTo>
                  <a:lnTo>
                    <a:pt x="5" y="369"/>
                  </a:lnTo>
                  <a:lnTo>
                    <a:pt x="0" y="397"/>
                  </a:lnTo>
                  <a:lnTo>
                    <a:pt x="3" y="414"/>
                  </a:lnTo>
                  <a:lnTo>
                    <a:pt x="14" y="435"/>
                  </a:lnTo>
                  <a:lnTo>
                    <a:pt x="40" y="456"/>
                  </a:lnTo>
                  <a:lnTo>
                    <a:pt x="62" y="465"/>
                  </a:lnTo>
                  <a:lnTo>
                    <a:pt x="83" y="475"/>
                  </a:lnTo>
                  <a:lnTo>
                    <a:pt x="102" y="469"/>
                  </a:lnTo>
                  <a:lnTo>
                    <a:pt x="127" y="475"/>
                  </a:lnTo>
                  <a:lnTo>
                    <a:pt x="136" y="475"/>
                  </a:lnTo>
                  <a:lnTo>
                    <a:pt x="129" y="493"/>
                  </a:lnTo>
                  <a:lnTo>
                    <a:pt x="130" y="512"/>
                  </a:lnTo>
                  <a:lnTo>
                    <a:pt x="136" y="518"/>
                  </a:lnTo>
                  <a:lnTo>
                    <a:pt x="144" y="518"/>
                  </a:lnTo>
                  <a:lnTo>
                    <a:pt x="148" y="482"/>
                  </a:lnTo>
                  <a:lnTo>
                    <a:pt x="152" y="469"/>
                  </a:lnTo>
                  <a:lnTo>
                    <a:pt x="166" y="453"/>
                  </a:lnTo>
                  <a:lnTo>
                    <a:pt x="191" y="426"/>
                  </a:lnTo>
                  <a:lnTo>
                    <a:pt x="200" y="383"/>
                  </a:lnTo>
                  <a:lnTo>
                    <a:pt x="200" y="358"/>
                  </a:lnTo>
                  <a:lnTo>
                    <a:pt x="218" y="338"/>
                  </a:lnTo>
                  <a:lnTo>
                    <a:pt x="222" y="292"/>
                  </a:lnTo>
                  <a:lnTo>
                    <a:pt x="229" y="264"/>
                  </a:lnTo>
                  <a:lnTo>
                    <a:pt x="229" y="221"/>
                  </a:lnTo>
                  <a:lnTo>
                    <a:pt x="229" y="196"/>
                  </a:lnTo>
                  <a:lnTo>
                    <a:pt x="218" y="167"/>
                  </a:lnTo>
                  <a:lnTo>
                    <a:pt x="195" y="161"/>
                  </a:lnTo>
                  <a:lnTo>
                    <a:pt x="184" y="161"/>
                  </a:lnTo>
                  <a:lnTo>
                    <a:pt x="186" y="136"/>
                  </a:lnTo>
                  <a:lnTo>
                    <a:pt x="202" y="110"/>
                  </a:lnTo>
                  <a:lnTo>
                    <a:pt x="211" y="97"/>
                  </a:lnTo>
                  <a:lnTo>
                    <a:pt x="205" y="95"/>
                  </a:lnTo>
                  <a:lnTo>
                    <a:pt x="198" y="71"/>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2" name="Freeform 31"/>
            <p:cNvSpPr>
              <a:spLocks/>
            </p:cNvSpPr>
            <p:nvPr/>
          </p:nvSpPr>
          <p:spPr bwMode="auto">
            <a:xfrm>
              <a:off x="6835775" y="1874838"/>
              <a:ext cx="93662" cy="157162"/>
            </a:xfrm>
            <a:custGeom>
              <a:avLst/>
              <a:gdLst/>
              <a:ahLst/>
              <a:cxnLst>
                <a:cxn ang="0">
                  <a:pos x="46" y="57"/>
                </a:cxn>
                <a:cxn ang="0">
                  <a:pos x="43" y="40"/>
                </a:cxn>
                <a:cxn ang="0">
                  <a:pos x="48" y="12"/>
                </a:cxn>
                <a:cxn ang="0">
                  <a:pos x="52" y="4"/>
                </a:cxn>
                <a:cxn ang="0">
                  <a:pos x="47" y="0"/>
                </a:cxn>
                <a:cxn ang="0">
                  <a:pos x="27" y="0"/>
                </a:cxn>
                <a:cxn ang="0">
                  <a:pos x="21" y="0"/>
                </a:cxn>
                <a:cxn ang="0">
                  <a:pos x="7" y="11"/>
                </a:cxn>
                <a:cxn ang="0">
                  <a:pos x="0" y="29"/>
                </a:cxn>
                <a:cxn ang="0">
                  <a:pos x="64" y="296"/>
                </a:cxn>
                <a:cxn ang="0">
                  <a:pos x="176" y="279"/>
                </a:cxn>
                <a:cxn ang="0">
                  <a:pos x="169" y="241"/>
                </a:cxn>
                <a:cxn ang="0">
                  <a:pos x="157" y="219"/>
                </a:cxn>
                <a:cxn ang="0">
                  <a:pos x="145" y="205"/>
                </a:cxn>
                <a:cxn ang="0">
                  <a:pos x="136" y="201"/>
                </a:cxn>
                <a:cxn ang="0">
                  <a:pos x="122" y="189"/>
                </a:cxn>
                <a:cxn ang="0">
                  <a:pos x="107" y="173"/>
                </a:cxn>
                <a:cxn ang="0">
                  <a:pos x="94" y="155"/>
                </a:cxn>
                <a:cxn ang="0">
                  <a:pos x="83" y="130"/>
                </a:cxn>
                <a:cxn ang="0">
                  <a:pos x="70" y="108"/>
                </a:cxn>
                <a:cxn ang="0">
                  <a:pos x="82" y="97"/>
                </a:cxn>
                <a:cxn ang="0">
                  <a:pos x="57" y="78"/>
                </a:cxn>
                <a:cxn ang="0">
                  <a:pos x="46" y="57"/>
                </a:cxn>
              </a:cxnLst>
              <a:rect l="0" t="0" r="r" b="b"/>
              <a:pathLst>
                <a:path w="176" h="296">
                  <a:moveTo>
                    <a:pt x="46" y="57"/>
                  </a:moveTo>
                  <a:lnTo>
                    <a:pt x="43" y="40"/>
                  </a:lnTo>
                  <a:lnTo>
                    <a:pt x="48" y="12"/>
                  </a:lnTo>
                  <a:lnTo>
                    <a:pt x="52" y="4"/>
                  </a:lnTo>
                  <a:lnTo>
                    <a:pt x="47" y="0"/>
                  </a:lnTo>
                  <a:lnTo>
                    <a:pt x="27" y="0"/>
                  </a:lnTo>
                  <a:lnTo>
                    <a:pt x="21" y="0"/>
                  </a:lnTo>
                  <a:lnTo>
                    <a:pt x="7" y="11"/>
                  </a:lnTo>
                  <a:lnTo>
                    <a:pt x="0" y="29"/>
                  </a:lnTo>
                  <a:lnTo>
                    <a:pt x="64" y="296"/>
                  </a:lnTo>
                  <a:lnTo>
                    <a:pt x="176" y="279"/>
                  </a:lnTo>
                  <a:lnTo>
                    <a:pt x="169" y="241"/>
                  </a:lnTo>
                  <a:lnTo>
                    <a:pt x="157" y="219"/>
                  </a:lnTo>
                  <a:lnTo>
                    <a:pt x="145" y="205"/>
                  </a:lnTo>
                  <a:lnTo>
                    <a:pt x="136" y="201"/>
                  </a:lnTo>
                  <a:lnTo>
                    <a:pt x="122" y="189"/>
                  </a:lnTo>
                  <a:lnTo>
                    <a:pt x="107" y="173"/>
                  </a:lnTo>
                  <a:lnTo>
                    <a:pt x="94" y="155"/>
                  </a:lnTo>
                  <a:lnTo>
                    <a:pt x="83" y="130"/>
                  </a:lnTo>
                  <a:lnTo>
                    <a:pt x="70" y="108"/>
                  </a:lnTo>
                  <a:lnTo>
                    <a:pt x="82" y="97"/>
                  </a:lnTo>
                  <a:lnTo>
                    <a:pt x="57" y="78"/>
                  </a:lnTo>
                  <a:lnTo>
                    <a:pt x="46" y="57"/>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3" name="Freeform 32"/>
            <p:cNvSpPr>
              <a:spLocks/>
            </p:cNvSpPr>
            <p:nvPr/>
          </p:nvSpPr>
          <p:spPr bwMode="auto">
            <a:xfrm>
              <a:off x="6370638" y="1612900"/>
              <a:ext cx="546100" cy="354012"/>
            </a:xfrm>
            <a:custGeom>
              <a:avLst/>
              <a:gdLst/>
              <a:ahLst/>
              <a:cxnLst>
                <a:cxn ang="0">
                  <a:pos x="901" y="497"/>
                </a:cxn>
                <a:cxn ang="0">
                  <a:pos x="907" y="497"/>
                </a:cxn>
                <a:cxn ang="0">
                  <a:pos x="927" y="497"/>
                </a:cxn>
                <a:cxn ang="0">
                  <a:pos x="932" y="501"/>
                </a:cxn>
                <a:cxn ang="0">
                  <a:pos x="938" y="491"/>
                </a:cxn>
                <a:cxn ang="0">
                  <a:pos x="978" y="461"/>
                </a:cxn>
                <a:cxn ang="0">
                  <a:pos x="1016" y="432"/>
                </a:cxn>
                <a:cxn ang="0">
                  <a:pos x="1031" y="400"/>
                </a:cxn>
                <a:cxn ang="0">
                  <a:pos x="1031" y="390"/>
                </a:cxn>
                <a:cxn ang="0">
                  <a:pos x="1002" y="371"/>
                </a:cxn>
                <a:cxn ang="0">
                  <a:pos x="980" y="351"/>
                </a:cxn>
                <a:cxn ang="0">
                  <a:pos x="966" y="328"/>
                </a:cxn>
                <a:cxn ang="0">
                  <a:pos x="949" y="317"/>
                </a:cxn>
                <a:cxn ang="0">
                  <a:pos x="931" y="307"/>
                </a:cxn>
                <a:cxn ang="0">
                  <a:pos x="934" y="278"/>
                </a:cxn>
                <a:cxn ang="0">
                  <a:pos x="932" y="250"/>
                </a:cxn>
                <a:cxn ang="0">
                  <a:pos x="930" y="217"/>
                </a:cxn>
                <a:cxn ang="0">
                  <a:pos x="941" y="190"/>
                </a:cxn>
                <a:cxn ang="0">
                  <a:pos x="955" y="176"/>
                </a:cxn>
                <a:cxn ang="0">
                  <a:pos x="960" y="154"/>
                </a:cxn>
                <a:cxn ang="0">
                  <a:pos x="964" y="140"/>
                </a:cxn>
                <a:cxn ang="0">
                  <a:pos x="978" y="114"/>
                </a:cxn>
                <a:cxn ang="0">
                  <a:pos x="962" y="103"/>
                </a:cxn>
                <a:cxn ang="0">
                  <a:pos x="946" y="101"/>
                </a:cxn>
                <a:cxn ang="0">
                  <a:pos x="931" y="92"/>
                </a:cxn>
                <a:cxn ang="0">
                  <a:pos x="910" y="57"/>
                </a:cxn>
                <a:cxn ang="0">
                  <a:pos x="887" y="33"/>
                </a:cxn>
                <a:cxn ang="0">
                  <a:pos x="842" y="0"/>
                </a:cxn>
                <a:cxn ang="0">
                  <a:pos x="130" y="129"/>
                </a:cxn>
                <a:cxn ang="0">
                  <a:pos x="116" y="75"/>
                </a:cxn>
                <a:cxn ang="0">
                  <a:pos x="82" y="99"/>
                </a:cxn>
                <a:cxn ang="0">
                  <a:pos x="55" y="117"/>
                </a:cxn>
                <a:cxn ang="0">
                  <a:pos x="25" y="137"/>
                </a:cxn>
                <a:cxn ang="0">
                  <a:pos x="0" y="157"/>
                </a:cxn>
                <a:cxn ang="0">
                  <a:pos x="83" y="669"/>
                </a:cxn>
                <a:cxn ang="0">
                  <a:pos x="880" y="526"/>
                </a:cxn>
                <a:cxn ang="0">
                  <a:pos x="887" y="508"/>
                </a:cxn>
                <a:cxn ang="0">
                  <a:pos x="901" y="497"/>
                </a:cxn>
              </a:cxnLst>
              <a:rect l="0" t="0" r="r" b="b"/>
              <a:pathLst>
                <a:path w="1031" h="669">
                  <a:moveTo>
                    <a:pt x="901" y="497"/>
                  </a:moveTo>
                  <a:lnTo>
                    <a:pt x="907" y="497"/>
                  </a:lnTo>
                  <a:lnTo>
                    <a:pt x="927" y="497"/>
                  </a:lnTo>
                  <a:lnTo>
                    <a:pt x="932" y="501"/>
                  </a:lnTo>
                  <a:lnTo>
                    <a:pt x="938" y="491"/>
                  </a:lnTo>
                  <a:lnTo>
                    <a:pt x="978" y="461"/>
                  </a:lnTo>
                  <a:lnTo>
                    <a:pt x="1016" y="432"/>
                  </a:lnTo>
                  <a:lnTo>
                    <a:pt x="1031" y="400"/>
                  </a:lnTo>
                  <a:lnTo>
                    <a:pt x="1031" y="390"/>
                  </a:lnTo>
                  <a:lnTo>
                    <a:pt x="1002" y="371"/>
                  </a:lnTo>
                  <a:lnTo>
                    <a:pt x="980" y="351"/>
                  </a:lnTo>
                  <a:lnTo>
                    <a:pt x="966" y="328"/>
                  </a:lnTo>
                  <a:lnTo>
                    <a:pt x="949" y="317"/>
                  </a:lnTo>
                  <a:lnTo>
                    <a:pt x="931" y="307"/>
                  </a:lnTo>
                  <a:lnTo>
                    <a:pt x="934" y="278"/>
                  </a:lnTo>
                  <a:lnTo>
                    <a:pt x="932" y="250"/>
                  </a:lnTo>
                  <a:lnTo>
                    <a:pt x="930" y="217"/>
                  </a:lnTo>
                  <a:lnTo>
                    <a:pt x="941" y="190"/>
                  </a:lnTo>
                  <a:lnTo>
                    <a:pt x="955" y="176"/>
                  </a:lnTo>
                  <a:lnTo>
                    <a:pt x="960" y="154"/>
                  </a:lnTo>
                  <a:lnTo>
                    <a:pt x="964" y="140"/>
                  </a:lnTo>
                  <a:lnTo>
                    <a:pt x="978" y="114"/>
                  </a:lnTo>
                  <a:lnTo>
                    <a:pt x="962" y="103"/>
                  </a:lnTo>
                  <a:lnTo>
                    <a:pt x="946" y="101"/>
                  </a:lnTo>
                  <a:lnTo>
                    <a:pt x="931" y="92"/>
                  </a:lnTo>
                  <a:lnTo>
                    <a:pt x="910" y="57"/>
                  </a:lnTo>
                  <a:lnTo>
                    <a:pt x="887" y="33"/>
                  </a:lnTo>
                  <a:lnTo>
                    <a:pt x="842" y="0"/>
                  </a:lnTo>
                  <a:lnTo>
                    <a:pt x="130" y="129"/>
                  </a:lnTo>
                  <a:lnTo>
                    <a:pt x="116" y="75"/>
                  </a:lnTo>
                  <a:lnTo>
                    <a:pt x="82" y="99"/>
                  </a:lnTo>
                  <a:lnTo>
                    <a:pt x="55" y="117"/>
                  </a:lnTo>
                  <a:lnTo>
                    <a:pt x="25" y="137"/>
                  </a:lnTo>
                  <a:lnTo>
                    <a:pt x="0" y="157"/>
                  </a:lnTo>
                  <a:lnTo>
                    <a:pt x="83" y="669"/>
                  </a:lnTo>
                  <a:lnTo>
                    <a:pt x="880" y="526"/>
                  </a:lnTo>
                  <a:lnTo>
                    <a:pt x="887" y="508"/>
                  </a:lnTo>
                  <a:lnTo>
                    <a:pt x="901" y="497"/>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4" name="Freeform 33"/>
            <p:cNvSpPr>
              <a:spLocks/>
            </p:cNvSpPr>
            <p:nvPr/>
          </p:nvSpPr>
          <p:spPr bwMode="auto">
            <a:xfrm>
              <a:off x="5857875" y="3033713"/>
              <a:ext cx="846137" cy="665162"/>
            </a:xfrm>
            <a:custGeom>
              <a:avLst/>
              <a:gdLst/>
              <a:ahLst/>
              <a:cxnLst>
                <a:cxn ang="0">
                  <a:pos x="1099" y="4"/>
                </a:cxn>
                <a:cxn ang="0">
                  <a:pos x="1158" y="57"/>
                </a:cxn>
                <a:cxn ang="0">
                  <a:pos x="1223" y="168"/>
                </a:cxn>
                <a:cxn ang="0">
                  <a:pos x="1321" y="346"/>
                </a:cxn>
                <a:cxn ang="0">
                  <a:pos x="1421" y="466"/>
                </a:cxn>
                <a:cxn ang="0">
                  <a:pos x="1407" y="475"/>
                </a:cxn>
                <a:cxn ang="0">
                  <a:pos x="1471" y="640"/>
                </a:cxn>
                <a:cxn ang="0">
                  <a:pos x="1566" y="797"/>
                </a:cxn>
                <a:cxn ang="0">
                  <a:pos x="1598" y="966"/>
                </a:cxn>
                <a:cxn ang="0">
                  <a:pos x="1582" y="1080"/>
                </a:cxn>
                <a:cxn ang="0">
                  <a:pos x="1578" y="1159"/>
                </a:cxn>
                <a:cxn ang="0">
                  <a:pos x="1535" y="1249"/>
                </a:cxn>
                <a:cxn ang="0">
                  <a:pos x="1539" y="1219"/>
                </a:cxn>
                <a:cxn ang="0">
                  <a:pos x="1502" y="1213"/>
                </a:cxn>
                <a:cxn ang="0">
                  <a:pos x="1446" y="1224"/>
                </a:cxn>
                <a:cxn ang="0">
                  <a:pos x="1402" y="1217"/>
                </a:cxn>
                <a:cxn ang="0">
                  <a:pos x="1402" y="1197"/>
                </a:cxn>
                <a:cxn ang="0">
                  <a:pos x="1442" y="1188"/>
                </a:cxn>
                <a:cxn ang="0">
                  <a:pos x="1385" y="1170"/>
                </a:cxn>
                <a:cxn ang="0">
                  <a:pos x="1344" y="1097"/>
                </a:cxn>
                <a:cxn ang="0">
                  <a:pos x="1278" y="1063"/>
                </a:cxn>
                <a:cxn ang="0">
                  <a:pos x="1223" y="972"/>
                </a:cxn>
                <a:cxn ang="0">
                  <a:pos x="1188" y="933"/>
                </a:cxn>
                <a:cxn ang="0">
                  <a:pos x="1176" y="883"/>
                </a:cxn>
                <a:cxn ang="0">
                  <a:pos x="1145" y="869"/>
                </a:cxn>
                <a:cxn ang="0">
                  <a:pos x="1123" y="891"/>
                </a:cxn>
                <a:cxn ang="0">
                  <a:pos x="1063" y="812"/>
                </a:cxn>
                <a:cxn ang="0">
                  <a:pos x="1051" y="775"/>
                </a:cxn>
                <a:cxn ang="0">
                  <a:pos x="1063" y="716"/>
                </a:cxn>
                <a:cxn ang="0">
                  <a:pos x="1065" y="668"/>
                </a:cxn>
                <a:cxn ang="0">
                  <a:pos x="1045" y="669"/>
                </a:cxn>
                <a:cxn ang="0">
                  <a:pos x="1026" y="658"/>
                </a:cxn>
                <a:cxn ang="0">
                  <a:pos x="1040" y="702"/>
                </a:cxn>
                <a:cxn ang="0">
                  <a:pos x="1017" y="711"/>
                </a:cxn>
                <a:cxn ang="0">
                  <a:pos x="984" y="659"/>
                </a:cxn>
                <a:cxn ang="0">
                  <a:pos x="995" y="584"/>
                </a:cxn>
                <a:cxn ang="0">
                  <a:pos x="998" y="475"/>
                </a:cxn>
                <a:cxn ang="0">
                  <a:pos x="952" y="400"/>
                </a:cxn>
                <a:cxn ang="0">
                  <a:pos x="895" y="371"/>
                </a:cxn>
                <a:cxn ang="0">
                  <a:pos x="834" y="329"/>
                </a:cxn>
                <a:cxn ang="0">
                  <a:pos x="783" y="265"/>
                </a:cxn>
                <a:cxn ang="0">
                  <a:pos x="714" y="215"/>
                </a:cxn>
                <a:cxn ang="0">
                  <a:pos x="643" y="219"/>
                </a:cxn>
                <a:cxn ang="0">
                  <a:pos x="634" y="262"/>
                </a:cxn>
                <a:cxn ang="0">
                  <a:pos x="585" y="272"/>
                </a:cxn>
                <a:cxn ang="0">
                  <a:pos x="457" y="325"/>
                </a:cxn>
                <a:cxn ang="0">
                  <a:pos x="421" y="268"/>
                </a:cxn>
                <a:cxn ang="0">
                  <a:pos x="417" y="239"/>
                </a:cxn>
                <a:cxn ang="0">
                  <a:pos x="389" y="214"/>
                </a:cxn>
                <a:cxn ang="0">
                  <a:pos x="390" y="197"/>
                </a:cxn>
                <a:cxn ang="0">
                  <a:pos x="376" y="208"/>
                </a:cxn>
                <a:cxn ang="0">
                  <a:pos x="349" y="214"/>
                </a:cxn>
                <a:cxn ang="0">
                  <a:pos x="353" y="239"/>
                </a:cxn>
                <a:cxn ang="0">
                  <a:pos x="290" y="207"/>
                </a:cxn>
                <a:cxn ang="0">
                  <a:pos x="210" y="186"/>
                </a:cxn>
                <a:cxn ang="0">
                  <a:pos x="102" y="194"/>
                </a:cxn>
                <a:cxn ang="0">
                  <a:pos x="38" y="175"/>
                </a:cxn>
                <a:cxn ang="0">
                  <a:pos x="0" y="114"/>
                </a:cxn>
                <a:cxn ang="0">
                  <a:pos x="49" y="81"/>
                </a:cxn>
                <a:cxn ang="0">
                  <a:pos x="533" y="95"/>
                </a:cxn>
                <a:cxn ang="0">
                  <a:pos x="1077" y="108"/>
                </a:cxn>
              </a:cxnLst>
              <a:rect l="0" t="0" r="r" b="b"/>
              <a:pathLst>
                <a:path w="1598" h="1256">
                  <a:moveTo>
                    <a:pt x="1066" y="0"/>
                  </a:moveTo>
                  <a:lnTo>
                    <a:pt x="1063" y="0"/>
                  </a:lnTo>
                  <a:lnTo>
                    <a:pt x="1099" y="4"/>
                  </a:lnTo>
                  <a:lnTo>
                    <a:pt x="1144" y="13"/>
                  </a:lnTo>
                  <a:lnTo>
                    <a:pt x="1152" y="42"/>
                  </a:lnTo>
                  <a:lnTo>
                    <a:pt x="1158" y="57"/>
                  </a:lnTo>
                  <a:lnTo>
                    <a:pt x="1174" y="71"/>
                  </a:lnTo>
                  <a:lnTo>
                    <a:pt x="1196" y="96"/>
                  </a:lnTo>
                  <a:lnTo>
                    <a:pt x="1223" y="168"/>
                  </a:lnTo>
                  <a:lnTo>
                    <a:pt x="1258" y="224"/>
                  </a:lnTo>
                  <a:lnTo>
                    <a:pt x="1296" y="304"/>
                  </a:lnTo>
                  <a:lnTo>
                    <a:pt x="1321" y="346"/>
                  </a:lnTo>
                  <a:lnTo>
                    <a:pt x="1378" y="423"/>
                  </a:lnTo>
                  <a:lnTo>
                    <a:pt x="1406" y="448"/>
                  </a:lnTo>
                  <a:lnTo>
                    <a:pt x="1421" y="466"/>
                  </a:lnTo>
                  <a:lnTo>
                    <a:pt x="1425" y="480"/>
                  </a:lnTo>
                  <a:lnTo>
                    <a:pt x="1419" y="530"/>
                  </a:lnTo>
                  <a:lnTo>
                    <a:pt x="1407" y="475"/>
                  </a:lnTo>
                  <a:lnTo>
                    <a:pt x="1400" y="530"/>
                  </a:lnTo>
                  <a:lnTo>
                    <a:pt x="1431" y="587"/>
                  </a:lnTo>
                  <a:lnTo>
                    <a:pt x="1471" y="640"/>
                  </a:lnTo>
                  <a:lnTo>
                    <a:pt x="1507" y="712"/>
                  </a:lnTo>
                  <a:lnTo>
                    <a:pt x="1534" y="755"/>
                  </a:lnTo>
                  <a:lnTo>
                    <a:pt x="1566" y="797"/>
                  </a:lnTo>
                  <a:lnTo>
                    <a:pt x="1586" y="843"/>
                  </a:lnTo>
                  <a:lnTo>
                    <a:pt x="1598" y="927"/>
                  </a:lnTo>
                  <a:lnTo>
                    <a:pt x="1598" y="966"/>
                  </a:lnTo>
                  <a:lnTo>
                    <a:pt x="1598" y="1017"/>
                  </a:lnTo>
                  <a:lnTo>
                    <a:pt x="1598" y="1062"/>
                  </a:lnTo>
                  <a:lnTo>
                    <a:pt x="1582" y="1080"/>
                  </a:lnTo>
                  <a:lnTo>
                    <a:pt x="1568" y="1102"/>
                  </a:lnTo>
                  <a:lnTo>
                    <a:pt x="1568" y="1126"/>
                  </a:lnTo>
                  <a:lnTo>
                    <a:pt x="1578" y="1159"/>
                  </a:lnTo>
                  <a:lnTo>
                    <a:pt x="1567" y="1202"/>
                  </a:lnTo>
                  <a:lnTo>
                    <a:pt x="1555" y="1237"/>
                  </a:lnTo>
                  <a:lnTo>
                    <a:pt x="1535" y="1249"/>
                  </a:lnTo>
                  <a:lnTo>
                    <a:pt x="1523" y="1256"/>
                  </a:lnTo>
                  <a:lnTo>
                    <a:pt x="1532" y="1233"/>
                  </a:lnTo>
                  <a:lnTo>
                    <a:pt x="1539" y="1219"/>
                  </a:lnTo>
                  <a:lnTo>
                    <a:pt x="1546" y="1197"/>
                  </a:lnTo>
                  <a:lnTo>
                    <a:pt x="1535" y="1198"/>
                  </a:lnTo>
                  <a:lnTo>
                    <a:pt x="1502" y="1213"/>
                  </a:lnTo>
                  <a:lnTo>
                    <a:pt x="1481" y="1220"/>
                  </a:lnTo>
                  <a:lnTo>
                    <a:pt x="1467" y="1215"/>
                  </a:lnTo>
                  <a:lnTo>
                    <a:pt x="1446" y="1224"/>
                  </a:lnTo>
                  <a:lnTo>
                    <a:pt x="1435" y="1233"/>
                  </a:lnTo>
                  <a:lnTo>
                    <a:pt x="1419" y="1230"/>
                  </a:lnTo>
                  <a:lnTo>
                    <a:pt x="1402" y="1217"/>
                  </a:lnTo>
                  <a:lnTo>
                    <a:pt x="1388" y="1206"/>
                  </a:lnTo>
                  <a:lnTo>
                    <a:pt x="1395" y="1198"/>
                  </a:lnTo>
                  <a:lnTo>
                    <a:pt x="1402" y="1197"/>
                  </a:lnTo>
                  <a:lnTo>
                    <a:pt x="1435" y="1201"/>
                  </a:lnTo>
                  <a:lnTo>
                    <a:pt x="1446" y="1198"/>
                  </a:lnTo>
                  <a:lnTo>
                    <a:pt x="1442" y="1188"/>
                  </a:lnTo>
                  <a:lnTo>
                    <a:pt x="1430" y="1180"/>
                  </a:lnTo>
                  <a:lnTo>
                    <a:pt x="1406" y="1181"/>
                  </a:lnTo>
                  <a:lnTo>
                    <a:pt x="1385" y="1170"/>
                  </a:lnTo>
                  <a:lnTo>
                    <a:pt x="1373" y="1141"/>
                  </a:lnTo>
                  <a:lnTo>
                    <a:pt x="1351" y="1116"/>
                  </a:lnTo>
                  <a:lnTo>
                    <a:pt x="1344" y="1097"/>
                  </a:lnTo>
                  <a:lnTo>
                    <a:pt x="1332" y="1081"/>
                  </a:lnTo>
                  <a:lnTo>
                    <a:pt x="1299" y="1074"/>
                  </a:lnTo>
                  <a:lnTo>
                    <a:pt x="1278" y="1063"/>
                  </a:lnTo>
                  <a:lnTo>
                    <a:pt x="1256" y="1055"/>
                  </a:lnTo>
                  <a:lnTo>
                    <a:pt x="1233" y="998"/>
                  </a:lnTo>
                  <a:lnTo>
                    <a:pt x="1223" y="972"/>
                  </a:lnTo>
                  <a:lnTo>
                    <a:pt x="1209" y="958"/>
                  </a:lnTo>
                  <a:lnTo>
                    <a:pt x="1201" y="944"/>
                  </a:lnTo>
                  <a:lnTo>
                    <a:pt x="1188" y="933"/>
                  </a:lnTo>
                  <a:lnTo>
                    <a:pt x="1170" y="923"/>
                  </a:lnTo>
                  <a:lnTo>
                    <a:pt x="1173" y="900"/>
                  </a:lnTo>
                  <a:lnTo>
                    <a:pt x="1176" y="883"/>
                  </a:lnTo>
                  <a:lnTo>
                    <a:pt x="1162" y="855"/>
                  </a:lnTo>
                  <a:lnTo>
                    <a:pt x="1147" y="861"/>
                  </a:lnTo>
                  <a:lnTo>
                    <a:pt x="1145" y="869"/>
                  </a:lnTo>
                  <a:lnTo>
                    <a:pt x="1148" y="898"/>
                  </a:lnTo>
                  <a:lnTo>
                    <a:pt x="1137" y="898"/>
                  </a:lnTo>
                  <a:lnTo>
                    <a:pt x="1123" y="891"/>
                  </a:lnTo>
                  <a:lnTo>
                    <a:pt x="1109" y="869"/>
                  </a:lnTo>
                  <a:lnTo>
                    <a:pt x="1080" y="829"/>
                  </a:lnTo>
                  <a:lnTo>
                    <a:pt x="1063" y="812"/>
                  </a:lnTo>
                  <a:lnTo>
                    <a:pt x="1062" y="804"/>
                  </a:lnTo>
                  <a:lnTo>
                    <a:pt x="1065" y="791"/>
                  </a:lnTo>
                  <a:lnTo>
                    <a:pt x="1051" y="775"/>
                  </a:lnTo>
                  <a:lnTo>
                    <a:pt x="1037" y="764"/>
                  </a:lnTo>
                  <a:lnTo>
                    <a:pt x="1051" y="733"/>
                  </a:lnTo>
                  <a:lnTo>
                    <a:pt x="1063" y="716"/>
                  </a:lnTo>
                  <a:lnTo>
                    <a:pt x="1070" y="701"/>
                  </a:lnTo>
                  <a:lnTo>
                    <a:pt x="1074" y="683"/>
                  </a:lnTo>
                  <a:lnTo>
                    <a:pt x="1065" y="668"/>
                  </a:lnTo>
                  <a:lnTo>
                    <a:pt x="1059" y="690"/>
                  </a:lnTo>
                  <a:lnTo>
                    <a:pt x="1045" y="683"/>
                  </a:lnTo>
                  <a:lnTo>
                    <a:pt x="1045" y="669"/>
                  </a:lnTo>
                  <a:lnTo>
                    <a:pt x="1031" y="651"/>
                  </a:lnTo>
                  <a:lnTo>
                    <a:pt x="1026" y="654"/>
                  </a:lnTo>
                  <a:lnTo>
                    <a:pt x="1026" y="658"/>
                  </a:lnTo>
                  <a:lnTo>
                    <a:pt x="1033" y="668"/>
                  </a:lnTo>
                  <a:lnTo>
                    <a:pt x="1038" y="686"/>
                  </a:lnTo>
                  <a:lnTo>
                    <a:pt x="1040" y="702"/>
                  </a:lnTo>
                  <a:lnTo>
                    <a:pt x="1040" y="709"/>
                  </a:lnTo>
                  <a:lnTo>
                    <a:pt x="1030" y="719"/>
                  </a:lnTo>
                  <a:lnTo>
                    <a:pt x="1017" y="711"/>
                  </a:lnTo>
                  <a:lnTo>
                    <a:pt x="1012" y="701"/>
                  </a:lnTo>
                  <a:lnTo>
                    <a:pt x="991" y="676"/>
                  </a:lnTo>
                  <a:lnTo>
                    <a:pt x="984" y="659"/>
                  </a:lnTo>
                  <a:lnTo>
                    <a:pt x="984" y="636"/>
                  </a:lnTo>
                  <a:lnTo>
                    <a:pt x="984" y="605"/>
                  </a:lnTo>
                  <a:lnTo>
                    <a:pt x="995" y="584"/>
                  </a:lnTo>
                  <a:lnTo>
                    <a:pt x="1005" y="540"/>
                  </a:lnTo>
                  <a:lnTo>
                    <a:pt x="1006" y="514"/>
                  </a:lnTo>
                  <a:lnTo>
                    <a:pt x="998" y="475"/>
                  </a:lnTo>
                  <a:lnTo>
                    <a:pt x="984" y="439"/>
                  </a:lnTo>
                  <a:lnTo>
                    <a:pt x="973" y="422"/>
                  </a:lnTo>
                  <a:lnTo>
                    <a:pt x="952" y="400"/>
                  </a:lnTo>
                  <a:lnTo>
                    <a:pt x="923" y="392"/>
                  </a:lnTo>
                  <a:lnTo>
                    <a:pt x="909" y="393"/>
                  </a:lnTo>
                  <a:lnTo>
                    <a:pt x="895" y="371"/>
                  </a:lnTo>
                  <a:lnTo>
                    <a:pt x="879" y="361"/>
                  </a:lnTo>
                  <a:lnTo>
                    <a:pt x="858" y="340"/>
                  </a:lnTo>
                  <a:lnTo>
                    <a:pt x="834" y="329"/>
                  </a:lnTo>
                  <a:lnTo>
                    <a:pt x="826" y="308"/>
                  </a:lnTo>
                  <a:lnTo>
                    <a:pt x="812" y="294"/>
                  </a:lnTo>
                  <a:lnTo>
                    <a:pt x="783" y="265"/>
                  </a:lnTo>
                  <a:lnTo>
                    <a:pt x="759" y="244"/>
                  </a:lnTo>
                  <a:lnTo>
                    <a:pt x="734" y="232"/>
                  </a:lnTo>
                  <a:lnTo>
                    <a:pt x="714" y="215"/>
                  </a:lnTo>
                  <a:lnTo>
                    <a:pt x="700" y="208"/>
                  </a:lnTo>
                  <a:lnTo>
                    <a:pt x="668" y="208"/>
                  </a:lnTo>
                  <a:lnTo>
                    <a:pt x="643" y="219"/>
                  </a:lnTo>
                  <a:lnTo>
                    <a:pt x="634" y="232"/>
                  </a:lnTo>
                  <a:lnTo>
                    <a:pt x="641" y="253"/>
                  </a:lnTo>
                  <a:lnTo>
                    <a:pt x="634" y="262"/>
                  </a:lnTo>
                  <a:lnTo>
                    <a:pt x="622" y="258"/>
                  </a:lnTo>
                  <a:lnTo>
                    <a:pt x="615" y="251"/>
                  </a:lnTo>
                  <a:lnTo>
                    <a:pt x="585" y="272"/>
                  </a:lnTo>
                  <a:lnTo>
                    <a:pt x="551" y="300"/>
                  </a:lnTo>
                  <a:lnTo>
                    <a:pt x="510" y="311"/>
                  </a:lnTo>
                  <a:lnTo>
                    <a:pt x="457" y="325"/>
                  </a:lnTo>
                  <a:lnTo>
                    <a:pt x="450" y="294"/>
                  </a:lnTo>
                  <a:lnTo>
                    <a:pt x="437" y="278"/>
                  </a:lnTo>
                  <a:lnTo>
                    <a:pt x="421" y="268"/>
                  </a:lnTo>
                  <a:lnTo>
                    <a:pt x="394" y="256"/>
                  </a:lnTo>
                  <a:lnTo>
                    <a:pt x="414" y="246"/>
                  </a:lnTo>
                  <a:lnTo>
                    <a:pt x="417" y="239"/>
                  </a:lnTo>
                  <a:lnTo>
                    <a:pt x="382" y="233"/>
                  </a:lnTo>
                  <a:lnTo>
                    <a:pt x="382" y="219"/>
                  </a:lnTo>
                  <a:lnTo>
                    <a:pt x="389" y="214"/>
                  </a:lnTo>
                  <a:lnTo>
                    <a:pt x="401" y="204"/>
                  </a:lnTo>
                  <a:lnTo>
                    <a:pt x="399" y="197"/>
                  </a:lnTo>
                  <a:lnTo>
                    <a:pt x="390" y="197"/>
                  </a:lnTo>
                  <a:lnTo>
                    <a:pt x="382" y="200"/>
                  </a:lnTo>
                  <a:lnTo>
                    <a:pt x="382" y="207"/>
                  </a:lnTo>
                  <a:lnTo>
                    <a:pt x="376" y="208"/>
                  </a:lnTo>
                  <a:lnTo>
                    <a:pt x="367" y="203"/>
                  </a:lnTo>
                  <a:lnTo>
                    <a:pt x="340" y="203"/>
                  </a:lnTo>
                  <a:lnTo>
                    <a:pt x="349" y="214"/>
                  </a:lnTo>
                  <a:lnTo>
                    <a:pt x="354" y="219"/>
                  </a:lnTo>
                  <a:lnTo>
                    <a:pt x="364" y="236"/>
                  </a:lnTo>
                  <a:lnTo>
                    <a:pt x="353" y="239"/>
                  </a:lnTo>
                  <a:lnTo>
                    <a:pt x="336" y="228"/>
                  </a:lnTo>
                  <a:lnTo>
                    <a:pt x="313" y="211"/>
                  </a:lnTo>
                  <a:lnTo>
                    <a:pt x="290" y="207"/>
                  </a:lnTo>
                  <a:lnTo>
                    <a:pt x="238" y="203"/>
                  </a:lnTo>
                  <a:lnTo>
                    <a:pt x="224" y="197"/>
                  </a:lnTo>
                  <a:lnTo>
                    <a:pt x="210" y="186"/>
                  </a:lnTo>
                  <a:lnTo>
                    <a:pt x="193" y="183"/>
                  </a:lnTo>
                  <a:lnTo>
                    <a:pt x="140" y="194"/>
                  </a:lnTo>
                  <a:lnTo>
                    <a:pt x="102" y="194"/>
                  </a:lnTo>
                  <a:lnTo>
                    <a:pt x="74" y="210"/>
                  </a:lnTo>
                  <a:lnTo>
                    <a:pt x="56" y="218"/>
                  </a:lnTo>
                  <a:lnTo>
                    <a:pt x="38" y="175"/>
                  </a:lnTo>
                  <a:lnTo>
                    <a:pt x="29" y="153"/>
                  </a:lnTo>
                  <a:lnTo>
                    <a:pt x="10" y="125"/>
                  </a:lnTo>
                  <a:lnTo>
                    <a:pt x="0" y="114"/>
                  </a:lnTo>
                  <a:lnTo>
                    <a:pt x="0" y="97"/>
                  </a:lnTo>
                  <a:lnTo>
                    <a:pt x="13" y="92"/>
                  </a:lnTo>
                  <a:lnTo>
                    <a:pt x="49" y="81"/>
                  </a:lnTo>
                  <a:lnTo>
                    <a:pt x="99" y="72"/>
                  </a:lnTo>
                  <a:lnTo>
                    <a:pt x="505" y="35"/>
                  </a:lnTo>
                  <a:lnTo>
                    <a:pt x="533" y="95"/>
                  </a:lnTo>
                  <a:lnTo>
                    <a:pt x="1036" y="64"/>
                  </a:lnTo>
                  <a:lnTo>
                    <a:pt x="1042" y="108"/>
                  </a:lnTo>
                  <a:lnTo>
                    <a:pt x="1077" y="108"/>
                  </a:lnTo>
                  <a:lnTo>
                    <a:pt x="1066" y="0"/>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5" name="Freeform 34"/>
            <p:cNvSpPr>
              <a:spLocks/>
            </p:cNvSpPr>
            <p:nvPr/>
          </p:nvSpPr>
          <p:spPr bwMode="auto">
            <a:xfrm>
              <a:off x="5199063" y="2862263"/>
              <a:ext cx="530225" cy="468312"/>
            </a:xfrm>
            <a:custGeom>
              <a:avLst/>
              <a:gdLst/>
              <a:ahLst/>
              <a:cxnLst>
                <a:cxn ang="0">
                  <a:pos x="969" y="808"/>
                </a:cxn>
                <a:cxn ang="0">
                  <a:pos x="940" y="802"/>
                </a:cxn>
                <a:cxn ang="0">
                  <a:pos x="880" y="765"/>
                </a:cxn>
                <a:cxn ang="0">
                  <a:pos x="836" y="734"/>
                </a:cxn>
                <a:cxn ang="0">
                  <a:pos x="854" y="713"/>
                </a:cxn>
                <a:cxn ang="0">
                  <a:pos x="915" y="705"/>
                </a:cxn>
                <a:cxn ang="0">
                  <a:pos x="891" y="647"/>
                </a:cxn>
                <a:cxn ang="0">
                  <a:pos x="810" y="670"/>
                </a:cxn>
                <a:cxn ang="0">
                  <a:pos x="814" y="654"/>
                </a:cxn>
                <a:cxn ang="0">
                  <a:pos x="851" y="623"/>
                </a:cxn>
                <a:cxn ang="0">
                  <a:pos x="825" y="544"/>
                </a:cxn>
                <a:cxn ang="0">
                  <a:pos x="464" y="450"/>
                </a:cxn>
                <a:cxn ang="0">
                  <a:pos x="464" y="402"/>
                </a:cxn>
                <a:cxn ang="0">
                  <a:pos x="476" y="347"/>
                </a:cxn>
                <a:cxn ang="0">
                  <a:pos x="495" y="319"/>
                </a:cxn>
                <a:cxn ang="0">
                  <a:pos x="533" y="233"/>
                </a:cxn>
                <a:cxn ang="0">
                  <a:pos x="547" y="198"/>
                </a:cxn>
                <a:cxn ang="0">
                  <a:pos x="563" y="128"/>
                </a:cxn>
                <a:cxn ang="0">
                  <a:pos x="535" y="76"/>
                </a:cxn>
                <a:cxn ang="0">
                  <a:pos x="519" y="49"/>
                </a:cxn>
                <a:cxn ang="0">
                  <a:pos x="533" y="11"/>
                </a:cxn>
                <a:cxn ang="0">
                  <a:pos x="0" y="255"/>
                </a:cxn>
                <a:cxn ang="0">
                  <a:pos x="59" y="351"/>
                </a:cxn>
                <a:cxn ang="0">
                  <a:pos x="74" y="409"/>
                </a:cxn>
                <a:cxn ang="0">
                  <a:pos x="74" y="518"/>
                </a:cxn>
                <a:cxn ang="0">
                  <a:pos x="50" y="600"/>
                </a:cxn>
                <a:cxn ang="0">
                  <a:pos x="50" y="718"/>
                </a:cxn>
                <a:cxn ang="0">
                  <a:pos x="80" y="744"/>
                </a:cxn>
                <a:cxn ang="0">
                  <a:pos x="136" y="737"/>
                </a:cxn>
                <a:cxn ang="0">
                  <a:pos x="243" y="765"/>
                </a:cxn>
                <a:cxn ang="0">
                  <a:pos x="399" y="780"/>
                </a:cxn>
                <a:cxn ang="0">
                  <a:pos x="428" y="759"/>
                </a:cxn>
                <a:cxn ang="0">
                  <a:pos x="382" y="749"/>
                </a:cxn>
                <a:cxn ang="0">
                  <a:pos x="422" y="727"/>
                </a:cxn>
                <a:cxn ang="0">
                  <a:pos x="532" y="780"/>
                </a:cxn>
                <a:cxn ang="0">
                  <a:pos x="539" y="824"/>
                </a:cxn>
                <a:cxn ang="0">
                  <a:pos x="610" y="854"/>
                </a:cxn>
                <a:cxn ang="0">
                  <a:pos x="665" y="847"/>
                </a:cxn>
                <a:cxn ang="0">
                  <a:pos x="726" y="822"/>
                </a:cxn>
                <a:cxn ang="0">
                  <a:pos x="779" y="840"/>
                </a:cxn>
                <a:cxn ang="0">
                  <a:pos x="779" y="774"/>
                </a:cxn>
                <a:cxn ang="0">
                  <a:pos x="828" y="806"/>
                </a:cxn>
                <a:cxn ang="0">
                  <a:pos x="923" y="847"/>
                </a:cxn>
                <a:cxn ang="0">
                  <a:pos x="930" y="887"/>
                </a:cxn>
                <a:cxn ang="0">
                  <a:pos x="962" y="867"/>
                </a:cxn>
                <a:cxn ang="0">
                  <a:pos x="994" y="847"/>
                </a:cxn>
              </a:cxnLst>
              <a:rect l="0" t="0" r="r" b="b"/>
              <a:pathLst>
                <a:path w="1002" h="887">
                  <a:moveTo>
                    <a:pt x="991" y="820"/>
                  </a:moveTo>
                  <a:lnTo>
                    <a:pt x="983" y="812"/>
                  </a:lnTo>
                  <a:lnTo>
                    <a:pt x="969" y="808"/>
                  </a:lnTo>
                  <a:lnTo>
                    <a:pt x="961" y="808"/>
                  </a:lnTo>
                  <a:lnTo>
                    <a:pt x="950" y="808"/>
                  </a:lnTo>
                  <a:lnTo>
                    <a:pt x="940" y="802"/>
                  </a:lnTo>
                  <a:lnTo>
                    <a:pt x="915" y="788"/>
                  </a:lnTo>
                  <a:lnTo>
                    <a:pt x="903" y="781"/>
                  </a:lnTo>
                  <a:lnTo>
                    <a:pt x="880" y="765"/>
                  </a:lnTo>
                  <a:lnTo>
                    <a:pt x="866" y="755"/>
                  </a:lnTo>
                  <a:lnTo>
                    <a:pt x="853" y="747"/>
                  </a:lnTo>
                  <a:lnTo>
                    <a:pt x="836" y="734"/>
                  </a:lnTo>
                  <a:lnTo>
                    <a:pt x="828" y="727"/>
                  </a:lnTo>
                  <a:lnTo>
                    <a:pt x="840" y="719"/>
                  </a:lnTo>
                  <a:lnTo>
                    <a:pt x="854" y="713"/>
                  </a:lnTo>
                  <a:lnTo>
                    <a:pt x="880" y="713"/>
                  </a:lnTo>
                  <a:lnTo>
                    <a:pt x="887" y="705"/>
                  </a:lnTo>
                  <a:lnTo>
                    <a:pt x="915" y="705"/>
                  </a:lnTo>
                  <a:lnTo>
                    <a:pt x="922" y="695"/>
                  </a:lnTo>
                  <a:lnTo>
                    <a:pt x="905" y="665"/>
                  </a:lnTo>
                  <a:lnTo>
                    <a:pt x="891" y="647"/>
                  </a:lnTo>
                  <a:lnTo>
                    <a:pt x="884" y="647"/>
                  </a:lnTo>
                  <a:lnTo>
                    <a:pt x="830" y="668"/>
                  </a:lnTo>
                  <a:lnTo>
                    <a:pt x="810" y="670"/>
                  </a:lnTo>
                  <a:lnTo>
                    <a:pt x="796" y="672"/>
                  </a:lnTo>
                  <a:lnTo>
                    <a:pt x="797" y="663"/>
                  </a:lnTo>
                  <a:lnTo>
                    <a:pt x="814" y="654"/>
                  </a:lnTo>
                  <a:lnTo>
                    <a:pt x="832" y="647"/>
                  </a:lnTo>
                  <a:lnTo>
                    <a:pt x="848" y="636"/>
                  </a:lnTo>
                  <a:lnTo>
                    <a:pt x="851" y="623"/>
                  </a:lnTo>
                  <a:lnTo>
                    <a:pt x="851" y="605"/>
                  </a:lnTo>
                  <a:lnTo>
                    <a:pt x="841" y="563"/>
                  </a:lnTo>
                  <a:lnTo>
                    <a:pt x="825" y="544"/>
                  </a:lnTo>
                  <a:lnTo>
                    <a:pt x="811" y="520"/>
                  </a:lnTo>
                  <a:lnTo>
                    <a:pt x="816" y="436"/>
                  </a:lnTo>
                  <a:lnTo>
                    <a:pt x="464" y="450"/>
                  </a:lnTo>
                  <a:lnTo>
                    <a:pt x="457" y="429"/>
                  </a:lnTo>
                  <a:lnTo>
                    <a:pt x="458" y="412"/>
                  </a:lnTo>
                  <a:lnTo>
                    <a:pt x="464" y="402"/>
                  </a:lnTo>
                  <a:lnTo>
                    <a:pt x="476" y="387"/>
                  </a:lnTo>
                  <a:lnTo>
                    <a:pt x="476" y="361"/>
                  </a:lnTo>
                  <a:lnTo>
                    <a:pt x="476" y="347"/>
                  </a:lnTo>
                  <a:lnTo>
                    <a:pt x="481" y="336"/>
                  </a:lnTo>
                  <a:lnTo>
                    <a:pt x="489" y="326"/>
                  </a:lnTo>
                  <a:lnTo>
                    <a:pt x="495" y="319"/>
                  </a:lnTo>
                  <a:lnTo>
                    <a:pt x="497" y="278"/>
                  </a:lnTo>
                  <a:lnTo>
                    <a:pt x="510" y="269"/>
                  </a:lnTo>
                  <a:lnTo>
                    <a:pt x="533" y="233"/>
                  </a:lnTo>
                  <a:lnTo>
                    <a:pt x="539" y="222"/>
                  </a:lnTo>
                  <a:lnTo>
                    <a:pt x="535" y="198"/>
                  </a:lnTo>
                  <a:lnTo>
                    <a:pt x="547" y="198"/>
                  </a:lnTo>
                  <a:lnTo>
                    <a:pt x="563" y="185"/>
                  </a:lnTo>
                  <a:lnTo>
                    <a:pt x="567" y="147"/>
                  </a:lnTo>
                  <a:lnTo>
                    <a:pt x="563" y="128"/>
                  </a:lnTo>
                  <a:lnTo>
                    <a:pt x="540" y="115"/>
                  </a:lnTo>
                  <a:lnTo>
                    <a:pt x="540" y="104"/>
                  </a:lnTo>
                  <a:lnTo>
                    <a:pt x="535" y="76"/>
                  </a:lnTo>
                  <a:lnTo>
                    <a:pt x="539" y="68"/>
                  </a:lnTo>
                  <a:lnTo>
                    <a:pt x="533" y="61"/>
                  </a:lnTo>
                  <a:lnTo>
                    <a:pt x="519" y="49"/>
                  </a:lnTo>
                  <a:lnTo>
                    <a:pt x="535" y="39"/>
                  </a:lnTo>
                  <a:lnTo>
                    <a:pt x="539" y="26"/>
                  </a:lnTo>
                  <a:lnTo>
                    <a:pt x="533" y="11"/>
                  </a:lnTo>
                  <a:lnTo>
                    <a:pt x="519" y="0"/>
                  </a:lnTo>
                  <a:lnTo>
                    <a:pt x="0" y="14"/>
                  </a:lnTo>
                  <a:lnTo>
                    <a:pt x="0" y="255"/>
                  </a:lnTo>
                  <a:lnTo>
                    <a:pt x="37" y="291"/>
                  </a:lnTo>
                  <a:lnTo>
                    <a:pt x="37" y="301"/>
                  </a:lnTo>
                  <a:lnTo>
                    <a:pt x="59" y="351"/>
                  </a:lnTo>
                  <a:lnTo>
                    <a:pt x="68" y="364"/>
                  </a:lnTo>
                  <a:lnTo>
                    <a:pt x="68" y="396"/>
                  </a:lnTo>
                  <a:lnTo>
                    <a:pt x="74" y="409"/>
                  </a:lnTo>
                  <a:lnTo>
                    <a:pt x="82" y="455"/>
                  </a:lnTo>
                  <a:lnTo>
                    <a:pt x="89" y="487"/>
                  </a:lnTo>
                  <a:lnTo>
                    <a:pt x="74" y="518"/>
                  </a:lnTo>
                  <a:lnTo>
                    <a:pt x="56" y="558"/>
                  </a:lnTo>
                  <a:lnTo>
                    <a:pt x="55" y="576"/>
                  </a:lnTo>
                  <a:lnTo>
                    <a:pt x="50" y="600"/>
                  </a:lnTo>
                  <a:lnTo>
                    <a:pt x="64" y="644"/>
                  </a:lnTo>
                  <a:lnTo>
                    <a:pt x="66" y="661"/>
                  </a:lnTo>
                  <a:lnTo>
                    <a:pt x="50" y="718"/>
                  </a:lnTo>
                  <a:lnTo>
                    <a:pt x="35" y="744"/>
                  </a:lnTo>
                  <a:lnTo>
                    <a:pt x="55" y="744"/>
                  </a:lnTo>
                  <a:lnTo>
                    <a:pt x="80" y="744"/>
                  </a:lnTo>
                  <a:lnTo>
                    <a:pt x="99" y="737"/>
                  </a:lnTo>
                  <a:lnTo>
                    <a:pt x="116" y="737"/>
                  </a:lnTo>
                  <a:lnTo>
                    <a:pt x="136" y="737"/>
                  </a:lnTo>
                  <a:lnTo>
                    <a:pt x="188" y="744"/>
                  </a:lnTo>
                  <a:lnTo>
                    <a:pt x="216" y="751"/>
                  </a:lnTo>
                  <a:lnTo>
                    <a:pt x="243" y="765"/>
                  </a:lnTo>
                  <a:lnTo>
                    <a:pt x="282" y="780"/>
                  </a:lnTo>
                  <a:lnTo>
                    <a:pt x="349" y="780"/>
                  </a:lnTo>
                  <a:lnTo>
                    <a:pt x="399" y="780"/>
                  </a:lnTo>
                  <a:lnTo>
                    <a:pt x="433" y="780"/>
                  </a:lnTo>
                  <a:lnTo>
                    <a:pt x="440" y="772"/>
                  </a:lnTo>
                  <a:lnTo>
                    <a:pt x="428" y="759"/>
                  </a:lnTo>
                  <a:lnTo>
                    <a:pt x="403" y="759"/>
                  </a:lnTo>
                  <a:lnTo>
                    <a:pt x="393" y="759"/>
                  </a:lnTo>
                  <a:lnTo>
                    <a:pt x="382" y="749"/>
                  </a:lnTo>
                  <a:lnTo>
                    <a:pt x="386" y="737"/>
                  </a:lnTo>
                  <a:lnTo>
                    <a:pt x="399" y="727"/>
                  </a:lnTo>
                  <a:lnTo>
                    <a:pt x="422" y="727"/>
                  </a:lnTo>
                  <a:lnTo>
                    <a:pt x="461" y="741"/>
                  </a:lnTo>
                  <a:lnTo>
                    <a:pt x="499" y="772"/>
                  </a:lnTo>
                  <a:lnTo>
                    <a:pt x="532" y="780"/>
                  </a:lnTo>
                  <a:lnTo>
                    <a:pt x="557" y="769"/>
                  </a:lnTo>
                  <a:lnTo>
                    <a:pt x="550" y="791"/>
                  </a:lnTo>
                  <a:lnTo>
                    <a:pt x="539" y="824"/>
                  </a:lnTo>
                  <a:lnTo>
                    <a:pt x="550" y="836"/>
                  </a:lnTo>
                  <a:lnTo>
                    <a:pt x="581" y="854"/>
                  </a:lnTo>
                  <a:lnTo>
                    <a:pt x="610" y="854"/>
                  </a:lnTo>
                  <a:lnTo>
                    <a:pt x="632" y="867"/>
                  </a:lnTo>
                  <a:lnTo>
                    <a:pt x="653" y="867"/>
                  </a:lnTo>
                  <a:lnTo>
                    <a:pt x="665" y="847"/>
                  </a:lnTo>
                  <a:lnTo>
                    <a:pt x="686" y="822"/>
                  </a:lnTo>
                  <a:lnTo>
                    <a:pt x="703" y="816"/>
                  </a:lnTo>
                  <a:lnTo>
                    <a:pt x="726" y="822"/>
                  </a:lnTo>
                  <a:lnTo>
                    <a:pt x="747" y="852"/>
                  </a:lnTo>
                  <a:lnTo>
                    <a:pt x="771" y="852"/>
                  </a:lnTo>
                  <a:lnTo>
                    <a:pt x="779" y="840"/>
                  </a:lnTo>
                  <a:lnTo>
                    <a:pt x="769" y="798"/>
                  </a:lnTo>
                  <a:lnTo>
                    <a:pt x="769" y="783"/>
                  </a:lnTo>
                  <a:lnTo>
                    <a:pt x="779" y="774"/>
                  </a:lnTo>
                  <a:lnTo>
                    <a:pt x="804" y="774"/>
                  </a:lnTo>
                  <a:lnTo>
                    <a:pt x="828" y="783"/>
                  </a:lnTo>
                  <a:lnTo>
                    <a:pt x="828" y="806"/>
                  </a:lnTo>
                  <a:lnTo>
                    <a:pt x="865" y="811"/>
                  </a:lnTo>
                  <a:lnTo>
                    <a:pt x="903" y="827"/>
                  </a:lnTo>
                  <a:lnTo>
                    <a:pt x="923" y="847"/>
                  </a:lnTo>
                  <a:lnTo>
                    <a:pt x="915" y="859"/>
                  </a:lnTo>
                  <a:lnTo>
                    <a:pt x="911" y="887"/>
                  </a:lnTo>
                  <a:lnTo>
                    <a:pt x="930" y="887"/>
                  </a:lnTo>
                  <a:lnTo>
                    <a:pt x="937" y="866"/>
                  </a:lnTo>
                  <a:lnTo>
                    <a:pt x="951" y="855"/>
                  </a:lnTo>
                  <a:lnTo>
                    <a:pt x="962" y="867"/>
                  </a:lnTo>
                  <a:lnTo>
                    <a:pt x="971" y="874"/>
                  </a:lnTo>
                  <a:lnTo>
                    <a:pt x="980" y="860"/>
                  </a:lnTo>
                  <a:lnTo>
                    <a:pt x="994" y="847"/>
                  </a:lnTo>
                  <a:lnTo>
                    <a:pt x="1002" y="837"/>
                  </a:lnTo>
                  <a:lnTo>
                    <a:pt x="991" y="820"/>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6" name="Freeform 35"/>
            <p:cNvSpPr>
              <a:spLocks/>
            </p:cNvSpPr>
            <p:nvPr/>
          </p:nvSpPr>
          <p:spPr bwMode="auto">
            <a:xfrm>
              <a:off x="5135563" y="2441575"/>
              <a:ext cx="473075" cy="427037"/>
            </a:xfrm>
            <a:custGeom>
              <a:avLst/>
              <a:gdLst/>
              <a:ahLst/>
              <a:cxnLst>
                <a:cxn ang="0">
                  <a:pos x="34" y="678"/>
                </a:cxn>
                <a:cxn ang="0">
                  <a:pos x="19" y="665"/>
                </a:cxn>
                <a:cxn ang="0">
                  <a:pos x="37" y="679"/>
                </a:cxn>
                <a:cxn ang="0">
                  <a:pos x="51" y="685"/>
                </a:cxn>
                <a:cxn ang="0">
                  <a:pos x="64" y="676"/>
                </a:cxn>
                <a:cxn ang="0">
                  <a:pos x="120" y="682"/>
                </a:cxn>
                <a:cxn ang="0">
                  <a:pos x="120" y="807"/>
                </a:cxn>
                <a:cxn ang="0">
                  <a:pos x="639" y="793"/>
                </a:cxn>
                <a:cxn ang="0">
                  <a:pos x="641" y="794"/>
                </a:cxn>
                <a:cxn ang="0">
                  <a:pos x="653" y="765"/>
                </a:cxn>
                <a:cxn ang="0">
                  <a:pos x="658" y="749"/>
                </a:cxn>
                <a:cxn ang="0">
                  <a:pos x="649" y="733"/>
                </a:cxn>
                <a:cxn ang="0">
                  <a:pos x="651" y="701"/>
                </a:cxn>
                <a:cxn ang="0">
                  <a:pos x="653" y="687"/>
                </a:cxn>
                <a:cxn ang="0">
                  <a:pos x="644" y="672"/>
                </a:cxn>
                <a:cxn ang="0">
                  <a:pos x="635" y="667"/>
                </a:cxn>
                <a:cxn ang="0">
                  <a:pos x="635" y="653"/>
                </a:cxn>
                <a:cxn ang="0">
                  <a:pos x="642" y="646"/>
                </a:cxn>
                <a:cxn ang="0">
                  <a:pos x="639" y="638"/>
                </a:cxn>
                <a:cxn ang="0">
                  <a:pos x="645" y="619"/>
                </a:cxn>
                <a:cxn ang="0">
                  <a:pos x="663" y="603"/>
                </a:cxn>
                <a:cxn ang="0">
                  <a:pos x="669" y="603"/>
                </a:cxn>
                <a:cxn ang="0">
                  <a:pos x="667" y="586"/>
                </a:cxn>
                <a:cxn ang="0">
                  <a:pos x="673" y="565"/>
                </a:cxn>
                <a:cxn ang="0">
                  <a:pos x="683" y="551"/>
                </a:cxn>
                <a:cxn ang="0">
                  <a:pos x="677" y="546"/>
                </a:cxn>
                <a:cxn ang="0">
                  <a:pos x="680" y="522"/>
                </a:cxn>
                <a:cxn ang="0">
                  <a:pos x="699" y="506"/>
                </a:cxn>
                <a:cxn ang="0">
                  <a:pos x="727" y="472"/>
                </a:cxn>
                <a:cxn ang="0">
                  <a:pos x="742" y="449"/>
                </a:cxn>
                <a:cxn ang="0">
                  <a:pos x="739" y="427"/>
                </a:cxn>
                <a:cxn ang="0">
                  <a:pos x="749" y="396"/>
                </a:cxn>
                <a:cxn ang="0">
                  <a:pos x="760" y="396"/>
                </a:cxn>
                <a:cxn ang="0">
                  <a:pos x="767" y="386"/>
                </a:cxn>
                <a:cxn ang="0">
                  <a:pos x="773" y="370"/>
                </a:cxn>
                <a:cxn ang="0">
                  <a:pos x="789" y="359"/>
                </a:cxn>
                <a:cxn ang="0">
                  <a:pos x="803" y="346"/>
                </a:cxn>
                <a:cxn ang="0">
                  <a:pos x="800" y="331"/>
                </a:cxn>
                <a:cxn ang="0">
                  <a:pos x="809" y="320"/>
                </a:cxn>
                <a:cxn ang="0">
                  <a:pos x="823" y="296"/>
                </a:cxn>
                <a:cxn ang="0">
                  <a:pos x="821" y="263"/>
                </a:cxn>
                <a:cxn ang="0">
                  <a:pos x="823" y="236"/>
                </a:cxn>
                <a:cxn ang="0">
                  <a:pos x="838" y="214"/>
                </a:cxn>
                <a:cxn ang="0">
                  <a:pos x="857" y="200"/>
                </a:cxn>
                <a:cxn ang="0">
                  <a:pos x="859" y="193"/>
                </a:cxn>
                <a:cxn ang="0">
                  <a:pos x="862" y="182"/>
                </a:cxn>
                <a:cxn ang="0">
                  <a:pos x="863" y="159"/>
                </a:cxn>
                <a:cxn ang="0">
                  <a:pos x="874" y="155"/>
                </a:cxn>
                <a:cxn ang="0">
                  <a:pos x="887" y="139"/>
                </a:cxn>
                <a:cxn ang="0">
                  <a:pos x="891" y="132"/>
                </a:cxn>
                <a:cxn ang="0">
                  <a:pos x="895" y="123"/>
                </a:cxn>
                <a:cxn ang="0">
                  <a:pos x="895" y="103"/>
                </a:cxn>
                <a:cxn ang="0">
                  <a:pos x="759" y="113"/>
                </a:cxn>
                <a:cxn ang="0">
                  <a:pos x="812" y="32"/>
                </a:cxn>
                <a:cxn ang="0">
                  <a:pos x="806" y="0"/>
                </a:cxn>
                <a:cxn ang="0">
                  <a:pos x="0" y="20"/>
                </a:cxn>
                <a:cxn ang="0">
                  <a:pos x="39" y="257"/>
                </a:cxn>
                <a:cxn ang="0">
                  <a:pos x="34" y="678"/>
                </a:cxn>
              </a:cxnLst>
              <a:rect l="0" t="0" r="r" b="b"/>
              <a:pathLst>
                <a:path w="895" h="807">
                  <a:moveTo>
                    <a:pt x="34" y="678"/>
                  </a:moveTo>
                  <a:lnTo>
                    <a:pt x="19" y="665"/>
                  </a:lnTo>
                  <a:lnTo>
                    <a:pt x="37" y="679"/>
                  </a:lnTo>
                  <a:lnTo>
                    <a:pt x="51" y="685"/>
                  </a:lnTo>
                  <a:lnTo>
                    <a:pt x="64" y="676"/>
                  </a:lnTo>
                  <a:lnTo>
                    <a:pt x="120" y="682"/>
                  </a:lnTo>
                  <a:lnTo>
                    <a:pt x="120" y="807"/>
                  </a:lnTo>
                  <a:lnTo>
                    <a:pt x="639" y="793"/>
                  </a:lnTo>
                  <a:lnTo>
                    <a:pt x="641" y="794"/>
                  </a:lnTo>
                  <a:lnTo>
                    <a:pt x="653" y="765"/>
                  </a:lnTo>
                  <a:lnTo>
                    <a:pt x="658" y="749"/>
                  </a:lnTo>
                  <a:lnTo>
                    <a:pt x="649" y="733"/>
                  </a:lnTo>
                  <a:lnTo>
                    <a:pt x="651" y="701"/>
                  </a:lnTo>
                  <a:lnTo>
                    <a:pt x="653" y="687"/>
                  </a:lnTo>
                  <a:lnTo>
                    <a:pt x="644" y="672"/>
                  </a:lnTo>
                  <a:lnTo>
                    <a:pt x="635" y="667"/>
                  </a:lnTo>
                  <a:lnTo>
                    <a:pt x="635" y="653"/>
                  </a:lnTo>
                  <a:lnTo>
                    <a:pt x="642" y="646"/>
                  </a:lnTo>
                  <a:lnTo>
                    <a:pt x="639" y="638"/>
                  </a:lnTo>
                  <a:lnTo>
                    <a:pt x="645" y="619"/>
                  </a:lnTo>
                  <a:lnTo>
                    <a:pt x="663" y="603"/>
                  </a:lnTo>
                  <a:lnTo>
                    <a:pt x="669" y="603"/>
                  </a:lnTo>
                  <a:lnTo>
                    <a:pt x="667" y="586"/>
                  </a:lnTo>
                  <a:lnTo>
                    <a:pt x="673" y="565"/>
                  </a:lnTo>
                  <a:lnTo>
                    <a:pt x="683" y="551"/>
                  </a:lnTo>
                  <a:lnTo>
                    <a:pt x="677" y="546"/>
                  </a:lnTo>
                  <a:lnTo>
                    <a:pt x="680" y="522"/>
                  </a:lnTo>
                  <a:lnTo>
                    <a:pt x="699" y="506"/>
                  </a:lnTo>
                  <a:lnTo>
                    <a:pt x="727" y="472"/>
                  </a:lnTo>
                  <a:lnTo>
                    <a:pt x="742" y="449"/>
                  </a:lnTo>
                  <a:lnTo>
                    <a:pt x="739" y="427"/>
                  </a:lnTo>
                  <a:lnTo>
                    <a:pt x="749" y="396"/>
                  </a:lnTo>
                  <a:lnTo>
                    <a:pt x="760" y="396"/>
                  </a:lnTo>
                  <a:lnTo>
                    <a:pt x="767" y="386"/>
                  </a:lnTo>
                  <a:lnTo>
                    <a:pt x="773" y="370"/>
                  </a:lnTo>
                  <a:lnTo>
                    <a:pt x="789" y="359"/>
                  </a:lnTo>
                  <a:lnTo>
                    <a:pt x="803" y="346"/>
                  </a:lnTo>
                  <a:lnTo>
                    <a:pt x="800" y="331"/>
                  </a:lnTo>
                  <a:lnTo>
                    <a:pt x="809" y="320"/>
                  </a:lnTo>
                  <a:lnTo>
                    <a:pt x="823" y="296"/>
                  </a:lnTo>
                  <a:lnTo>
                    <a:pt x="821" y="263"/>
                  </a:lnTo>
                  <a:lnTo>
                    <a:pt x="823" y="236"/>
                  </a:lnTo>
                  <a:lnTo>
                    <a:pt x="838" y="214"/>
                  </a:lnTo>
                  <a:lnTo>
                    <a:pt x="857" y="200"/>
                  </a:lnTo>
                  <a:lnTo>
                    <a:pt x="859" y="193"/>
                  </a:lnTo>
                  <a:lnTo>
                    <a:pt x="862" y="182"/>
                  </a:lnTo>
                  <a:lnTo>
                    <a:pt x="863" y="159"/>
                  </a:lnTo>
                  <a:lnTo>
                    <a:pt x="874" y="155"/>
                  </a:lnTo>
                  <a:lnTo>
                    <a:pt x="887" y="139"/>
                  </a:lnTo>
                  <a:lnTo>
                    <a:pt x="891" y="132"/>
                  </a:lnTo>
                  <a:lnTo>
                    <a:pt x="895" y="123"/>
                  </a:lnTo>
                  <a:lnTo>
                    <a:pt x="895" y="103"/>
                  </a:lnTo>
                  <a:lnTo>
                    <a:pt x="759" y="113"/>
                  </a:lnTo>
                  <a:lnTo>
                    <a:pt x="812" y="32"/>
                  </a:lnTo>
                  <a:lnTo>
                    <a:pt x="806" y="0"/>
                  </a:lnTo>
                  <a:lnTo>
                    <a:pt x="0" y="20"/>
                  </a:lnTo>
                  <a:lnTo>
                    <a:pt x="39" y="257"/>
                  </a:lnTo>
                  <a:lnTo>
                    <a:pt x="34" y="678"/>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7" name="Freeform 36"/>
            <p:cNvSpPr>
              <a:spLocks/>
            </p:cNvSpPr>
            <p:nvPr/>
          </p:nvSpPr>
          <p:spPr bwMode="auto">
            <a:xfrm>
              <a:off x="5559425" y="2354263"/>
              <a:ext cx="803275" cy="263525"/>
            </a:xfrm>
            <a:custGeom>
              <a:avLst/>
              <a:gdLst/>
              <a:ahLst/>
              <a:cxnLst>
                <a:cxn ang="0">
                  <a:pos x="898" y="66"/>
                </a:cxn>
                <a:cxn ang="0">
                  <a:pos x="388" y="96"/>
                </a:cxn>
                <a:cxn ang="0">
                  <a:pos x="395" y="143"/>
                </a:cxn>
                <a:cxn ang="0">
                  <a:pos x="123" y="147"/>
                </a:cxn>
                <a:cxn ang="0">
                  <a:pos x="114" y="153"/>
                </a:cxn>
                <a:cxn ang="0">
                  <a:pos x="111" y="165"/>
                </a:cxn>
                <a:cxn ang="0">
                  <a:pos x="114" y="179"/>
                </a:cxn>
                <a:cxn ang="0">
                  <a:pos x="110" y="195"/>
                </a:cxn>
                <a:cxn ang="0">
                  <a:pos x="100" y="200"/>
                </a:cxn>
                <a:cxn ang="0">
                  <a:pos x="95" y="210"/>
                </a:cxn>
                <a:cxn ang="0">
                  <a:pos x="100" y="214"/>
                </a:cxn>
                <a:cxn ang="0">
                  <a:pos x="100" y="214"/>
                </a:cxn>
                <a:cxn ang="0">
                  <a:pos x="110" y="232"/>
                </a:cxn>
                <a:cxn ang="0">
                  <a:pos x="110" y="232"/>
                </a:cxn>
                <a:cxn ang="0">
                  <a:pos x="110" y="236"/>
                </a:cxn>
                <a:cxn ang="0">
                  <a:pos x="107" y="239"/>
                </a:cxn>
                <a:cxn ang="0">
                  <a:pos x="103" y="243"/>
                </a:cxn>
                <a:cxn ang="0">
                  <a:pos x="95" y="254"/>
                </a:cxn>
                <a:cxn ang="0">
                  <a:pos x="92" y="268"/>
                </a:cxn>
                <a:cxn ang="0">
                  <a:pos x="95" y="268"/>
                </a:cxn>
                <a:cxn ang="0">
                  <a:pos x="95" y="288"/>
                </a:cxn>
                <a:cxn ang="0">
                  <a:pos x="91" y="297"/>
                </a:cxn>
                <a:cxn ang="0">
                  <a:pos x="87" y="304"/>
                </a:cxn>
                <a:cxn ang="0">
                  <a:pos x="74" y="320"/>
                </a:cxn>
                <a:cxn ang="0">
                  <a:pos x="63" y="324"/>
                </a:cxn>
                <a:cxn ang="0">
                  <a:pos x="62" y="347"/>
                </a:cxn>
                <a:cxn ang="0">
                  <a:pos x="59" y="358"/>
                </a:cxn>
                <a:cxn ang="0">
                  <a:pos x="57" y="365"/>
                </a:cxn>
                <a:cxn ang="0">
                  <a:pos x="38" y="379"/>
                </a:cxn>
                <a:cxn ang="0">
                  <a:pos x="23" y="401"/>
                </a:cxn>
                <a:cxn ang="0">
                  <a:pos x="21" y="428"/>
                </a:cxn>
                <a:cxn ang="0">
                  <a:pos x="23" y="461"/>
                </a:cxn>
                <a:cxn ang="0">
                  <a:pos x="9" y="485"/>
                </a:cxn>
                <a:cxn ang="0">
                  <a:pos x="0" y="496"/>
                </a:cxn>
                <a:cxn ang="0">
                  <a:pos x="0" y="497"/>
                </a:cxn>
                <a:cxn ang="0">
                  <a:pos x="1083" y="414"/>
                </a:cxn>
                <a:cxn ang="0">
                  <a:pos x="1083" y="411"/>
                </a:cxn>
                <a:cxn ang="0">
                  <a:pos x="1083" y="407"/>
                </a:cxn>
                <a:cxn ang="0">
                  <a:pos x="1084" y="379"/>
                </a:cxn>
                <a:cxn ang="0">
                  <a:pos x="1086" y="367"/>
                </a:cxn>
                <a:cxn ang="0">
                  <a:pos x="1105" y="347"/>
                </a:cxn>
                <a:cxn ang="0">
                  <a:pos x="1120" y="347"/>
                </a:cxn>
                <a:cxn ang="0">
                  <a:pos x="1136" y="333"/>
                </a:cxn>
                <a:cxn ang="0">
                  <a:pos x="1133" y="317"/>
                </a:cxn>
                <a:cxn ang="0">
                  <a:pos x="1147" y="297"/>
                </a:cxn>
                <a:cxn ang="0">
                  <a:pos x="1304" y="203"/>
                </a:cxn>
                <a:cxn ang="0">
                  <a:pos x="1327" y="189"/>
                </a:cxn>
                <a:cxn ang="0">
                  <a:pos x="1337" y="172"/>
                </a:cxn>
                <a:cxn ang="0">
                  <a:pos x="1355" y="143"/>
                </a:cxn>
                <a:cxn ang="0">
                  <a:pos x="1367" y="142"/>
                </a:cxn>
                <a:cxn ang="0">
                  <a:pos x="1381" y="163"/>
                </a:cxn>
                <a:cxn ang="0">
                  <a:pos x="1402" y="143"/>
                </a:cxn>
                <a:cxn ang="0">
                  <a:pos x="1427" y="115"/>
                </a:cxn>
                <a:cxn ang="0">
                  <a:pos x="1478" y="106"/>
                </a:cxn>
                <a:cxn ang="0">
                  <a:pos x="1481" y="86"/>
                </a:cxn>
                <a:cxn ang="0">
                  <a:pos x="1496" y="63"/>
                </a:cxn>
                <a:cxn ang="0">
                  <a:pos x="1513" y="53"/>
                </a:cxn>
                <a:cxn ang="0">
                  <a:pos x="1520" y="56"/>
                </a:cxn>
                <a:cxn ang="0">
                  <a:pos x="1520" y="0"/>
                </a:cxn>
                <a:cxn ang="0">
                  <a:pos x="898" y="66"/>
                </a:cxn>
              </a:cxnLst>
              <a:rect l="0" t="0" r="r" b="b"/>
              <a:pathLst>
                <a:path w="1520" h="497">
                  <a:moveTo>
                    <a:pt x="898" y="66"/>
                  </a:moveTo>
                  <a:lnTo>
                    <a:pt x="388" y="96"/>
                  </a:lnTo>
                  <a:lnTo>
                    <a:pt x="395" y="143"/>
                  </a:lnTo>
                  <a:lnTo>
                    <a:pt x="123" y="147"/>
                  </a:lnTo>
                  <a:lnTo>
                    <a:pt x="114" y="153"/>
                  </a:lnTo>
                  <a:lnTo>
                    <a:pt x="111" y="165"/>
                  </a:lnTo>
                  <a:lnTo>
                    <a:pt x="114" y="179"/>
                  </a:lnTo>
                  <a:lnTo>
                    <a:pt x="110" y="195"/>
                  </a:lnTo>
                  <a:lnTo>
                    <a:pt x="100" y="200"/>
                  </a:lnTo>
                  <a:lnTo>
                    <a:pt x="95" y="210"/>
                  </a:lnTo>
                  <a:lnTo>
                    <a:pt x="100" y="214"/>
                  </a:lnTo>
                  <a:lnTo>
                    <a:pt x="100" y="214"/>
                  </a:lnTo>
                  <a:lnTo>
                    <a:pt x="110" y="232"/>
                  </a:lnTo>
                  <a:lnTo>
                    <a:pt x="110" y="232"/>
                  </a:lnTo>
                  <a:lnTo>
                    <a:pt x="110" y="236"/>
                  </a:lnTo>
                  <a:lnTo>
                    <a:pt x="107" y="239"/>
                  </a:lnTo>
                  <a:lnTo>
                    <a:pt x="103" y="243"/>
                  </a:lnTo>
                  <a:lnTo>
                    <a:pt x="95" y="254"/>
                  </a:lnTo>
                  <a:lnTo>
                    <a:pt x="92" y="268"/>
                  </a:lnTo>
                  <a:lnTo>
                    <a:pt x="95" y="268"/>
                  </a:lnTo>
                  <a:lnTo>
                    <a:pt x="95" y="288"/>
                  </a:lnTo>
                  <a:lnTo>
                    <a:pt x="91" y="297"/>
                  </a:lnTo>
                  <a:lnTo>
                    <a:pt x="87" y="304"/>
                  </a:lnTo>
                  <a:lnTo>
                    <a:pt x="74" y="320"/>
                  </a:lnTo>
                  <a:lnTo>
                    <a:pt x="63" y="324"/>
                  </a:lnTo>
                  <a:lnTo>
                    <a:pt x="62" y="347"/>
                  </a:lnTo>
                  <a:lnTo>
                    <a:pt x="59" y="358"/>
                  </a:lnTo>
                  <a:lnTo>
                    <a:pt x="57" y="365"/>
                  </a:lnTo>
                  <a:lnTo>
                    <a:pt x="38" y="379"/>
                  </a:lnTo>
                  <a:lnTo>
                    <a:pt x="23" y="401"/>
                  </a:lnTo>
                  <a:lnTo>
                    <a:pt x="21" y="428"/>
                  </a:lnTo>
                  <a:lnTo>
                    <a:pt x="23" y="461"/>
                  </a:lnTo>
                  <a:lnTo>
                    <a:pt x="9" y="485"/>
                  </a:lnTo>
                  <a:lnTo>
                    <a:pt x="0" y="496"/>
                  </a:lnTo>
                  <a:lnTo>
                    <a:pt x="0" y="497"/>
                  </a:lnTo>
                  <a:lnTo>
                    <a:pt x="1083" y="414"/>
                  </a:lnTo>
                  <a:lnTo>
                    <a:pt x="1083" y="411"/>
                  </a:lnTo>
                  <a:lnTo>
                    <a:pt x="1083" y="407"/>
                  </a:lnTo>
                  <a:lnTo>
                    <a:pt x="1084" y="379"/>
                  </a:lnTo>
                  <a:lnTo>
                    <a:pt x="1086" y="367"/>
                  </a:lnTo>
                  <a:lnTo>
                    <a:pt x="1105" y="347"/>
                  </a:lnTo>
                  <a:lnTo>
                    <a:pt x="1120" y="347"/>
                  </a:lnTo>
                  <a:lnTo>
                    <a:pt x="1136" y="333"/>
                  </a:lnTo>
                  <a:lnTo>
                    <a:pt x="1133" y="317"/>
                  </a:lnTo>
                  <a:lnTo>
                    <a:pt x="1147" y="297"/>
                  </a:lnTo>
                  <a:lnTo>
                    <a:pt x="1304" y="203"/>
                  </a:lnTo>
                  <a:lnTo>
                    <a:pt x="1327" y="189"/>
                  </a:lnTo>
                  <a:lnTo>
                    <a:pt x="1337" y="172"/>
                  </a:lnTo>
                  <a:lnTo>
                    <a:pt x="1355" y="143"/>
                  </a:lnTo>
                  <a:lnTo>
                    <a:pt x="1367" y="142"/>
                  </a:lnTo>
                  <a:lnTo>
                    <a:pt x="1381" y="163"/>
                  </a:lnTo>
                  <a:lnTo>
                    <a:pt x="1402" y="143"/>
                  </a:lnTo>
                  <a:lnTo>
                    <a:pt x="1427" y="115"/>
                  </a:lnTo>
                  <a:lnTo>
                    <a:pt x="1478" y="106"/>
                  </a:lnTo>
                  <a:lnTo>
                    <a:pt x="1481" y="86"/>
                  </a:lnTo>
                  <a:lnTo>
                    <a:pt x="1496" y="63"/>
                  </a:lnTo>
                  <a:lnTo>
                    <a:pt x="1513" y="53"/>
                  </a:lnTo>
                  <a:lnTo>
                    <a:pt x="1520" y="56"/>
                  </a:lnTo>
                  <a:lnTo>
                    <a:pt x="1520" y="0"/>
                  </a:lnTo>
                  <a:lnTo>
                    <a:pt x="898" y="66"/>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8" name="Freeform 37"/>
            <p:cNvSpPr>
              <a:spLocks/>
            </p:cNvSpPr>
            <p:nvPr/>
          </p:nvSpPr>
          <p:spPr bwMode="auto">
            <a:xfrm>
              <a:off x="6132513" y="2268538"/>
              <a:ext cx="801687" cy="354012"/>
            </a:xfrm>
            <a:custGeom>
              <a:avLst/>
              <a:gdLst/>
              <a:ahLst/>
              <a:cxnLst>
                <a:cxn ang="0">
                  <a:pos x="1485" y="130"/>
                </a:cxn>
                <a:cxn ang="0">
                  <a:pos x="1465" y="176"/>
                </a:cxn>
                <a:cxn ang="0">
                  <a:pos x="1443" y="148"/>
                </a:cxn>
                <a:cxn ang="0">
                  <a:pos x="1393" y="140"/>
                </a:cxn>
                <a:cxn ang="0">
                  <a:pos x="1340" y="162"/>
                </a:cxn>
                <a:cxn ang="0">
                  <a:pos x="1324" y="149"/>
                </a:cxn>
                <a:cxn ang="0">
                  <a:pos x="1311" y="117"/>
                </a:cxn>
                <a:cxn ang="0">
                  <a:pos x="1307" y="83"/>
                </a:cxn>
                <a:cxn ang="0">
                  <a:pos x="1321" y="94"/>
                </a:cxn>
                <a:cxn ang="0">
                  <a:pos x="1346" y="134"/>
                </a:cxn>
                <a:cxn ang="0">
                  <a:pos x="1372" y="117"/>
                </a:cxn>
                <a:cxn ang="0">
                  <a:pos x="1415" y="99"/>
                </a:cxn>
                <a:cxn ang="0">
                  <a:pos x="1428" y="81"/>
                </a:cxn>
                <a:cxn ang="0">
                  <a:pos x="1420" y="73"/>
                </a:cxn>
                <a:cxn ang="0">
                  <a:pos x="1413" y="56"/>
                </a:cxn>
                <a:cxn ang="0">
                  <a:pos x="1451" y="52"/>
                </a:cxn>
                <a:cxn ang="0">
                  <a:pos x="1420" y="0"/>
                </a:cxn>
                <a:cxn ang="0">
                  <a:pos x="437" y="163"/>
                </a:cxn>
                <a:cxn ang="0">
                  <a:pos x="413" y="226"/>
                </a:cxn>
                <a:cxn ang="0">
                  <a:pos x="344" y="278"/>
                </a:cxn>
                <a:cxn ang="0">
                  <a:pos x="284" y="305"/>
                </a:cxn>
                <a:cxn ang="0">
                  <a:pos x="244" y="352"/>
                </a:cxn>
                <a:cxn ang="0">
                  <a:pos x="50" y="480"/>
                </a:cxn>
                <a:cxn ang="0">
                  <a:pos x="22" y="510"/>
                </a:cxn>
                <a:cxn ang="0">
                  <a:pos x="0" y="570"/>
                </a:cxn>
                <a:cxn ang="0">
                  <a:pos x="259" y="549"/>
                </a:cxn>
                <a:cxn ang="0">
                  <a:pos x="419" y="484"/>
                </a:cxn>
                <a:cxn ang="0">
                  <a:pos x="516" y="484"/>
                </a:cxn>
                <a:cxn ang="0">
                  <a:pos x="610" y="470"/>
                </a:cxn>
                <a:cxn ang="0">
                  <a:pos x="844" y="492"/>
                </a:cxn>
                <a:cxn ang="0">
                  <a:pos x="1141" y="650"/>
                </a:cxn>
                <a:cxn ang="0">
                  <a:pos x="1204" y="620"/>
                </a:cxn>
                <a:cxn ang="0">
                  <a:pos x="1243" y="517"/>
                </a:cxn>
                <a:cxn ang="0">
                  <a:pos x="1254" y="478"/>
                </a:cxn>
                <a:cxn ang="0">
                  <a:pos x="1256" y="458"/>
                </a:cxn>
                <a:cxn ang="0">
                  <a:pos x="1268" y="455"/>
                </a:cxn>
                <a:cxn ang="0">
                  <a:pos x="1307" y="459"/>
                </a:cxn>
                <a:cxn ang="0">
                  <a:pos x="1313" y="434"/>
                </a:cxn>
                <a:cxn ang="0">
                  <a:pos x="1350" y="431"/>
                </a:cxn>
                <a:cxn ang="0">
                  <a:pos x="1388" y="415"/>
                </a:cxn>
                <a:cxn ang="0">
                  <a:pos x="1418" y="416"/>
                </a:cxn>
                <a:cxn ang="0">
                  <a:pos x="1438" y="365"/>
                </a:cxn>
                <a:cxn ang="0">
                  <a:pos x="1440" y="351"/>
                </a:cxn>
                <a:cxn ang="0">
                  <a:pos x="1433" y="346"/>
                </a:cxn>
                <a:cxn ang="0">
                  <a:pos x="1414" y="353"/>
                </a:cxn>
                <a:cxn ang="0">
                  <a:pos x="1388" y="370"/>
                </a:cxn>
                <a:cxn ang="0">
                  <a:pos x="1317" y="376"/>
                </a:cxn>
                <a:cxn ang="0">
                  <a:pos x="1318" y="353"/>
                </a:cxn>
                <a:cxn ang="0">
                  <a:pos x="1363" y="359"/>
                </a:cxn>
                <a:cxn ang="0">
                  <a:pos x="1374" y="331"/>
                </a:cxn>
                <a:cxn ang="0">
                  <a:pos x="1389" y="306"/>
                </a:cxn>
                <a:cxn ang="0">
                  <a:pos x="1346" y="284"/>
                </a:cxn>
                <a:cxn ang="0">
                  <a:pos x="1302" y="262"/>
                </a:cxn>
                <a:cxn ang="0">
                  <a:pos x="1368" y="273"/>
                </a:cxn>
                <a:cxn ang="0">
                  <a:pos x="1360" y="251"/>
                </a:cxn>
                <a:cxn ang="0">
                  <a:pos x="1382" y="238"/>
                </a:cxn>
                <a:cxn ang="0">
                  <a:pos x="1407" y="267"/>
                </a:cxn>
                <a:cxn ang="0">
                  <a:pos x="1443" y="270"/>
                </a:cxn>
                <a:cxn ang="0">
                  <a:pos x="1471" y="245"/>
                </a:cxn>
                <a:cxn ang="0">
                  <a:pos x="1482" y="212"/>
                </a:cxn>
                <a:cxn ang="0">
                  <a:pos x="1501" y="204"/>
                </a:cxn>
                <a:cxn ang="0">
                  <a:pos x="1515" y="170"/>
                </a:cxn>
              </a:cxnLst>
              <a:rect l="0" t="0" r="r" b="b"/>
              <a:pathLst>
                <a:path w="1515" h="670">
                  <a:moveTo>
                    <a:pt x="1507" y="155"/>
                  </a:moveTo>
                  <a:lnTo>
                    <a:pt x="1499" y="144"/>
                  </a:lnTo>
                  <a:lnTo>
                    <a:pt x="1485" y="130"/>
                  </a:lnTo>
                  <a:lnTo>
                    <a:pt x="1475" y="130"/>
                  </a:lnTo>
                  <a:lnTo>
                    <a:pt x="1467" y="136"/>
                  </a:lnTo>
                  <a:lnTo>
                    <a:pt x="1465" y="176"/>
                  </a:lnTo>
                  <a:lnTo>
                    <a:pt x="1463" y="184"/>
                  </a:lnTo>
                  <a:lnTo>
                    <a:pt x="1451" y="174"/>
                  </a:lnTo>
                  <a:lnTo>
                    <a:pt x="1443" y="148"/>
                  </a:lnTo>
                  <a:lnTo>
                    <a:pt x="1438" y="130"/>
                  </a:lnTo>
                  <a:lnTo>
                    <a:pt x="1421" y="126"/>
                  </a:lnTo>
                  <a:lnTo>
                    <a:pt x="1393" y="140"/>
                  </a:lnTo>
                  <a:lnTo>
                    <a:pt x="1385" y="140"/>
                  </a:lnTo>
                  <a:lnTo>
                    <a:pt x="1358" y="147"/>
                  </a:lnTo>
                  <a:lnTo>
                    <a:pt x="1340" y="162"/>
                  </a:lnTo>
                  <a:lnTo>
                    <a:pt x="1327" y="179"/>
                  </a:lnTo>
                  <a:lnTo>
                    <a:pt x="1324" y="170"/>
                  </a:lnTo>
                  <a:lnTo>
                    <a:pt x="1324" y="149"/>
                  </a:lnTo>
                  <a:lnTo>
                    <a:pt x="1327" y="140"/>
                  </a:lnTo>
                  <a:lnTo>
                    <a:pt x="1315" y="126"/>
                  </a:lnTo>
                  <a:lnTo>
                    <a:pt x="1311" y="117"/>
                  </a:lnTo>
                  <a:lnTo>
                    <a:pt x="1307" y="104"/>
                  </a:lnTo>
                  <a:lnTo>
                    <a:pt x="1307" y="93"/>
                  </a:lnTo>
                  <a:lnTo>
                    <a:pt x="1307" y="83"/>
                  </a:lnTo>
                  <a:lnTo>
                    <a:pt x="1313" y="74"/>
                  </a:lnTo>
                  <a:lnTo>
                    <a:pt x="1317" y="74"/>
                  </a:lnTo>
                  <a:lnTo>
                    <a:pt x="1321" y="94"/>
                  </a:lnTo>
                  <a:lnTo>
                    <a:pt x="1327" y="119"/>
                  </a:lnTo>
                  <a:lnTo>
                    <a:pt x="1335" y="142"/>
                  </a:lnTo>
                  <a:lnTo>
                    <a:pt x="1346" y="134"/>
                  </a:lnTo>
                  <a:lnTo>
                    <a:pt x="1354" y="130"/>
                  </a:lnTo>
                  <a:lnTo>
                    <a:pt x="1367" y="122"/>
                  </a:lnTo>
                  <a:lnTo>
                    <a:pt x="1372" y="117"/>
                  </a:lnTo>
                  <a:lnTo>
                    <a:pt x="1390" y="109"/>
                  </a:lnTo>
                  <a:lnTo>
                    <a:pt x="1395" y="99"/>
                  </a:lnTo>
                  <a:lnTo>
                    <a:pt x="1415" y="99"/>
                  </a:lnTo>
                  <a:lnTo>
                    <a:pt x="1421" y="88"/>
                  </a:lnTo>
                  <a:lnTo>
                    <a:pt x="1428" y="81"/>
                  </a:lnTo>
                  <a:lnTo>
                    <a:pt x="1428" y="81"/>
                  </a:lnTo>
                  <a:lnTo>
                    <a:pt x="1421" y="74"/>
                  </a:lnTo>
                  <a:lnTo>
                    <a:pt x="1421" y="74"/>
                  </a:lnTo>
                  <a:lnTo>
                    <a:pt x="1420" y="73"/>
                  </a:lnTo>
                  <a:lnTo>
                    <a:pt x="1407" y="62"/>
                  </a:lnTo>
                  <a:lnTo>
                    <a:pt x="1407" y="56"/>
                  </a:lnTo>
                  <a:lnTo>
                    <a:pt x="1413" y="56"/>
                  </a:lnTo>
                  <a:lnTo>
                    <a:pt x="1436" y="65"/>
                  </a:lnTo>
                  <a:lnTo>
                    <a:pt x="1449" y="62"/>
                  </a:lnTo>
                  <a:lnTo>
                    <a:pt x="1451" y="52"/>
                  </a:lnTo>
                  <a:lnTo>
                    <a:pt x="1438" y="31"/>
                  </a:lnTo>
                  <a:lnTo>
                    <a:pt x="1431" y="18"/>
                  </a:lnTo>
                  <a:lnTo>
                    <a:pt x="1420" y="0"/>
                  </a:lnTo>
                  <a:lnTo>
                    <a:pt x="1014" y="81"/>
                  </a:lnTo>
                  <a:lnTo>
                    <a:pt x="722" y="127"/>
                  </a:lnTo>
                  <a:lnTo>
                    <a:pt x="437" y="163"/>
                  </a:lnTo>
                  <a:lnTo>
                    <a:pt x="437" y="219"/>
                  </a:lnTo>
                  <a:lnTo>
                    <a:pt x="430" y="216"/>
                  </a:lnTo>
                  <a:lnTo>
                    <a:pt x="413" y="226"/>
                  </a:lnTo>
                  <a:lnTo>
                    <a:pt x="398" y="249"/>
                  </a:lnTo>
                  <a:lnTo>
                    <a:pt x="395" y="269"/>
                  </a:lnTo>
                  <a:lnTo>
                    <a:pt x="344" y="278"/>
                  </a:lnTo>
                  <a:lnTo>
                    <a:pt x="319" y="306"/>
                  </a:lnTo>
                  <a:lnTo>
                    <a:pt x="298" y="326"/>
                  </a:lnTo>
                  <a:lnTo>
                    <a:pt x="284" y="305"/>
                  </a:lnTo>
                  <a:lnTo>
                    <a:pt x="272" y="306"/>
                  </a:lnTo>
                  <a:lnTo>
                    <a:pt x="254" y="335"/>
                  </a:lnTo>
                  <a:lnTo>
                    <a:pt x="244" y="352"/>
                  </a:lnTo>
                  <a:lnTo>
                    <a:pt x="221" y="366"/>
                  </a:lnTo>
                  <a:lnTo>
                    <a:pt x="64" y="460"/>
                  </a:lnTo>
                  <a:lnTo>
                    <a:pt x="50" y="480"/>
                  </a:lnTo>
                  <a:lnTo>
                    <a:pt x="53" y="496"/>
                  </a:lnTo>
                  <a:lnTo>
                    <a:pt x="37" y="510"/>
                  </a:lnTo>
                  <a:lnTo>
                    <a:pt x="22" y="510"/>
                  </a:lnTo>
                  <a:lnTo>
                    <a:pt x="3" y="530"/>
                  </a:lnTo>
                  <a:lnTo>
                    <a:pt x="1" y="542"/>
                  </a:lnTo>
                  <a:lnTo>
                    <a:pt x="0" y="570"/>
                  </a:lnTo>
                  <a:lnTo>
                    <a:pt x="0" y="574"/>
                  </a:lnTo>
                  <a:lnTo>
                    <a:pt x="0" y="577"/>
                  </a:lnTo>
                  <a:lnTo>
                    <a:pt x="259" y="549"/>
                  </a:lnTo>
                  <a:lnTo>
                    <a:pt x="336" y="489"/>
                  </a:lnTo>
                  <a:lnTo>
                    <a:pt x="383" y="484"/>
                  </a:lnTo>
                  <a:lnTo>
                    <a:pt x="419" y="484"/>
                  </a:lnTo>
                  <a:lnTo>
                    <a:pt x="472" y="492"/>
                  </a:lnTo>
                  <a:lnTo>
                    <a:pt x="499" y="489"/>
                  </a:lnTo>
                  <a:lnTo>
                    <a:pt x="516" y="484"/>
                  </a:lnTo>
                  <a:lnTo>
                    <a:pt x="538" y="470"/>
                  </a:lnTo>
                  <a:lnTo>
                    <a:pt x="572" y="464"/>
                  </a:lnTo>
                  <a:lnTo>
                    <a:pt x="610" y="470"/>
                  </a:lnTo>
                  <a:lnTo>
                    <a:pt x="638" y="484"/>
                  </a:lnTo>
                  <a:lnTo>
                    <a:pt x="660" y="528"/>
                  </a:lnTo>
                  <a:lnTo>
                    <a:pt x="844" y="492"/>
                  </a:lnTo>
                  <a:lnTo>
                    <a:pt x="1086" y="670"/>
                  </a:lnTo>
                  <a:lnTo>
                    <a:pt x="1130" y="652"/>
                  </a:lnTo>
                  <a:lnTo>
                    <a:pt x="1141" y="650"/>
                  </a:lnTo>
                  <a:lnTo>
                    <a:pt x="1179" y="645"/>
                  </a:lnTo>
                  <a:lnTo>
                    <a:pt x="1189" y="632"/>
                  </a:lnTo>
                  <a:lnTo>
                    <a:pt x="1204" y="620"/>
                  </a:lnTo>
                  <a:lnTo>
                    <a:pt x="1210" y="576"/>
                  </a:lnTo>
                  <a:lnTo>
                    <a:pt x="1221" y="545"/>
                  </a:lnTo>
                  <a:lnTo>
                    <a:pt x="1243" y="517"/>
                  </a:lnTo>
                  <a:lnTo>
                    <a:pt x="1260" y="501"/>
                  </a:lnTo>
                  <a:lnTo>
                    <a:pt x="1260" y="491"/>
                  </a:lnTo>
                  <a:lnTo>
                    <a:pt x="1254" y="478"/>
                  </a:lnTo>
                  <a:lnTo>
                    <a:pt x="1252" y="471"/>
                  </a:lnTo>
                  <a:lnTo>
                    <a:pt x="1256" y="464"/>
                  </a:lnTo>
                  <a:lnTo>
                    <a:pt x="1256" y="458"/>
                  </a:lnTo>
                  <a:lnTo>
                    <a:pt x="1260" y="451"/>
                  </a:lnTo>
                  <a:lnTo>
                    <a:pt x="1264" y="451"/>
                  </a:lnTo>
                  <a:lnTo>
                    <a:pt x="1268" y="455"/>
                  </a:lnTo>
                  <a:lnTo>
                    <a:pt x="1274" y="476"/>
                  </a:lnTo>
                  <a:lnTo>
                    <a:pt x="1293" y="467"/>
                  </a:lnTo>
                  <a:lnTo>
                    <a:pt x="1307" y="459"/>
                  </a:lnTo>
                  <a:lnTo>
                    <a:pt x="1307" y="451"/>
                  </a:lnTo>
                  <a:lnTo>
                    <a:pt x="1307" y="441"/>
                  </a:lnTo>
                  <a:lnTo>
                    <a:pt x="1313" y="434"/>
                  </a:lnTo>
                  <a:lnTo>
                    <a:pt x="1317" y="431"/>
                  </a:lnTo>
                  <a:lnTo>
                    <a:pt x="1324" y="439"/>
                  </a:lnTo>
                  <a:lnTo>
                    <a:pt x="1350" y="431"/>
                  </a:lnTo>
                  <a:lnTo>
                    <a:pt x="1367" y="421"/>
                  </a:lnTo>
                  <a:lnTo>
                    <a:pt x="1374" y="421"/>
                  </a:lnTo>
                  <a:lnTo>
                    <a:pt x="1388" y="415"/>
                  </a:lnTo>
                  <a:lnTo>
                    <a:pt x="1399" y="408"/>
                  </a:lnTo>
                  <a:lnTo>
                    <a:pt x="1399" y="403"/>
                  </a:lnTo>
                  <a:lnTo>
                    <a:pt x="1418" y="416"/>
                  </a:lnTo>
                  <a:lnTo>
                    <a:pt x="1426" y="398"/>
                  </a:lnTo>
                  <a:lnTo>
                    <a:pt x="1432" y="376"/>
                  </a:lnTo>
                  <a:lnTo>
                    <a:pt x="1438" y="365"/>
                  </a:lnTo>
                  <a:lnTo>
                    <a:pt x="1443" y="356"/>
                  </a:lnTo>
                  <a:lnTo>
                    <a:pt x="1443" y="356"/>
                  </a:lnTo>
                  <a:lnTo>
                    <a:pt x="1440" y="351"/>
                  </a:lnTo>
                  <a:lnTo>
                    <a:pt x="1436" y="348"/>
                  </a:lnTo>
                  <a:lnTo>
                    <a:pt x="1435" y="346"/>
                  </a:lnTo>
                  <a:lnTo>
                    <a:pt x="1433" y="346"/>
                  </a:lnTo>
                  <a:lnTo>
                    <a:pt x="1433" y="346"/>
                  </a:lnTo>
                  <a:lnTo>
                    <a:pt x="1422" y="351"/>
                  </a:lnTo>
                  <a:lnTo>
                    <a:pt x="1414" y="353"/>
                  </a:lnTo>
                  <a:lnTo>
                    <a:pt x="1410" y="360"/>
                  </a:lnTo>
                  <a:lnTo>
                    <a:pt x="1399" y="365"/>
                  </a:lnTo>
                  <a:lnTo>
                    <a:pt x="1388" y="370"/>
                  </a:lnTo>
                  <a:lnTo>
                    <a:pt x="1368" y="387"/>
                  </a:lnTo>
                  <a:lnTo>
                    <a:pt x="1354" y="387"/>
                  </a:lnTo>
                  <a:lnTo>
                    <a:pt x="1317" y="376"/>
                  </a:lnTo>
                  <a:lnTo>
                    <a:pt x="1313" y="367"/>
                  </a:lnTo>
                  <a:lnTo>
                    <a:pt x="1314" y="356"/>
                  </a:lnTo>
                  <a:lnTo>
                    <a:pt x="1318" y="353"/>
                  </a:lnTo>
                  <a:lnTo>
                    <a:pt x="1329" y="355"/>
                  </a:lnTo>
                  <a:lnTo>
                    <a:pt x="1339" y="356"/>
                  </a:lnTo>
                  <a:lnTo>
                    <a:pt x="1363" y="359"/>
                  </a:lnTo>
                  <a:lnTo>
                    <a:pt x="1374" y="351"/>
                  </a:lnTo>
                  <a:lnTo>
                    <a:pt x="1378" y="340"/>
                  </a:lnTo>
                  <a:lnTo>
                    <a:pt x="1374" y="331"/>
                  </a:lnTo>
                  <a:lnTo>
                    <a:pt x="1375" y="316"/>
                  </a:lnTo>
                  <a:lnTo>
                    <a:pt x="1379" y="316"/>
                  </a:lnTo>
                  <a:lnTo>
                    <a:pt x="1389" y="306"/>
                  </a:lnTo>
                  <a:lnTo>
                    <a:pt x="1388" y="295"/>
                  </a:lnTo>
                  <a:lnTo>
                    <a:pt x="1374" y="295"/>
                  </a:lnTo>
                  <a:lnTo>
                    <a:pt x="1346" y="284"/>
                  </a:lnTo>
                  <a:lnTo>
                    <a:pt x="1314" y="277"/>
                  </a:lnTo>
                  <a:lnTo>
                    <a:pt x="1302" y="270"/>
                  </a:lnTo>
                  <a:lnTo>
                    <a:pt x="1302" y="262"/>
                  </a:lnTo>
                  <a:lnTo>
                    <a:pt x="1321" y="262"/>
                  </a:lnTo>
                  <a:lnTo>
                    <a:pt x="1346" y="262"/>
                  </a:lnTo>
                  <a:lnTo>
                    <a:pt x="1368" y="273"/>
                  </a:lnTo>
                  <a:lnTo>
                    <a:pt x="1374" y="266"/>
                  </a:lnTo>
                  <a:lnTo>
                    <a:pt x="1367" y="256"/>
                  </a:lnTo>
                  <a:lnTo>
                    <a:pt x="1360" y="251"/>
                  </a:lnTo>
                  <a:lnTo>
                    <a:pt x="1357" y="242"/>
                  </a:lnTo>
                  <a:lnTo>
                    <a:pt x="1368" y="238"/>
                  </a:lnTo>
                  <a:lnTo>
                    <a:pt x="1382" y="238"/>
                  </a:lnTo>
                  <a:lnTo>
                    <a:pt x="1386" y="259"/>
                  </a:lnTo>
                  <a:lnTo>
                    <a:pt x="1395" y="267"/>
                  </a:lnTo>
                  <a:lnTo>
                    <a:pt x="1407" y="267"/>
                  </a:lnTo>
                  <a:lnTo>
                    <a:pt x="1411" y="262"/>
                  </a:lnTo>
                  <a:lnTo>
                    <a:pt x="1422" y="267"/>
                  </a:lnTo>
                  <a:lnTo>
                    <a:pt x="1443" y="270"/>
                  </a:lnTo>
                  <a:lnTo>
                    <a:pt x="1467" y="270"/>
                  </a:lnTo>
                  <a:lnTo>
                    <a:pt x="1471" y="263"/>
                  </a:lnTo>
                  <a:lnTo>
                    <a:pt x="1471" y="245"/>
                  </a:lnTo>
                  <a:lnTo>
                    <a:pt x="1476" y="238"/>
                  </a:lnTo>
                  <a:lnTo>
                    <a:pt x="1482" y="220"/>
                  </a:lnTo>
                  <a:lnTo>
                    <a:pt x="1482" y="212"/>
                  </a:lnTo>
                  <a:lnTo>
                    <a:pt x="1486" y="195"/>
                  </a:lnTo>
                  <a:lnTo>
                    <a:pt x="1496" y="195"/>
                  </a:lnTo>
                  <a:lnTo>
                    <a:pt x="1501" y="204"/>
                  </a:lnTo>
                  <a:lnTo>
                    <a:pt x="1513" y="195"/>
                  </a:lnTo>
                  <a:lnTo>
                    <a:pt x="1513" y="179"/>
                  </a:lnTo>
                  <a:lnTo>
                    <a:pt x="1515" y="170"/>
                  </a:lnTo>
                  <a:lnTo>
                    <a:pt x="1507" y="155"/>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39" name="Freeform 38"/>
            <p:cNvSpPr>
              <a:spLocks/>
            </p:cNvSpPr>
            <p:nvPr/>
          </p:nvSpPr>
          <p:spPr bwMode="auto">
            <a:xfrm>
              <a:off x="6011863" y="2559050"/>
              <a:ext cx="495300" cy="531812"/>
            </a:xfrm>
            <a:custGeom>
              <a:avLst/>
              <a:gdLst/>
              <a:ahLst/>
              <a:cxnLst>
                <a:cxn ang="0">
                  <a:pos x="906" y="578"/>
                </a:cxn>
                <a:cxn ang="0">
                  <a:pos x="892" y="533"/>
                </a:cxn>
                <a:cxn ang="0">
                  <a:pos x="882" y="508"/>
                </a:cxn>
                <a:cxn ang="0">
                  <a:pos x="852" y="490"/>
                </a:cxn>
                <a:cxn ang="0">
                  <a:pos x="842" y="460"/>
                </a:cxn>
                <a:cxn ang="0">
                  <a:pos x="810" y="414"/>
                </a:cxn>
                <a:cxn ang="0">
                  <a:pos x="767" y="376"/>
                </a:cxn>
                <a:cxn ang="0">
                  <a:pos x="684" y="292"/>
                </a:cxn>
                <a:cxn ang="0">
                  <a:pos x="563" y="186"/>
                </a:cxn>
                <a:cxn ang="0">
                  <a:pos x="519" y="126"/>
                </a:cxn>
                <a:cxn ang="0">
                  <a:pos x="437" y="75"/>
                </a:cxn>
                <a:cxn ang="0">
                  <a:pos x="452" y="39"/>
                </a:cxn>
                <a:cxn ang="0">
                  <a:pos x="481" y="8"/>
                </a:cxn>
                <a:cxn ang="0">
                  <a:pos x="226" y="28"/>
                </a:cxn>
                <a:cxn ang="0">
                  <a:pos x="14" y="111"/>
                </a:cxn>
                <a:cxn ang="0">
                  <a:pos x="119" y="500"/>
                </a:cxn>
                <a:cxn ang="0">
                  <a:pos x="179" y="614"/>
                </a:cxn>
                <a:cxn ang="0">
                  <a:pos x="187" y="669"/>
                </a:cxn>
                <a:cxn ang="0">
                  <a:pos x="177" y="722"/>
                </a:cxn>
                <a:cxn ang="0">
                  <a:pos x="175" y="802"/>
                </a:cxn>
                <a:cxn ang="0">
                  <a:pos x="177" y="855"/>
                </a:cxn>
                <a:cxn ang="0">
                  <a:pos x="194" y="898"/>
                </a:cxn>
                <a:cxn ang="0">
                  <a:pos x="241" y="993"/>
                </a:cxn>
                <a:cxn ang="0">
                  <a:pos x="785" y="1006"/>
                </a:cxn>
                <a:cxn ang="0">
                  <a:pos x="807" y="902"/>
                </a:cxn>
                <a:cxn ang="0">
                  <a:pos x="857" y="897"/>
                </a:cxn>
                <a:cxn ang="0">
                  <a:pos x="860" y="876"/>
                </a:cxn>
                <a:cxn ang="0">
                  <a:pos x="848" y="868"/>
                </a:cxn>
                <a:cxn ang="0">
                  <a:pos x="843" y="863"/>
                </a:cxn>
                <a:cxn ang="0">
                  <a:pos x="836" y="855"/>
                </a:cxn>
                <a:cxn ang="0">
                  <a:pos x="849" y="852"/>
                </a:cxn>
                <a:cxn ang="0">
                  <a:pos x="856" y="833"/>
                </a:cxn>
                <a:cxn ang="0">
                  <a:pos x="850" y="825"/>
                </a:cxn>
                <a:cxn ang="0">
                  <a:pos x="884" y="786"/>
                </a:cxn>
                <a:cxn ang="0">
                  <a:pos x="873" y="775"/>
                </a:cxn>
                <a:cxn ang="0">
                  <a:pos x="875" y="770"/>
                </a:cxn>
                <a:cxn ang="0">
                  <a:pos x="880" y="762"/>
                </a:cxn>
                <a:cxn ang="0">
                  <a:pos x="880" y="702"/>
                </a:cxn>
                <a:cxn ang="0">
                  <a:pos x="893" y="704"/>
                </a:cxn>
                <a:cxn ang="0">
                  <a:pos x="906" y="700"/>
                </a:cxn>
                <a:cxn ang="0">
                  <a:pos x="900" y="693"/>
                </a:cxn>
                <a:cxn ang="0">
                  <a:pos x="886" y="682"/>
                </a:cxn>
                <a:cxn ang="0">
                  <a:pos x="911" y="671"/>
                </a:cxn>
                <a:cxn ang="0">
                  <a:pos x="899" y="655"/>
                </a:cxn>
                <a:cxn ang="0">
                  <a:pos x="895" y="639"/>
                </a:cxn>
                <a:cxn ang="0">
                  <a:pos x="925" y="636"/>
                </a:cxn>
                <a:cxn ang="0">
                  <a:pos x="934" y="604"/>
                </a:cxn>
              </a:cxnLst>
              <a:rect l="0" t="0" r="r" b="b"/>
              <a:pathLst>
                <a:path w="934" h="1006">
                  <a:moveTo>
                    <a:pt x="924" y="596"/>
                  </a:moveTo>
                  <a:lnTo>
                    <a:pt x="911" y="589"/>
                  </a:lnTo>
                  <a:lnTo>
                    <a:pt x="906" y="578"/>
                  </a:lnTo>
                  <a:lnTo>
                    <a:pt x="906" y="559"/>
                  </a:lnTo>
                  <a:lnTo>
                    <a:pt x="906" y="551"/>
                  </a:lnTo>
                  <a:lnTo>
                    <a:pt x="892" y="533"/>
                  </a:lnTo>
                  <a:lnTo>
                    <a:pt x="882" y="522"/>
                  </a:lnTo>
                  <a:lnTo>
                    <a:pt x="882" y="514"/>
                  </a:lnTo>
                  <a:lnTo>
                    <a:pt x="882" y="508"/>
                  </a:lnTo>
                  <a:lnTo>
                    <a:pt x="868" y="500"/>
                  </a:lnTo>
                  <a:lnTo>
                    <a:pt x="859" y="490"/>
                  </a:lnTo>
                  <a:lnTo>
                    <a:pt x="852" y="490"/>
                  </a:lnTo>
                  <a:lnTo>
                    <a:pt x="848" y="485"/>
                  </a:lnTo>
                  <a:lnTo>
                    <a:pt x="842" y="471"/>
                  </a:lnTo>
                  <a:lnTo>
                    <a:pt x="842" y="460"/>
                  </a:lnTo>
                  <a:lnTo>
                    <a:pt x="834" y="446"/>
                  </a:lnTo>
                  <a:lnTo>
                    <a:pt x="817" y="423"/>
                  </a:lnTo>
                  <a:lnTo>
                    <a:pt x="810" y="414"/>
                  </a:lnTo>
                  <a:lnTo>
                    <a:pt x="798" y="403"/>
                  </a:lnTo>
                  <a:lnTo>
                    <a:pt x="784" y="390"/>
                  </a:lnTo>
                  <a:lnTo>
                    <a:pt x="767" y="376"/>
                  </a:lnTo>
                  <a:lnTo>
                    <a:pt x="738" y="360"/>
                  </a:lnTo>
                  <a:lnTo>
                    <a:pt x="712" y="328"/>
                  </a:lnTo>
                  <a:lnTo>
                    <a:pt x="684" y="292"/>
                  </a:lnTo>
                  <a:lnTo>
                    <a:pt x="663" y="272"/>
                  </a:lnTo>
                  <a:lnTo>
                    <a:pt x="585" y="214"/>
                  </a:lnTo>
                  <a:lnTo>
                    <a:pt x="563" y="186"/>
                  </a:lnTo>
                  <a:lnTo>
                    <a:pt x="540" y="163"/>
                  </a:lnTo>
                  <a:lnTo>
                    <a:pt x="530" y="142"/>
                  </a:lnTo>
                  <a:lnTo>
                    <a:pt x="519" y="126"/>
                  </a:lnTo>
                  <a:lnTo>
                    <a:pt x="502" y="111"/>
                  </a:lnTo>
                  <a:lnTo>
                    <a:pt x="448" y="89"/>
                  </a:lnTo>
                  <a:lnTo>
                    <a:pt x="437" y="75"/>
                  </a:lnTo>
                  <a:lnTo>
                    <a:pt x="429" y="63"/>
                  </a:lnTo>
                  <a:lnTo>
                    <a:pt x="429" y="51"/>
                  </a:lnTo>
                  <a:lnTo>
                    <a:pt x="452" y="39"/>
                  </a:lnTo>
                  <a:lnTo>
                    <a:pt x="469" y="24"/>
                  </a:lnTo>
                  <a:lnTo>
                    <a:pt x="478" y="17"/>
                  </a:lnTo>
                  <a:lnTo>
                    <a:pt x="481" y="8"/>
                  </a:lnTo>
                  <a:lnTo>
                    <a:pt x="483" y="0"/>
                  </a:lnTo>
                  <a:lnTo>
                    <a:pt x="485" y="0"/>
                  </a:lnTo>
                  <a:lnTo>
                    <a:pt x="226" y="28"/>
                  </a:lnTo>
                  <a:lnTo>
                    <a:pt x="226" y="28"/>
                  </a:lnTo>
                  <a:lnTo>
                    <a:pt x="0" y="46"/>
                  </a:lnTo>
                  <a:lnTo>
                    <a:pt x="14" y="111"/>
                  </a:lnTo>
                  <a:lnTo>
                    <a:pt x="54" y="271"/>
                  </a:lnTo>
                  <a:lnTo>
                    <a:pt x="107" y="458"/>
                  </a:lnTo>
                  <a:lnTo>
                    <a:pt x="119" y="500"/>
                  </a:lnTo>
                  <a:lnTo>
                    <a:pt x="154" y="566"/>
                  </a:lnTo>
                  <a:lnTo>
                    <a:pt x="176" y="596"/>
                  </a:lnTo>
                  <a:lnTo>
                    <a:pt x="179" y="614"/>
                  </a:lnTo>
                  <a:lnTo>
                    <a:pt x="183" y="639"/>
                  </a:lnTo>
                  <a:lnTo>
                    <a:pt x="195" y="648"/>
                  </a:lnTo>
                  <a:lnTo>
                    <a:pt x="187" y="669"/>
                  </a:lnTo>
                  <a:lnTo>
                    <a:pt x="166" y="684"/>
                  </a:lnTo>
                  <a:lnTo>
                    <a:pt x="180" y="697"/>
                  </a:lnTo>
                  <a:lnTo>
                    <a:pt x="177" y="722"/>
                  </a:lnTo>
                  <a:lnTo>
                    <a:pt x="166" y="729"/>
                  </a:lnTo>
                  <a:lnTo>
                    <a:pt x="166" y="759"/>
                  </a:lnTo>
                  <a:lnTo>
                    <a:pt x="175" y="802"/>
                  </a:lnTo>
                  <a:lnTo>
                    <a:pt x="183" y="819"/>
                  </a:lnTo>
                  <a:lnTo>
                    <a:pt x="188" y="847"/>
                  </a:lnTo>
                  <a:lnTo>
                    <a:pt x="177" y="855"/>
                  </a:lnTo>
                  <a:lnTo>
                    <a:pt x="175" y="863"/>
                  </a:lnTo>
                  <a:lnTo>
                    <a:pt x="180" y="884"/>
                  </a:lnTo>
                  <a:lnTo>
                    <a:pt x="194" y="898"/>
                  </a:lnTo>
                  <a:lnTo>
                    <a:pt x="209" y="925"/>
                  </a:lnTo>
                  <a:lnTo>
                    <a:pt x="213" y="933"/>
                  </a:lnTo>
                  <a:lnTo>
                    <a:pt x="241" y="993"/>
                  </a:lnTo>
                  <a:lnTo>
                    <a:pt x="744" y="962"/>
                  </a:lnTo>
                  <a:lnTo>
                    <a:pt x="750" y="1006"/>
                  </a:lnTo>
                  <a:lnTo>
                    <a:pt x="785" y="1006"/>
                  </a:lnTo>
                  <a:lnTo>
                    <a:pt x="774" y="898"/>
                  </a:lnTo>
                  <a:lnTo>
                    <a:pt x="771" y="898"/>
                  </a:lnTo>
                  <a:lnTo>
                    <a:pt x="807" y="902"/>
                  </a:lnTo>
                  <a:lnTo>
                    <a:pt x="850" y="911"/>
                  </a:lnTo>
                  <a:lnTo>
                    <a:pt x="857" y="897"/>
                  </a:lnTo>
                  <a:lnTo>
                    <a:pt x="857" y="897"/>
                  </a:lnTo>
                  <a:lnTo>
                    <a:pt x="861" y="877"/>
                  </a:lnTo>
                  <a:lnTo>
                    <a:pt x="861" y="877"/>
                  </a:lnTo>
                  <a:lnTo>
                    <a:pt x="860" y="876"/>
                  </a:lnTo>
                  <a:lnTo>
                    <a:pt x="859" y="875"/>
                  </a:lnTo>
                  <a:lnTo>
                    <a:pt x="859" y="875"/>
                  </a:lnTo>
                  <a:lnTo>
                    <a:pt x="848" y="868"/>
                  </a:lnTo>
                  <a:lnTo>
                    <a:pt x="848" y="868"/>
                  </a:lnTo>
                  <a:lnTo>
                    <a:pt x="845" y="866"/>
                  </a:lnTo>
                  <a:lnTo>
                    <a:pt x="843" y="863"/>
                  </a:lnTo>
                  <a:lnTo>
                    <a:pt x="838" y="858"/>
                  </a:lnTo>
                  <a:lnTo>
                    <a:pt x="838" y="858"/>
                  </a:lnTo>
                  <a:lnTo>
                    <a:pt x="836" y="855"/>
                  </a:lnTo>
                  <a:lnTo>
                    <a:pt x="836" y="854"/>
                  </a:lnTo>
                  <a:lnTo>
                    <a:pt x="838" y="852"/>
                  </a:lnTo>
                  <a:lnTo>
                    <a:pt x="849" y="852"/>
                  </a:lnTo>
                  <a:lnTo>
                    <a:pt x="863" y="852"/>
                  </a:lnTo>
                  <a:lnTo>
                    <a:pt x="863" y="852"/>
                  </a:lnTo>
                  <a:lnTo>
                    <a:pt x="856" y="833"/>
                  </a:lnTo>
                  <a:lnTo>
                    <a:pt x="856" y="833"/>
                  </a:lnTo>
                  <a:lnTo>
                    <a:pt x="852" y="826"/>
                  </a:lnTo>
                  <a:lnTo>
                    <a:pt x="850" y="825"/>
                  </a:lnTo>
                  <a:lnTo>
                    <a:pt x="867" y="820"/>
                  </a:lnTo>
                  <a:lnTo>
                    <a:pt x="875" y="811"/>
                  </a:lnTo>
                  <a:lnTo>
                    <a:pt x="884" y="786"/>
                  </a:lnTo>
                  <a:lnTo>
                    <a:pt x="873" y="780"/>
                  </a:lnTo>
                  <a:lnTo>
                    <a:pt x="873" y="780"/>
                  </a:lnTo>
                  <a:lnTo>
                    <a:pt x="873" y="775"/>
                  </a:lnTo>
                  <a:lnTo>
                    <a:pt x="873" y="775"/>
                  </a:lnTo>
                  <a:lnTo>
                    <a:pt x="873" y="772"/>
                  </a:lnTo>
                  <a:lnTo>
                    <a:pt x="875" y="770"/>
                  </a:lnTo>
                  <a:lnTo>
                    <a:pt x="875" y="770"/>
                  </a:lnTo>
                  <a:lnTo>
                    <a:pt x="878" y="766"/>
                  </a:lnTo>
                  <a:lnTo>
                    <a:pt x="880" y="762"/>
                  </a:lnTo>
                  <a:lnTo>
                    <a:pt x="881" y="748"/>
                  </a:lnTo>
                  <a:lnTo>
                    <a:pt x="882" y="719"/>
                  </a:lnTo>
                  <a:lnTo>
                    <a:pt x="880" y="702"/>
                  </a:lnTo>
                  <a:lnTo>
                    <a:pt x="880" y="702"/>
                  </a:lnTo>
                  <a:lnTo>
                    <a:pt x="893" y="704"/>
                  </a:lnTo>
                  <a:lnTo>
                    <a:pt x="893" y="704"/>
                  </a:lnTo>
                  <a:lnTo>
                    <a:pt x="903" y="707"/>
                  </a:lnTo>
                  <a:lnTo>
                    <a:pt x="903" y="707"/>
                  </a:lnTo>
                  <a:lnTo>
                    <a:pt x="906" y="700"/>
                  </a:lnTo>
                  <a:lnTo>
                    <a:pt x="906" y="700"/>
                  </a:lnTo>
                  <a:lnTo>
                    <a:pt x="906" y="697"/>
                  </a:lnTo>
                  <a:lnTo>
                    <a:pt x="900" y="693"/>
                  </a:lnTo>
                  <a:lnTo>
                    <a:pt x="900" y="693"/>
                  </a:lnTo>
                  <a:lnTo>
                    <a:pt x="886" y="682"/>
                  </a:lnTo>
                  <a:lnTo>
                    <a:pt x="886" y="682"/>
                  </a:lnTo>
                  <a:lnTo>
                    <a:pt x="880" y="671"/>
                  </a:lnTo>
                  <a:lnTo>
                    <a:pt x="889" y="671"/>
                  </a:lnTo>
                  <a:lnTo>
                    <a:pt x="911" y="671"/>
                  </a:lnTo>
                  <a:lnTo>
                    <a:pt x="916" y="658"/>
                  </a:lnTo>
                  <a:lnTo>
                    <a:pt x="916" y="658"/>
                  </a:lnTo>
                  <a:lnTo>
                    <a:pt x="899" y="655"/>
                  </a:lnTo>
                  <a:lnTo>
                    <a:pt x="899" y="655"/>
                  </a:lnTo>
                  <a:lnTo>
                    <a:pt x="889" y="647"/>
                  </a:lnTo>
                  <a:lnTo>
                    <a:pt x="895" y="639"/>
                  </a:lnTo>
                  <a:lnTo>
                    <a:pt x="899" y="641"/>
                  </a:lnTo>
                  <a:lnTo>
                    <a:pt x="918" y="641"/>
                  </a:lnTo>
                  <a:lnTo>
                    <a:pt x="925" y="636"/>
                  </a:lnTo>
                  <a:lnTo>
                    <a:pt x="925" y="623"/>
                  </a:lnTo>
                  <a:lnTo>
                    <a:pt x="925" y="614"/>
                  </a:lnTo>
                  <a:lnTo>
                    <a:pt x="934" y="604"/>
                  </a:lnTo>
                  <a:lnTo>
                    <a:pt x="934" y="601"/>
                  </a:lnTo>
                  <a:lnTo>
                    <a:pt x="924" y="596"/>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0" name="Freeform 39"/>
            <p:cNvSpPr>
              <a:spLocks/>
            </p:cNvSpPr>
            <p:nvPr/>
          </p:nvSpPr>
          <p:spPr bwMode="auto">
            <a:xfrm>
              <a:off x="6175375" y="1966913"/>
              <a:ext cx="723900" cy="407987"/>
            </a:xfrm>
            <a:custGeom>
              <a:avLst/>
              <a:gdLst/>
              <a:ahLst/>
              <a:cxnLst>
                <a:cxn ang="0">
                  <a:pos x="931" y="652"/>
                </a:cxn>
                <a:cxn ang="0">
                  <a:pos x="1368" y="562"/>
                </a:cxn>
                <a:cxn ang="0">
                  <a:pos x="1352" y="515"/>
                </a:cxn>
                <a:cxn ang="0">
                  <a:pos x="1317" y="479"/>
                </a:cxn>
                <a:cxn ang="0">
                  <a:pos x="1278" y="461"/>
                </a:cxn>
                <a:cxn ang="0">
                  <a:pos x="1255" y="434"/>
                </a:cxn>
                <a:cxn ang="0">
                  <a:pos x="1234" y="400"/>
                </a:cxn>
                <a:cxn ang="0">
                  <a:pos x="1239" y="379"/>
                </a:cxn>
                <a:cxn ang="0">
                  <a:pos x="1257" y="369"/>
                </a:cxn>
                <a:cxn ang="0">
                  <a:pos x="1231" y="350"/>
                </a:cxn>
                <a:cxn ang="0">
                  <a:pos x="1164" y="301"/>
                </a:cxn>
                <a:cxn ang="0">
                  <a:pos x="1182" y="303"/>
                </a:cxn>
                <a:cxn ang="0">
                  <a:pos x="1220" y="328"/>
                </a:cxn>
                <a:cxn ang="0">
                  <a:pos x="1238" y="314"/>
                </a:cxn>
                <a:cxn ang="0">
                  <a:pos x="1238" y="269"/>
                </a:cxn>
                <a:cxn ang="0">
                  <a:pos x="1181" y="249"/>
                </a:cxn>
                <a:cxn ang="0">
                  <a:pos x="1160" y="230"/>
                </a:cxn>
                <a:cxn ang="0">
                  <a:pos x="1138" y="237"/>
                </a:cxn>
                <a:cxn ang="0">
                  <a:pos x="1094" y="210"/>
                </a:cxn>
                <a:cxn ang="0">
                  <a:pos x="1058" y="208"/>
                </a:cxn>
                <a:cxn ang="0">
                  <a:pos x="1035" y="201"/>
                </a:cxn>
                <a:cxn ang="0">
                  <a:pos x="1051" y="137"/>
                </a:cxn>
                <a:cxn ang="0">
                  <a:pos x="1056" y="97"/>
                </a:cxn>
                <a:cxn ang="0">
                  <a:pos x="1008" y="57"/>
                </a:cxn>
                <a:cxn ang="0">
                  <a:pos x="940" y="29"/>
                </a:cxn>
                <a:cxn ang="0">
                  <a:pos x="909" y="46"/>
                </a:cxn>
                <a:cxn ang="0">
                  <a:pos x="833" y="0"/>
                </a:cxn>
                <a:cxn ang="0">
                  <a:pos x="822" y="85"/>
                </a:cxn>
                <a:cxn ang="0">
                  <a:pos x="794" y="119"/>
                </a:cxn>
                <a:cxn ang="0">
                  <a:pos x="758" y="162"/>
                </a:cxn>
                <a:cxn ang="0">
                  <a:pos x="741" y="156"/>
                </a:cxn>
                <a:cxn ang="0">
                  <a:pos x="722" y="201"/>
                </a:cxn>
                <a:cxn ang="0">
                  <a:pos x="700" y="255"/>
                </a:cxn>
                <a:cxn ang="0">
                  <a:pos x="661" y="242"/>
                </a:cxn>
                <a:cxn ang="0">
                  <a:pos x="633" y="267"/>
                </a:cxn>
                <a:cxn ang="0">
                  <a:pos x="597" y="379"/>
                </a:cxn>
                <a:cxn ang="0">
                  <a:pos x="566" y="436"/>
                </a:cxn>
                <a:cxn ang="0">
                  <a:pos x="551" y="489"/>
                </a:cxn>
                <a:cxn ang="0">
                  <a:pos x="448" y="559"/>
                </a:cxn>
                <a:cxn ang="0">
                  <a:pos x="382" y="558"/>
                </a:cxn>
                <a:cxn ang="0">
                  <a:pos x="337" y="595"/>
                </a:cxn>
                <a:cxn ang="0">
                  <a:pos x="275" y="554"/>
                </a:cxn>
                <a:cxn ang="0">
                  <a:pos x="257" y="539"/>
                </a:cxn>
                <a:cxn ang="0">
                  <a:pos x="237" y="571"/>
                </a:cxn>
                <a:cxn ang="0">
                  <a:pos x="156" y="626"/>
                </a:cxn>
                <a:cxn ang="0">
                  <a:pos x="118" y="700"/>
                </a:cxn>
                <a:cxn ang="0">
                  <a:pos x="85" y="718"/>
                </a:cxn>
                <a:cxn ang="0">
                  <a:pos x="33" y="754"/>
                </a:cxn>
                <a:cxn ang="0">
                  <a:pos x="354" y="734"/>
                </a:cxn>
              </a:cxnLst>
              <a:rect l="0" t="0" r="r" b="b"/>
              <a:pathLst>
                <a:path w="1368" h="772">
                  <a:moveTo>
                    <a:pt x="639" y="698"/>
                  </a:moveTo>
                  <a:lnTo>
                    <a:pt x="931" y="652"/>
                  </a:lnTo>
                  <a:lnTo>
                    <a:pt x="1337" y="571"/>
                  </a:lnTo>
                  <a:lnTo>
                    <a:pt x="1368" y="562"/>
                  </a:lnTo>
                  <a:lnTo>
                    <a:pt x="1363" y="541"/>
                  </a:lnTo>
                  <a:lnTo>
                    <a:pt x="1352" y="515"/>
                  </a:lnTo>
                  <a:lnTo>
                    <a:pt x="1337" y="494"/>
                  </a:lnTo>
                  <a:lnTo>
                    <a:pt x="1317" y="479"/>
                  </a:lnTo>
                  <a:lnTo>
                    <a:pt x="1302" y="476"/>
                  </a:lnTo>
                  <a:lnTo>
                    <a:pt x="1278" y="461"/>
                  </a:lnTo>
                  <a:lnTo>
                    <a:pt x="1269" y="446"/>
                  </a:lnTo>
                  <a:lnTo>
                    <a:pt x="1255" y="434"/>
                  </a:lnTo>
                  <a:lnTo>
                    <a:pt x="1241" y="412"/>
                  </a:lnTo>
                  <a:lnTo>
                    <a:pt x="1234" y="400"/>
                  </a:lnTo>
                  <a:lnTo>
                    <a:pt x="1231" y="386"/>
                  </a:lnTo>
                  <a:lnTo>
                    <a:pt x="1239" y="379"/>
                  </a:lnTo>
                  <a:lnTo>
                    <a:pt x="1263" y="386"/>
                  </a:lnTo>
                  <a:lnTo>
                    <a:pt x="1257" y="369"/>
                  </a:lnTo>
                  <a:lnTo>
                    <a:pt x="1248" y="357"/>
                  </a:lnTo>
                  <a:lnTo>
                    <a:pt x="1231" y="350"/>
                  </a:lnTo>
                  <a:lnTo>
                    <a:pt x="1187" y="333"/>
                  </a:lnTo>
                  <a:lnTo>
                    <a:pt x="1164" y="301"/>
                  </a:lnTo>
                  <a:lnTo>
                    <a:pt x="1164" y="296"/>
                  </a:lnTo>
                  <a:lnTo>
                    <a:pt x="1182" y="303"/>
                  </a:lnTo>
                  <a:lnTo>
                    <a:pt x="1207" y="314"/>
                  </a:lnTo>
                  <a:lnTo>
                    <a:pt x="1220" y="328"/>
                  </a:lnTo>
                  <a:lnTo>
                    <a:pt x="1253" y="330"/>
                  </a:lnTo>
                  <a:lnTo>
                    <a:pt x="1238" y="314"/>
                  </a:lnTo>
                  <a:lnTo>
                    <a:pt x="1235" y="287"/>
                  </a:lnTo>
                  <a:lnTo>
                    <a:pt x="1238" y="269"/>
                  </a:lnTo>
                  <a:lnTo>
                    <a:pt x="1220" y="271"/>
                  </a:lnTo>
                  <a:lnTo>
                    <a:pt x="1181" y="249"/>
                  </a:lnTo>
                  <a:lnTo>
                    <a:pt x="1169" y="232"/>
                  </a:lnTo>
                  <a:lnTo>
                    <a:pt x="1160" y="230"/>
                  </a:lnTo>
                  <a:lnTo>
                    <a:pt x="1156" y="240"/>
                  </a:lnTo>
                  <a:lnTo>
                    <a:pt x="1138" y="237"/>
                  </a:lnTo>
                  <a:lnTo>
                    <a:pt x="1114" y="222"/>
                  </a:lnTo>
                  <a:lnTo>
                    <a:pt x="1094" y="210"/>
                  </a:lnTo>
                  <a:lnTo>
                    <a:pt x="1076" y="204"/>
                  </a:lnTo>
                  <a:lnTo>
                    <a:pt x="1058" y="208"/>
                  </a:lnTo>
                  <a:lnTo>
                    <a:pt x="1047" y="210"/>
                  </a:lnTo>
                  <a:lnTo>
                    <a:pt x="1035" y="201"/>
                  </a:lnTo>
                  <a:lnTo>
                    <a:pt x="1031" y="142"/>
                  </a:lnTo>
                  <a:lnTo>
                    <a:pt x="1051" y="137"/>
                  </a:lnTo>
                  <a:lnTo>
                    <a:pt x="1062" y="117"/>
                  </a:lnTo>
                  <a:lnTo>
                    <a:pt x="1056" y="97"/>
                  </a:lnTo>
                  <a:lnTo>
                    <a:pt x="1033" y="81"/>
                  </a:lnTo>
                  <a:lnTo>
                    <a:pt x="1008" y="57"/>
                  </a:lnTo>
                  <a:lnTo>
                    <a:pt x="951" y="25"/>
                  </a:lnTo>
                  <a:lnTo>
                    <a:pt x="940" y="29"/>
                  </a:lnTo>
                  <a:lnTo>
                    <a:pt x="926" y="46"/>
                  </a:lnTo>
                  <a:lnTo>
                    <a:pt x="909" y="46"/>
                  </a:lnTo>
                  <a:lnTo>
                    <a:pt x="884" y="31"/>
                  </a:lnTo>
                  <a:lnTo>
                    <a:pt x="833" y="0"/>
                  </a:lnTo>
                  <a:lnTo>
                    <a:pt x="830" y="47"/>
                  </a:lnTo>
                  <a:lnTo>
                    <a:pt x="822" y="85"/>
                  </a:lnTo>
                  <a:lnTo>
                    <a:pt x="811" y="104"/>
                  </a:lnTo>
                  <a:lnTo>
                    <a:pt x="794" y="119"/>
                  </a:lnTo>
                  <a:lnTo>
                    <a:pt x="766" y="168"/>
                  </a:lnTo>
                  <a:lnTo>
                    <a:pt x="758" y="162"/>
                  </a:lnTo>
                  <a:lnTo>
                    <a:pt x="745" y="156"/>
                  </a:lnTo>
                  <a:lnTo>
                    <a:pt x="741" y="156"/>
                  </a:lnTo>
                  <a:lnTo>
                    <a:pt x="733" y="179"/>
                  </a:lnTo>
                  <a:lnTo>
                    <a:pt x="722" y="201"/>
                  </a:lnTo>
                  <a:lnTo>
                    <a:pt x="708" y="243"/>
                  </a:lnTo>
                  <a:lnTo>
                    <a:pt x="700" y="255"/>
                  </a:lnTo>
                  <a:lnTo>
                    <a:pt x="688" y="253"/>
                  </a:lnTo>
                  <a:lnTo>
                    <a:pt x="661" y="242"/>
                  </a:lnTo>
                  <a:lnTo>
                    <a:pt x="637" y="228"/>
                  </a:lnTo>
                  <a:lnTo>
                    <a:pt x="633" y="267"/>
                  </a:lnTo>
                  <a:lnTo>
                    <a:pt x="618" y="332"/>
                  </a:lnTo>
                  <a:lnTo>
                    <a:pt x="597" y="379"/>
                  </a:lnTo>
                  <a:lnTo>
                    <a:pt x="571" y="407"/>
                  </a:lnTo>
                  <a:lnTo>
                    <a:pt x="566" y="436"/>
                  </a:lnTo>
                  <a:lnTo>
                    <a:pt x="571" y="475"/>
                  </a:lnTo>
                  <a:lnTo>
                    <a:pt x="551" y="489"/>
                  </a:lnTo>
                  <a:lnTo>
                    <a:pt x="494" y="530"/>
                  </a:lnTo>
                  <a:lnTo>
                    <a:pt x="448" y="559"/>
                  </a:lnTo>
                  <a:lnTo>
                    <a:pt x="403" y="571"/>
                  </a:lnTo>
                  <a:lnTo>
                    <a:pt x="382" y="558"/>
                  </a:lnTo>
                  <a:lnTo>
                    <a:pt x="347" y="594"/>
                  </a:lnTo>
                  <a:lnTo>
                    <a:pt x="337" y="595"/>
                  </a:lnTo>
                  <a:lnTo>
                    <a:pt x="311" y="579"/>
                  </a:lnTo>
                  <a:lnTo>
                    <a:pt x="275" y="554"/>
                  </a:lnTo>
                  <a:lnTo>
                    <a:pt x="268" y="539"/>
                  </a:lnTo>
                  <a:lnTo>
                    <a:pt x="257" y="539"/>
                  </a:lnTo>
                  <a:lnTo>
                    <a:pt x="249" y="546"/>
                  </a:lnTo>
                  <a:lnTo>
                    <a:pt x="237" y="571"/>
                  </a:lnTo>
                  <a:lnTo>
                    <a:pt x="211" y="602"/>
                  </a:lnTo>
                  <a:lnTo>
                    <a:pt x="156" y="626"/>
                  </a:lnTo>
                  <a:lnTo>
                    <a:pt x="139" y="652"/>
                  </a:lnTo>
                  <a:lnTo>
                    <a:pt x="118" y="700"/>
                  </a:lnTo>
                  <a:lnTo>
                    <a:pt x="100" y="704"/>
                  </a:lnTo>
                  <a:lnTo>
                    <a:pt x="85" y="718"/>
                  </a:lnTo>
                  <a:lnTo>
                    <a:pt x="54" y="740"/>
                  </a:lnTo>
                  <a:lnTo>
                    <a:pt x="33" y="754"/>
                  </a:lnTo>
                  <a:lnTo>
                    <a:pt x="0" y="772"/>
                  </a:lnTo>
                  <a:lnTo>
                    <a:pt x="354" y="734"/>
                  </a:lnTo>
                  <a:lnTo>
                    <a:pt x="639" y="698"/>
                  </a:lnTo>
                  <a:close/>
                </a:path>
              </a:pathLst>
            </a:custGeom>
            <a:solidFill>
              <a:schemeClr val="accent1"/>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1" name="Freeform 40"/>
            <p:cNvSpPr>
              <a:spLocks/>
            </p:cNvSpPr>
            <p:nvPr/>
          </p:nvSpPr>
          <p:spPr bwMode="auto">
            <a:xfrm>
              <a:off x="6238875" y="2514600"/>
              <a:ext cx="466725" cy="363537"/>
            </a:xfrm>
            <a:custGeom>
              <a:avLst/>
              <a:gdLst/>
              <a:ahLst/>
              <a:cxnLst>
                <a:cxn ang="0">
                  <a:pos x="435" y="20"/>
                </a:cxn>
                <a:cxn ang="0">
                  <a:pos x="369" y="0"/>
                </a:cxn>
                <a:cxn ang="0">
                  <a:pos x="313" y="20"/>
                </a:cxn>
                <a:cxn ang="0">
                  <a:pos x="269" y="28"/>
                </a:cxn>
                <a:cxn ang="0">
                  <a:pos x="180" y="20"/>
                </a:cxn>
                <a:cxn ang="0">
                  <a:pos x="123" y="34"/>
                </a:cxn>
                <a:cxn ang="0">
                  <a:pos x="54" y="85"/>
                </a:cxn>
                <a:cxn ang="0">
                  <a:pos x="49" y="102"/>
                </a:cxn>
                <a:cxn ang="0">
                  <a:pos x="23" y="124"/>
                </a:cxn>
                <a:cxn ang="0">
                  <a:pos x="0" y="148"/>
                </a:cxn>
                <a:cxn ang="0">
                  <a:pos x="19" y="174"/>
                </a:cxn>
                <a:cxn ang="0">
                  <a:pos x="90" y="211"/>
                </a:cxn>
                <a:cxn ang="0">
                  <a:pos x="111" y="248"/>
                </a:cxn>
                <a:cxn ang="0">
                  <a:pos x="156" y="299"/>
                </a:cxn>
                <a:cxn ang="0">
                  <a:pos x="255" y="377"/>
                </a:cxn>
                <a:cxn ang="0">
                  <a:pos x="309" y="445"/>
                </a:cxn>
                <a:cxn ang="0">
                  <a:pos x="355" y="475"/>
                </a:cxn>
                <a:cxn ang="0">
                  <a:pos x="381" y="499"/>
                </a:cxn>
                <a:cxn ang="0">
                  <a:pos x="405" y="531"/>
                </a:cxn>
                <a:cxn ang="0">
                  <a:pos x="413" y="556"/>
                </a:cxn>
                <a:cxn ang="0">
                  <a:pos x="423" y="575"/>
                </a:cxn>
                <a:cxn ang="0">
                  <a:pos x="439" y="585"/>
                </a:cxn>
                <a:cxn ang="0">
                  <a:pos x="453" y="599"/>
                </a:cxn>
                <a:cxn ang="0">
                  <a:pos x="463" y="618"/>
                </a:cxn>
                <a:cxn ang="0">
                  <a:pos x="477" y="644"/>
                </a:cxn>
                <a:cxn ang="0">
                  <a:pos x="482" y="674"/>
                </a:cxn>
                <a:cxn ang="0">
                  <a:pos x="505" y="688"/>
                </a:cxn>
                <a:cxn ang="0">
                  <a:pos x="512" y="654"/>
                </a:cxn>
                <a:cxn ang="0">
                  <a:pos x="541" y="654"/>
                </a:cxn>
                <a:cxn ang="0">
                  <a:pos x="545" y="651"/>
                </a:cxn>
                <a:cxn ang="0">
                  <a:pos x="550" y="646"/>
                </a:cxn>
                <a:cxn ang="0">
                  <a:pos x="548" y="642"/>
                </a:cxn>
                <a:cxn ang="0">
                  <a:pos x="541" y="640"/>
                </a:cxn>
                <a:cxn ang="0">
                  <a:pos x="520" y="633"/>
                </a:cxn>
                <a:cxn ang="0">
                  <a:pos x="517" y="632"/>
                </a:cxn>
                <a:cxn ang="0">
                  <a:pos x="512" y="626"/>
                </a:cxn>
                <a:cxn ang="0">
                  <a:pos x="516" y="600"/>
                </a:cxn>
                <a:cxn ang="0">
                  <a:pos x="542" y="619"/>
                </a:cxn>
                <a:cxn ang="0">
                  <a:pos x="574" y="622"/>
                </a:cxn>
                <a:cxn ang="0">
                  <a:pos x="577" y="590"/>
                </a:cxn>
                <a:cxn ang="0">
                  <a:pos x="585" y="575"/>
                </a:cxn>
                <a:cxn ang="0">
                  <a:pos x="627" y="561"/>
                </a:cxn>
                <a:cxn ang="0">
                  <a:pos x="618" y="549"/>
                </a:cxn>
                <a:cxn ang="0">
                  <a:pos x="602" y="543"/>
                </a:cxn>
                <a:cxn ang="0">
                  <a:pos x="614" y="533"/>
                </a:cxn>
                <a:cxn ang="0">
                  <a:pos x="632" y="543"/>
                </a:cxn>
                <a:cxn ang="0">
                  <a:pos x="660" y="533"/>
                </a:cxn>
                <a:cxn ang="0">
                  <a:pos x="670" y="499"/>
                </a:cxn>
                <a:cxn ang="0">
                  <a:pos x="655" y="483"/>
                </a:cxn>
                <a:cxn ang="0">
                  <a:pos x="685" y="489"/>
                </a:cxn>
                <a:cxn ang="0">
                  <a:pos x="704" y="468"/>
                </a:cxn>
                <a:cxn ang="0">
                  <a:pos x="742" y="422"/>
                </a:cxn>
                <a:cxn ang="0">
                  <a:pos x="778" y="390"/>
                </a:cxn>
                <a:cxn ang="0">
                  <a:pos x="777" y="367"/>
                </a:cxn>
                <a:cxn ang="0">
                  <a:pos x="775" y="347"/>
                </a:cxn>
                <a:cxn ang="0">
                  <a:pos x="786" y="336"/>
                </a:cxn>
                <a:cxn ang="0">
                  <a:pos x="806" y="306"/>
                </a:cxn>
                <a:cxn ang="0">
                  <a:pos x="822" y="263"/>
                </a:cxn>
                <a:cxn ang="0">
                  <a:pos x="836" y="242"/>
                </a:cxn>
                <a:cxn ang="0">
                  <a:pos x="881" y="203"/>
                </a:cxn>
                <a:cxn ang="0">
                  <a:pos x="457" y="64"/>
                </a:cxn>
              </a:cxnLst>
              <a:rect l="0" t="0" r="r" b="b"/>
              <a:pathLst>
                <a:path w="881" h="688">
                  <a:moveTo>
                    <a:pt x="457" y="64"/>
                  </a:moveTo>
                  <a:lnTo>
                    <a:pt x="435" y="20"/>
                  </a:lnTo>
                  <a:lnTo>
                    <a:pt x="407" y="6"/>
                  </a:lnTo>
                  <a:lnTo>
                    <a:pt x="369" y="0"/>
                  </a:lnTo>
                  <a:lnTo>
                    <a:pt x="335" y="6"/>
                  </a:lnTo>
                  <a:lnTo>
                    <a:pt x="313" y="20"/>
                  </a:lnTo>
                  <a:lnTo>
                    <a:pt x="296" y="25"/>
                  </a:lnTo>
                  <a:lnTo>
                    <a:pt x="269" y="28"/>
                  </a:lnTo>
                  <a:lnTo>
                    <a:pt x="216" y="20"/>
                  </a:lnTo>
                  <a:lnTo>
                    <a:pt x="180" y="20"/>
                  </a:lnTo>
                  <a:lnTo>
                    <a:pt x="142" y="25"/>
                  </a:lnTo>
                  <a:lnTo>
                    <a:pt x="123" y="34"/>
                  </a:lnTo>
                  <a:lnTo>
                    <a:pt x="56" y="85"/>
                  </a:lnTo>
                  <a:lnTo>
                    <a:pt x="54" y="85"/>
                  </a:lnTo>
                  <a:lnTo>
                    <a:pt x="52" y="93"/>
                  </a:lnTo>
                  <a:lnTo>
                    <a:pt x="49" y="102"/>
                  </a:lnTo>
                  <a:lnTo>
                    <a:pt x="40" y="109"/>
                  </a:lnTo>
                  <a:lnTo>
                    <a:pt x="23" y="124"/>
                  </a:lnTo>
                  <a:lnTo>
                    <a:pt x="0" y="136"/>
                  </a:lnTo>
                  <a:lnTo>
                    <a:pt x="0" y="148"/>
                  </a:lnTo>
                  <a:lnTo>
                    <a:pt x="8" y="160"/>
                  </a:lnTo>
                  <a:lnTo>
                    <a:pt x="19" y="174"/>
                  </a:lnTo>
                  <a:lnTo>
                    <a:pt x="73" y="196"/>
                  </a:lnTo>
                  <a:lnTo>
                    <a:pt x="90" y="211"/>
                  </a:lnTo>
                  <a:lnTo>
                    <a:pt x="101" y="227"/>
                  </a:lnTo>
                  <a:lnTo>
                    <a:pt x="111" y="248"/>
                  </a:lnTo>
                  <a:lnTo>
                    <a:pt x="134" y="271"/>
                  </a:lnTo>
                  <a:lnTo>
                    <a:pt x="156" y="299"/>
                  </a:lnTo>
                  <a:lnTo>
                    <a:pt x="234" y="357"/>
                  </a:lnTo>
                  <a:lnTo>
                    <a:pt x="255" y="377"/>
                  </a:lnTo>
                  <a:lnTo>
                    <a:pt x="283" y="413"/>
                  </a:lnTo>
                  <a:lnTo>
                    <a:pt x="309" y="445"/>
                  </a:lnTo>
                  <a:lnTo>
                    <a:pt x="338" y="461"/>
                  </a:lnTo>
                  <a:lnTo>
                    <a:pt x="355" y="475"/>
                  </a:lnTo>
                  <a:lnTo>
                    <a:pt x="369" y="488"/>
                  </a:lnTo>
                  <a:lnTo>
                    <a:pt x="381" y="499"/>
                  </a:lnTo>
                  <a:lnTo>
                    <a:pt x="388" y="508"/>
                  </a:lnTo>
                  <a:lnTo>
                    <a:pt x="405" y="531"/>
                  </a:lnTo>
                  <a:lnTo>
                    <a:pt x="413" y="545"/>
                  </a:lnTo>
                  <a:lnTo>
                    <a:pt x="413" y="556"/>
                  </a:lnTo>
                  <a:lnTo>
                    <a:pt x="419" y="570"/>
                  </a:lnTo>
                  <a:lnTo>
                    <a:pt x="423" y="575"/>
                  </a:lnTo>
                  <a:lnTo>
                    <a:pt x="430" y="575"/>
                  </a:lnTo>
                  <a:lnTo>
                    <a:pt x="439" y="585"/>
                  </a:lnTo>
                  <a:lnTo>
                    <a:pt x="453" y="593"/>
                  </a:lnTo>
                  <a:lnTo>
                    <a:pt x="453" y="599"/>
                  </a:lnTo>
                  <a:lnTo>
                    <a:pt x="453" y="607"/>
                  </a:lnTo>
                  <a:lnTo>
                    <a:pt x="463" y="618"/>
                  </a:lnTo>
                  <a:lnTo>
                    <a:pt x="477" y="636"/>
                  </a:lnTo>
                  <a:lnTo>
                    <a:pt x="477" y="644"/>
                  </a:lnTo>
                  <a:lnTo>
                    <a:pt x="477" y="663"/>
                  </a:lnTo>
                  <a:lnTo>
                    <a:pt x="482" y="674"/>
                  </a:lnTo>
                  <a:lnTo>
                    <a:pt x="495" y="681"/>
                  </a:lnTo>
                  <a:lnTo>
                    <a:pt x="505" y="688"/>
                  </a:lnTo>
                  <a:lnTo>
                    <a:pt x="505" y="660"/>
                  </a:lnTo>
                  <a:lnTo>
                    <a:pt x="512" y="654"/>
                  </a:lnTo>
                  <a:lnTo>
                    <a:pt x="534" y="654"/>
                  </a:lnTo>
                  <a:lnTo>
                    <a:pt x="541" y="654"/>
                  </a:lnTo>
                  <a:lnTo>
                    <a:pt x="541" y="654"/>
                  </a:lnTo>
                  <a:lnTo>
                    <a:pt x="545" y="651"/>
                  </a:lnTo>
                  <a:lnTo>
                    <a:pt x="550" y="646"/>
                  </a:lnTo>
                  <a:lnTo>
                    <a:pt x="550" y="646"/>
                  </a:lnTo>
                  <a:lnTo>
                    <a:pt x="550" y="644"/>
                  </a:lnTo>
                  <a:lnTo>
                    <a:pt x="548" y="642"/>
                  </a:lnTo>
                  <a:lnTo>
                    <a:pt x="545" y="640"/>
                  </a:lnTo>
                  <a:lnTo>
                    <a:pt x="541" y="640"/>
                  </a:lnTo>
                  <a:lnTo>
                    <a:pt x="541" y="640"/>
                  </a:lnTo>
                  <a:lnTo>
                    <a:pt x="520" y="633"/>
                  </a:lnTo>
                  <a:lnTo>
                    <a:pt x="520" y="633"/>
                  </a:lnTo>
                  <a:lnTo>
                    <a:pt x="517" y="632"/>
                  </a:lnTo>
                  <a:lnTo>
                    <a:pt x="514" y="629"/>
                  </a:lnTo>
                  <a:lnTo>
                    <a:pt x="512" y="626"/>
                  </a:lnTo>
                  <a:lnTo>
                    <a:pt x="512" y="621"/>
                  </a:lnTo>
                  <a:lnTo>
                    <a:pt x="516" y="600"/>
                  </a:lnTo>
                  <a:lnTo>
                    <a:pt x="535" y="617"/>
                  </a:lnTo>
                  <a:lnTo>
                    <a:pt x="542" y="619"/>
                  </a:lnTo>
                  <a:lnTo>
                    <a:pt x="556" y="631"/>
                  </a:lnTo>
                  <a:lnTo>
                    <a:pt x="574" y="622"/>
                  </a:lnTo>
                  <a:lnTo>
                    <a:pt x="577" y="597"/>
                  </a:lnTo>
                  <a:lnTo>
                    <a:pt x="577" y="590"/>
                  </a:lnTo>
                  <a:lnTo>
                    <a:pt x="574" y="575"/>
                  </a:lnTo>
                  <a:lnTo>
                    <a:pt x="585" y="575"/>
                  </a:lnTo>
                  <a:lnTo>
                    <a:pt x="607" y="575"/>
                  </a:lnTo>
                  <a:lnTo>
                    <a:pt x="627" y="561"/>
                  </a:lnTo>
                  <a:lnTo>
                    <a:pt x="627" y="554"/>
                  </a:lnTo>
                  <a:lnTo>
                    <a:pt x="618" y="549"/>
                  </a:lnTo>
                  <a:lnTo>
                    <a:pt x="607" y="549"/>
                  </a:lnTo>
                  <a:lnTo>
                    <a:pt x="602" y="543"/>
                  </a:lnTo>
                  <a:lnTo>
                    <a:pt x="602" y="538"/>
                  </a:lnTo>
                  <a:lnTo>
                    <a:pt x="614" y="533"/>
                  </a:lnTo>
                  <a:lnTo>
                    <a:pt x="621" y="538"/>
                  </a:lnTo>
                  <a:lnTo>
                    <a:pt x="632" y="543"/>
                  </a:lnTo>
                  <a:lnTo>
                    <a:pt x="643" y="543"/>
                  </a:lnTo>
                  <a:lnTo>
                    <a:pt x="660" y="533"/>
                  </a:lnTo>
                  <a:lnTo>
                    <a:pt x="677" y="511"/>
                  </a:lnTo>
                  <a:lnTo>
                    <a:pt x="670" y="499"/>
                  </a:lnTo>
                  <a:lnTo>
                    <a:pt x="659" y="489"/>
                  </a:lnTo>
                  <a:lnTo>
                    <a:pt x="655" y="483"/>
                  </a:lnTo>
                  <a:lnTo>
                    <a:pt x="664" y="479"/>
                  </a:lnTo>
                  <a:lnTo>
                    <a:pt x="685" y="489"/>
                  </a:lnTo>
                  <a:lnTo>
                    <a:pt x="696" y="482"/>
                  </a:lnTo>
                  <a:lnTo>
                    <a:pt x="704" y="468"/>
                  </a:lnTo>
                  <a:lnTo>
                    <a:pt x="721" y="434"/>
                  </a:lnTo>
                  <a:lnTo>
                    <a:pt x="742" y="422"/>
                  </a:lnTo>
                  <a:lnTo>
                    <a:pt x="761" y="413"/>
                  </a:lnTo>
                  <a:lnTo>
                    <a:pt x="778" y="390"/>
                  </a:lnTo>
                  <a:lnTo>
                    <a:pt x="785" y="378"/>
                  </a:lnTo>
                  <a:lnTo>
                    <a:pt x="777" y="367"/>
                  </a:lnTo>
                  <a:lnTo>
                    <a:pt x="770" y="352"/>
                  </a:lnTo>
                  <a:lnTo>
                    <a:pt x="775" y="347"/>
                  </a:lnTo>
                  <a:lnTo>
                    <a:pt x="786" y="352"/>
                  </a:lnTo>
                  <a:lnTo>
                    <a:pt x="786" y="336"/>
                  </a:lnTo>
                  <a:lnTo>
                    <a:pt x="792" y="325"/>
                  </a:lnTo>
                  <a:lnTo>
                    <a:pt x="806" y="306"/>
                  </a:lnTo>
                  <a:lnTo>
                    <a:pt x="813" y="278"/>
                  </a:lnTo>
                  <a:lnTo>
                    <a:pt x="822" y="263"/>
                  </a:lnTo>
                  <a:lnTo>
                    <a:pt x="831" y="252"/>
                  </a:lnTo>
                  <a:lnTo>
                    <a:pt x="836" y="242"/>
                  </a:lnTo>
                  <a:lnTo>
                    <a:pt x="868" y="216"/>
                  </a:lnTo>
                  <a:lnTo>
                    <a:pt x="881" y="203"/>
                  </a:lnTo>
                  <a:lnTo>
                    <a:pt x="641" y="28"/>
                  </a:lnTo>
                  <a:lnTo>
                    <a:pt x="457" y="64"/>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2" name="Freeform 41"/>
            <p:cNvSpPr>
              <a:spLocks/>
            </p:cNvSpPr>
            <p:nvPr/>
          </p:nvSpPr>
          <p:spPr bwMode="auto">
            <a:xfrm>
              <a:off x="5759450" y="2581275"/>
              <a:ext cx="365125" cy="587375"/>
            </a:xfrm>
            <a:custGeom>
              <a:avLst/>
              <a:gdLst/>
              <a:ahLst/>
              <a:cxnLst>
                <a:cxn ang="0">
                  <a:pos x="216" y="1008"/>
                </a:cxn>
                <a:cxn ang="0">
                  <a:pos x="187" y="969"/>
                </a:cxn>
                <a:cxn ang="0">
                  <a:pos x="200" y="947"/>
                </a:cxn>
                <a:cxn ang="0">
                  <a:pos x="286" y="927"/>
                </a:cxn>
                <a:cxn ang="0">
                  <a:pos x="688" y="882"/>
                </a:cxn>
                <a:cxn ang="0">
                  <a:pos x="659" y="841"/>
                </a:cxn>
                <a:cxn ang="0">
                  <a:pos x="656" y="812"/>
                </a:cxn>
                <a:cxn ang="0">
                  <a:pos x="662" y="776"/>
                </a:cxn>
                <a:cxn ang="0">
                  <a:pos x="645" y="716"/>
                </a:cxn>
                <a:cxn ang="0">
                  <a:pos x="656" y="679"/>
                </a:cxn>
                <a:cxn ang="0">
                  <a:pos x="645" y="641"/>
                </a:cxn>
                <a:cxn ang="0">
                  <a:pos x="674" y="605"/>
                </a:cxn>
                <a:cxn ang="0">
                  <a:pos x="658" y="571"/>
                </a:cxn>
                <a:cxn ang="0">
                  <a:pos x="633" y="523"/>
                </a:cxn>
                <a:cxn ang="0">
                  <a:pos x="586" y="415"/>
                </a:cxn>
                <a:cxn ang="0">
                  <a:pos x="493" y="68"/>
                </a:cxn>
                <a:cxn ang="0">
                  <a:pos x="515" y="0"/>
                </a:cxn>
                <a:cxn ang="0">
                  <a:pos x="8" y="39"/>
                </a:cxn>
                <a:cxn ang="0">
                  <a:pos x="0" y="586"/>
                </a:cxn>
                <a:cxn ang="0">
                  <a:pos x="36" y="1079"/>
                </a:cxn>
                <a:cxn ang="0">
                  <a:pos x="64" y="1083"/>
                </a:cxn>
                <a:cxn ang="0">
                  <a:pos x="89" y="1073"/>
                </a:cxn>
                <a:cxn ang="0">
                  <a:pos x="92" y="1026"/>
                </a:cxn>
                <a:cxn ang="0">
                  <a:pos x="118" y="1015"/>
                </a:cxn>
                <a:cxn ang="0">
                  <a:pos x="125" y="1038"/>
                </a:cxn>
                <a:cxn ang="0">
                  <a:pos x="125" y="1061"/>
                </a:cxn>
                <a:cxn ang="0">
                  <a:pos x="140" y="1072"/>
                </a:cxn>
                <a:cxn ang="0">
                  <a:pos x="151" y="1094"/>
                </a:cxn>
                <a:cxn ang="0">
                  <a:pos x="140" y="1109"/>
                </a:cxn>
                <a:cxn ang="0">
                  <a:pos x="173" y="1101"/>
                </a:cxn>
                <a:cxn ang="0">
                  <a:pos x="209" y="1084"/>
                </a:cxn>
                <a:cxn ang="0">
                  <a:pos x="237" y="1079"/>
                </a:cxn>
                <a:cxn ang="0">
                  <a:pos x="243" y="1073"/>
                </a:cxn>
              </a:cxnLst>
              <a:rect l="0" t="0" r="r" b="b"/>
              <a:pathLst>
                <a:path w="692" h="1109">
                  <a:moveTo>
                    <a:pt x="225" y="1030"/>
                  </a:moveTo>
                  <a:lnTo>
                    <a:pt x="216" y="1008"/>
                  </a:lnTo>
                  <a:lnTo>
                    <a:pt x="197" y="980"/>
                  </a:lnTo>
                  <a:lnTo>
                    <a:pt x="187" y="969"/>
                  </a:lnTo>
                  <a:lnTo>
                    <a:pt x="187" y="952"/>
                  </a:lnTo>
                  <a:lnTo>
                    <a:pt x="200" y="947"/>
                  </a:lnTo>
                  <a:lnTo>
                    <a:pt x="236" y="936"/>
                  </a:lnTo>
                  <a:lnTo>
                    <a:pt x="286" y="927"/>
                  </a:lnTo>
                  <a:lnTo>
                    <a:pt x="692" y="890"/>
                  </a:lnTo>
                  <a:lnTo>
                    <a:pt x="688" y="882"/>
                  </a:lnTo>
                  <a:lnTo>
                    <a:pt x="673" y="855"/>
                  </a:lnTo>
                  <a:lnTo>
                    <a:pt x="659" y="841"/>
                  </a:lnTo>
                  <a:lnTo>
                    <a:pt x="654" y="820"/>
                  </a:lnTo>
                  <a:lnTo>
                    <a:pt x="656" y="812"/>
                  </a:lnTo>
                  <a:lnTo>
                    <a:pt x="667" y="804"/>
                  </a:lnTo>
                  <a:lnTo>
                    <a:pt x="662" y="776"/>
                  </a:lnTo>
                  <a:lnTo>
                    <a:pt x="654" y="759"/>
                  </a:lnTo>
                  <a:lnTo>
                    <a:pt x="645" y="716"/>
                  </a:lnTo>
                  <a:lnTo>
                    <a:pt x="645" y="686"/>
                  </a:lnTo>
                  <a:lnTo>
                    <a:pt x="656" y="679"/>
                  </a:lnTo>
                  <a:lnTo>
                    <a:pt x="659" y="654"/>
                  </a:lnTo>
                  <a:lnTo>
                    <a:pt x="645" y="641"/>
                  </a:lnTo>
                  <a:lnTo>
                    <a:pt x="666" y="626"/>
                  </a:lnTo>
                  <a:lnTo>
                    <a:pt x="674" y="605"/>
                  </a:lnTo>
                  <a:lnTo>
                    <a:pt x="662" y="596"/>
                  </a:lnTo>
                  <a:lnTo>
                    <a:pt x="658" y="571"/>
                  </a:lnTo>
                  <a:lnTo>
                    <a:pt x="655" y="553"/>
                  </a:lnTo>
                  <a:lnTo>
                    <a:pt x="633" y="523"/>
                  </a:lnTo>
                  <a:lnTo>
                    <a:pt x="598" y="457"/>
                  </a:lnTo>
                  <a:lnTo>
                    <a:pt x="586" y="415"/>
                  </a:lnTo>
                  <a:lnTo>
                    <a:pt x="533" y="228"/>
                  </a:lnTo>
                  <a:lnTo>
                    <a:pt x="493" y="68"/>
                  </a:lnTo>
                  <a:lnTo>
                    <a:pt x="479" y="3"/>
                  </a:lnTo>
                  <a:lnTo>
                    <a:pt x="515" y="0"/>
                  </a:lnTo>
                  <a:lnTo>
                    <a:pt x="515" y="0"/>
                  </a:lnTo>
                  <a:lnTo>
                    <a:pt x="8" y="39"/>
                  </a:lnTo>
                  <a:lnTo>
                    <a:pt x="10" y="78"/>
                  </a:lnTo>
                  <a:lnTo>
                    <a:pt x="0" y="586"/>
                  </a:lnTo>
                  <a:lnTo>
                    <a:pt x="4" y="850"/>
                  </a:lnTo>
                  <a:lnTo>
                    <a:pt x="36" y="1079"/>
                  </a:lnTo>
                  <a:lnTo>
                    <a:pt x="49" y="1077"/>
                  </a:lnTo>
                  <a:lnTo>
                    <a:pt x="64" y="1083"/>
                  </a:lnTo>
                  <a:lnTo>
                    <a:pt x="86" y="1086"/>
                  </a:lnTo>
                  <a:lnTo>
                    <a:pt x="89" y="1073"/>
                  </a:lnTo>
                  <a:lnTo>
                    <a:pt x="86" y="1051"/>
                  </a:lnTo>
                  <a:lnTo>
                    <a:pt x="92" y="1026"/>
                  </a:lnTo>
                  <a:lnTo>
                    <a:pt x="101" y="1019"/>
                  </a:lnTo>
                  <a:lnTo>
                    <a:pt x="118" y="1015"/>
                  </a:lnTo>
                  <a:lnTo>
                    <a:pt x="125" y="1023"/>
                  </a:lnTo>
                  <a:lnTo>
                    <a:pt x="125" y="1038"/>
                  </a:lnTo>
                  <a:lnTo>
                    <a:pt x="118" y="1049"/>
                  </a:lnTo>
                  <a:lnTo>
                    <a:pt x="125" y="1061"/>
                  </a:lnTo>
                  <a:lnTo>
                    <a:pt x="129" y="1066"/>
                  </a:lnTo>
                  <a:lnTo>
                    <a:pt x="140" y="1072"/>
                  </a:lnTo>
                  <a:lnTo>
                    <a:pt x="150" y="1084"/>
                  </a:lnTo>
                  <a:lnTo>
                    <a:pt x="151" y="1094"/>
                  </a:lnTo>
                  <a:lnTo>
                    <a:pt x="147" y="1099"/>
                  </a:lnTo>
                  <a:lnTo>
                    <a:pt x="140" y="1109"/>
                  </a:lnTo>
                  <a:lnTo>
                    <a:pt x="148" y="1108"/>
                  </a:lnTo>
                  <a:lnTo>
                    <a:pt x="173" y="1101"/>
                  </a:lnTo>
                  <a:lnTo>
                    <a:pt x="198" y="1092"/>
                  </a:lnTo>
                  <a:lnTo>
                    <a:pt x="209" y="1084"/>
                  </a:lnTo>
                  <a:lnTo>
                    <a:pt x="219" y="1081"/>
                  </a:lnTo>
                  <a:lnTo>
                    <a:pt x="237" y="1079"/>
                  </a:lnTo>
                  <a:lnTo>
                    <a:pt x="246" y="1072"/>
                  </a:lnTo>
                  <a:lnTo>
                    <a:pt x="243" y="1073"/>
                  </a:lnTo>
                  <a:lnTo>
                    <a:pt x="225" y="1030"/>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3" name="Freeform 42"/>
            <p:cNvSpPr>
              <a:spLocks/>
            </p:cNvSpPr>
            <p:nvPr/>
          </p:nvSpPr>
          <p:spPr bwMode="auto">
            <a:xfrm>
              <a:off x="5440363" y="2601913"/>
              <a:ext cx="338137" cy="590550"/>
            </a:xfrm>
            <a:custGeom>
              <a:avLst/>
              <a:gdLst/>
              <a:ahLst/>
              <a:cxnLst>
                <a:cxn ang="0">
                  <a:pos x="601" y="547"/>
                </a:cxn>
                <a:cxn ang="0">
                  <a:pos x="609" y="0"/>
                </a:cxn>
                <a:cxn ang="0">
                  <a:pos x="223" y="28"/>
                </a:cxn>
                <a:cxn ang="0">
                  <a:pos x="212" y="56"/>
                </a:cxn>
                <a:cxn ang="0">
                  <a:pos x="190" y="83"/>
                </a:cxn>
                <a:cxn ang="0">
                  <a:pos x="172" y="93"/>
                </a:cxn>
                <a:cxn ang="0">
                  <a:pos x="165" y="146"/>
                </a:cxn>
                <a:cxn ang="0">
                  <a:pos x="122" y="203"/>
                </a:cxn>
                <a:cxn ang="0">
                  <a:pos x="100" y="243"/>
                </a:cxn>
                <a:cxn ang="0">
                  <a:pos x="96" y="262"/>
                </a:cxn>
                <a:cxn ang="0">
                  <a:pos x="92" y="300"/>
                </a:cxn>
                <a:cxn ang="0">
                  <a:pos x="68" y="316"/>
                </a:cxn>
                <a:cxn ang="0">
                  <a:pos x="65" y="343"/>
                </a:cxn>
                <a:cxn ang="0">
                  <a:pos x="58" y="364"/>
                </a:cxn>
                <a:cxn ang="0">
                  <a:pos x="76" y="384"/>
                </a:cxn>
                <a:cxn ang="0">
                  <a:pos x="72" y="430"/>
                </a:cxn>
                <a:cxn ang="0">
                  <a:pos x="76" y="462"/>
                </a:cxn>
                <a:cxn ang="0">
                  <a:pos x="62" y="490"/>
                </a:cxn>
                <a:cxn ang="0">
                  <a:pos x="82" y="516"/>
                </a:cxn>
                <a:cxn ang="0">
                  <a:pos x="62" y="539"/>
                </a:cxn>
                <a:cxn ang="0">
                  <a:pos x="82" y="558"/>
                </a:cxn>
                <a:cxn ang="0">
                  <a:pos x="83" y="594"/>
                </a:cxn>
                <a:cxn ang="0">
                  <a:pos x="106" y="618"/>
                </a:cxn>
                <a:cxn ang="0">
                  <a:pos x="106" y="675"/>
                </a:cxn>
                <a:cxn ang="0">
                  <a:pos x="78" y="688"/>
                </a:cxn>
                <a:cxn ang="0">
                  <a:pos x="76" y="723"/>
                </a:cxn>
                <a:cxn ang="0">
                  <a:pos x="40" y="768"/>
                </a:cxn>
                <a:cxn ang="0">
                  <a:pos x="32" y="816"/>
                </a:cxn>
                <a:cxn ang="0">
                  <a:pos x="19" y="837"/>
                </a:cxn>
                <a:cxn ang="0">
                  <a:pos x="19" y="877"/>
                </a:cxn>
                <a:cxn ang="0">
                  <a:pos x="1" y="902"/>
                </a:cxn>
                <a:cxn ang="0">
                  <a:pos x="7" y="940"/>
                </a:cxn>
                <a:cxn ang="0">
                  <a:pos x="354" y="1010"/>
                </a:cxn>
                <a:cxn ang="0">
                  <a:pos x="384" y="1053"/>
                </a:cxn>
                <a:cxn ang="0">
                  <a:pos x="394" y="1113"/>
                </a:cxn>
                <a:cxn ang="0">
                  <a:pos x="398" y="1115"/>
                </a:cxn>
                <a:cxn ang="0">
                  <a:pos x="432" y="1094"/>
                </a:cxn>
                <a:cxn ang="0">
                  <a:pos x="451" y="1065"/>
                </a:cxn>
                <a:cxn ang="0">
                  <a:pos x="490" y="1060"/>
                </a:cxn>
                <a:cxn ang="0">
                  <a:pos x="536" y="1045"/>
                </a:cxn>
                <a:cxn ang="0">
                  <a:pos x="575" y="1045"/>
                </a:cxn>
                <a:cxn ang="0">
                  <a:pos x="598" y="1045"/>
                </a:cxn>
                <a:cxn ang="0">
                  <a:pos x="627" y="1044"/>
                </a:cxn>
                <a:cxn ang="0">
                  <a:pos x="638" y="1040"/>
                </a:cxn>
                <a:cxn ang="0">
                  <a:pos x="605" y="811"/>
                </a:cxn>
              </a:cxnLst>
              <a:rect l="0" t="0" r="r" b="b"/>
              <a:pathLst>
                <a:path w="638" h="1116">
                  <a:moveTo>
                    <a:pt x="605" y="811"/>
                  </a:moveTo>
                  <a:lnTo>
                    <a:pt x="601" y="547"/>
                  </a:lnTo>
                  <a:lnTo>
                    <a:pt x="611" y="39"/>
                  </a:lnTo>
                  <a:lnTo>
                    <a:pt x="609" y="0"/>
                  </a:lnTo>
                  <a:lnTo>
                    <a:pt x="223" y="29"/>
                  </a:lnTo>
                  <a:lnTo>
                    <a:pt x="223" y="28"/>
                  </a:lnTo>
                  <a:lnTo>
                    <a:pt x="226" y="43"/>
                  </a:lnTo>
                  <a:lnTo>
                    <a:pt x="212" y="56"/>
                  </a:lnTo>
                  <a:lnTo>
                    <a:pt x="196" y="67"/>
                  </a:lnTo>
                  <a:lnTo>
                    <a:pt x="190" y="83"/>
                  </a:lnTo>
                  <a:lnTo>
                    <a:pt x="183" y="93"/>
                  </a:lnTo>
                  <a:lnTo>
                    <a:pt x="172" y="93"/>
                  </a:lnTo>
                  <a:lnTo>
                    <a:pt x="162" y="124"/>
                  </a:lnTo>
                  <a:lnTo>
                    <a:pt x="165" y="146"/>
                  </a:lnTo>
                  <a:lnTo>
                    <a:pt x="150" y="169"/>
                  </a:lnTo>
                  <a:lnTo>
                    <a:pt x="122" y="203"/>
                  </a:lnTo>
                  <a:lnTo>
                    <a:pt x="103" y="219"/>
                  </a:lnTo>
                  <a:lnTo>
                    <a:pt x="100" y="243"/>
                  </a:lnTo>
                  <a:lnTo>
                    <a:pt x="106" y="248"/>
                  </a:lnTo>
                  <a:lnTo>
                    <a:pt x="96" y="262"/>
                  </a:lnTo>
                  <a:lnTo>
                    <a:pt x="90" y="283"/>
                  </a:lnTo>
                  <a:lnTo>
                    <a:pt x="92" y="300"/>
                  </a:lnTo>
                  <a:lnTo>
                    <a:pt x="86" y="300"/>
                  </a:lnTo>
                  <a:lnTo>
                    <a:pt x="68" y="316"/>
                  </a:lnTo>
                  <a:lnTo>
                    <a:pt x="62" y="335"/>
                  </a:lnTo>
                  <a:lnTo>
                    <a:pt x="65" y="343"/>
                  </a:lnTo>
                  <a:lnTo>
                    <a:pt x="58" y="350"/>
                  </a:lnTo>
                  <a:lnTo>
                    <a:pt x="58" y="364"/>
                  </a:lnTo>
                  <a:lnTo>
                    <a:pt x="67" y="369"/>
                  </a:lnTo>
                  <a:lnTo>
                    <a:pt x="76" y="384"/>
                  </a:lnTo>
                  <a:lnTo>
                    <a:pt x="74" y="398"/>
                  </a:lnTo>
                  <a:lnTo>
                    <a:pt x="72" y="430"/>
                  </a:lnTo>
                  <a:lnTo>
                    <a:pt x="81" y="446"/>
                  </a:lnTo>
                  <a:lnTo>
                    <a:pt x="76" y="462"/>
                  </a:lnTo>
                  <a:lnTo>
                    <a:pt x="64" y="491"/>
                  </a:lnTo>
                  <a:lnTo>
                    <a:pt x="62" y="490"/>
                  </a:lnTo>
                  <a:lnTo>
                    <a:pt x="76" y="501"/>
                  </a:lnTo>
                  <a:lnTo>
                    <a:pt x="82" y="516"/>
                  </a:lnTo>
                  <a:lnTo>
                    <a:pt x="78" y="529"/>
                  </a:lnTo>
                  <a:lnTo>
                    <a:pt x="62" y="539"/>
                  </a:lnTo>
                  <a:lnTo>
                    <a:pt x="76" y="551"/>
                  </a:lnTo>
                  <a:lnTo>
                    <a:pt x="82" y="558"/>
                  </a:lnTo>
                  <a:lnTo>
                    <a:pt x="78" y="566"/>
                  </a:lnTo>
                  <a:lnTo>
                    <a:pt x="83" y="594"/>
                  </a:lnTo>
                  <a:lnTo>
                    <a:pt x="83" y="605"/>
                  </a:lnTo>
                  <a:lnTo>
                    <a:pt x="106" y="618"/>
                  </a:lnTo>
                  <a:lnTo>
                    <a:pt x="110" y="637"/>
                  </a:lnTo>
                  <a:lnTo>
                    <a:pt x="106" y="675"/>
                  </a:lnTo>
                  <a:lnTo>
                    <a:pt x="90" y="688"/>
                  </a:lnTo>
                  <a:lnTo>
                    <a:pt x="78" y="688"/>
                  </a:lnTo>
                  <a:lnTo>
                    <a:pt x="82" y="712"/>
                  </a:lnTo>
                  <a:lnTo>
                    <a:pt x="76" y="723"/>
                  </a:lnTo>
                  <a:lnTo>
                    <a:pt x="53" y="759"/>
                  </a:lnTo>
                  <a:lnTo>
                    <a:pt x="40" y="768"/>
                  </a:lnTo>
                  <a:lnTo>
                    <a:pt x="38" y="809"/>
                  </a:lnTo>
                  <a:lnTo>
                    <a:pt x="32" y="816"/>
                  </a:lnTo>
                  <a:lnTo>
                    <a:pt x="24" y="826"/>
                  </a:lnTo>
                  <a:lnTo>
                    <a:pt x="19" y="837"/>
                  </a:lnTo>
                  <a:lnTo>
                    <a:pt x="19" y="851"/>
                  </a:lnTo>
                  <a:lnTo>
                    <a:pt x="19" y="877"/>
                  </a:lnTo>
                  <a:lnTo>
                    <a:pt x="7" y="892"/>
                  </a:lnTo>
                  <a:lnTo>
                    <a:pt x="1" y="902"/>
                  </a:lnTo>
                  <a:lnTo>
                    <a:pt x="0" y="919"/>
                  </a:lnTo>
                  <a:lnTo>
                    <a:pt x="7" y="940"/>
                  </a:lnTo>
                  <a:lnTo>
                    <a:pt x="359" y="926"/>
                  </a:lnTo>
                  <a:lnTo>
                    <a:pt x="354" y="1010"/>
                  </a:lnTo>
                  <a:lnTo>
                    <a:pt x="368" y="1034"/>
                  </a:lnTo>
                  <a:lnTo>
                    <a:pt x="384" y="1053"/>
                  </a:lnTo>
                  <a:lnTo>
                    <a:pt x="394" y="1095"/>
                  </a:lnTo>
                  <a:lnTo>
                    <a:pt x="394" y="1113"/>
                  </a:lnTo>
                  <a:lnTo>
                    <a:pt x="393" y="1116"/>
                  </a:lnTo>
                  <a:lnTo>
                    <a:pt x="398" y="1115"/>
                  </a:lnTo>
                  <a:lnTo>
                    <a:pt x="421" y="1102"/>
                  </a:lnTo>
                  <a:lnTo>
                    <a:pt x="432" y="1094"/>
                  </a:lnTo>
                  <a:lnTo>
                    <a:pt x="447" y="1084"/>
                  </a:lnTo>
                  <a:lnTo>
                    <a:pt x="451" y="1065"/>
                  </a:lnTo>
                  <a:lnTo>
                    <a:pt x="469" y="1060"/>
                  </a:lnTo>
                  <a:lnTo>
                    <a:pt x="490" y="1060"/>
                  </a:lnTo>
                  <a:lnTo>
                    <a:pt x="507" y="1052"/>
                  </a:lnTo>
                  <a:lnTo>
                    <a:pt x="536" y="1045"/>
                  </a:lnTo>
                  <a:lnTo>
                    <a:pt x="558" y="1045"/>
                  </a:lnTo>
                  <a:lnTo>
                    <a:pt x="575" y="1045"/>
                  </a:lnTo>
                  <a:lnTo>
                    <a:pt x="586" y="1044"/>
                  </a:lnTo>
                  <a:lnTo>
                    <a:pt x="598" y="1045"/>
                  </a:lnTo>
                  <a:lnTo>
                    <a:pt x="620" y="1052"/>
                  </a:lnTo>
                  <a:lnTo>
                    <a:pt x="627" y="1044"/>
                  </a:lnTo>
                  <a:lnTo>
                    <a:pt x="638" y="1040"/>
                  </a:lnTo>
                  <a:lnTo>
                    <a:pt x="638" y="1040"/>
                  </a:lnTo>
                  <a:lnTo>
                    <a:pt x="637" y="1040"/>
                  </a:lnTo>
                  <a:lnTo>
                    <a:pt x="605" y="811"/>
                  </a:lnTo>
                  <a:close/>
                </a:path>
              </a:pathLst>
            </a:custGeom>
            <a:solidFill>
              <a:schemeClr val="accent3"/>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4" name="Freeform 43"/>
            <p:cNvSpPr>
              <a:spLocks/>
            </p:cNvSpPr>
            <p:nvPr/>
          </p:nvSpPr>
          <p:spPr bwMode="auto">
            <a:xfrm>
              <a:off x="6507163" y="1890713"/>
              <a:ext cx="417512" cy="303212"/>
            </a:xfrm>
            <a:custGeom>
              <a:avLst/>
              <a:gdLst/>
              <a:ahLst/>
              <a:cxnLst>
                <a:cxn ang="0">
                  <a:pos x="0" y="113"/>
                </a:cxn>
                <a:cxn ang="0">
                  <a:pos x="11" y="206"/>
                </a:cxn>
                <a:cxn ang="0">
                  <a:pos x="72" y="156"/>
                </a:cxn>
                <a:cxn ang="0">
                  <a:pos x="126" y="118"/>
                </a:cxn>
                <a:cxn ang="0">
                  <a:pos x="144" y="126"/>
                </a:cxn>
                <a:cxn ang="0">
                  <a:pos x="190" y="103"/>
                </a:cxn>
                <a:cxn ang="0">
                  <a:pos x="290" y="103"/>
                </a:cxn>
                <a:cxn ang="0">
                  <a:pos x="326" y="168"/>
                </a:cxn>
                <a:cxn ang="0">
                  <a:pos x="383" y="200"/>
                </a:cxn>
                <a:cxn ang="0">
                  <a:pos x="431" y="240"/>
                </a:cxn>
                <a:cxn ang="0">
                  <a:pos x="426" y="280"/>
                </a:cxn>
                <a:cxn ang="0">
                  <a:pos x="410" y="344"/>
                </a:cxn>
                <a:cxn ang="0">
                  <a:pos x="433" y="351"/>
                </a:cxn>
                <a:cxn ang="0">
                  <a:pos x="469" y="353"/>
                </a:cxn>
                <a:cxn ang="0">
                  <a:pos x="492" y="347"/>
                </a:cxn>
                <a:cxn ang="0">
                  <a:pos x="567" y="364"/>
                </a:cxn>
                <a:cxn ang="0">
                  <a:pos x="598" y="368"/>
                </a:cxn>
                <a:cxn ang="0">
                  <a:pos x="576" y="337"/>
                </a:cxn>
                <a:cxn ang="0">
                  <a:pos x="576" y="317"/>
                </a:cxn>
                <a:cxn ang="0">
                  <a:pos x="539" y="267"/>
                </a:cxn>
                <a:cxn ang="0">
                  <a:pos x="535" y="200"/>
                </a:cxn>
                <a:cxn ang="0">
                  <a:pos x="526" y="143"/>
                </a:cxn>
                <a:cxn ang="0">
                  <a:pos x="533" y="132"/>
                </a:cxn>
                <a:cxn ang="0">
                  <a:pos x="573" y="85"/>
                </a:cxn>
                <a:cxn ang="0">
                  <a:pos x="596" y="60"/>
                </a:cxn>
                <a:cxn ang="0">
                  <a:pos x="577" y="99"/>
                </a:cxn>
                <a:cxn ang="0">
                  <a:pos x="570" y="143"/>
                </a:cxn>
                <a:cxn ang="0">
                  <a:pos x="567" y="169"/>
                </a:cxn>
                <a:cxn ang="0">
                  <a:pos x="584" y="193"/>
                </a:cxn>
                <a:cxn ang="0">
                  <a:pos x="606" y="215"/>
                </a:cxn>
                <a:cxn ang="0">
                  <a:pos x="623" y="240"/>
                </a:cxn>
                <a:cxn ang="0">
                  <a:pos x="605" y="267"/>
                </a:cxn>
                <a:cxn ang="0">
                  <a:pos x="592" y="283"/>
                </a:cxn>
                <a:cxn ang="0">
                  <a:pos x="599" y="301"/>
                </a:cxn>
                <a:cxn ang="0">
                  <a:pos x="645" y="310"/>
                </a:cxn>
                <a:cxn ang="0">
                  <a:pos x="680" y="351"/>
                </a:cxn>
                <a:cxn ang="0">
                  <a:pos x="681" y="379"/>
                </a:cxn>
                <a:cxn ang="0">
                  <a:pos x="703" y="416"/>
                </a:cxn>
                <a:cxn ang="0">
                  <a:pos x="685" y="486"/>
                </a:cxn>
                <a:cxn ang="0">
                  <a:pos x="692" y="561"/>
                </a:cxn>
                <a:cxn ang="0">
                  <a:pos x="710" y="540"/>
                </a:cxn>
                <a:cxn ang="0">
                  <a:pos x="730" y="478"/>
                </a:cxn>
                <a:cxn ang="0">
                  <a:pos x="730" y="453"/>
                </a:cxn>
                <a:cxn ang="0">
                  <a:pos x="755" y="425"/>
                </a:cxn>
                <a:cxn ang="0">
                  <a:pos x="755" y="368"/>
                </a:cxn>
                <a:cxn ang="0">
                  <a:pos x="774" y="330"/>
                </a:cxn>
                <a:cxn ang="0">
                  <a:pos x="774" y="361"/>
                </a:cxn>
                <a:cxn ang="0">
                  <a:pos x="770" y="367"/>
                </a:cxn>
                <a:cxn ang="0">
                  <a:pos x="767" y="373"/>
                </a:cxn>
                <a:cxn ang="0">
                  <a:pos x="770" y="376"/>
                </a:cxn>
                <a:cxn ang="0">
                  <a:pos x="780" y="382"/>
                </a:cxn>
                <a:cxn ang="0">
                  <a:pos x="789" y="315"/>
                </a:cxn>
                <a:cxn ang="0">
                  <a:pos x="785" y="253"/>
                </a:cxn>
                <a:cxn ang="0">
                  <a:pos x="623" y="0"/>
                </a:cxn>
              </a:cxnLst>
              <a:rect l="0" t="0" r="r" b="b"/>
              <a:pathLst>
                <a:path w="789" h="572">
                  <a:moveTo>
                    <a:pt x="623" y="0"/>
                  </a:moveTo>
                  <a:lnTo>
                    <a:pt x="0" y="113"/>
                  </a:lnTo>
                  <a:lnTo>
                    <a:pt x="0" y="113"/>
                  </a:lnTo>
                  <a:lnTo>
                    <a:pt x="11" y="206"/>
                  </a:lnTo>
                  <a:lnTo>
                    <a:pt x="32" y="206"/>
                  </a:lnTo>
                  <a:lnTo>
                    <a:pt x="72" y="156"/>
                  </a:lnTo>
                  <a:lnTo>
                    <a:pt x="100" y="153"/>
                  </a:lnTo>
                  <a:lnTo>
                    <a:pt x="126" y="118"/>
                  </a:lnTo>
                  <a:lnTo>
                    <a:pt x="137" y="118"/>
                  </a:lnTo>
                  <a:lnTo>
                    <a:pt x="144" y="126"/>
                  </a:lnTo>
                  <a:lnTo>
                    <a:pt x="172" y="104"/>
                  </a:lnTo>
                  <a:lnTo>
                    <a:pt x="190" y="103"/>
                  </a:lnTo>
                  <a:lnTo>
                    <a:pt x="226" y="86"/>
                  </a:lnTo>
                  <a:lnTo>
                    <a:pt x="290" y="103"/>
                  </a:lnTo>
                  <a:lnTo>
                    <a:pt x="312" y="132"/>
                  </a:lnTo>
                  <a:lnTo>
                    <a:pt x="326" y="168"/>
                  </a:lnTo>
                  <a:lnTo>
                    <a:pt x="326" y="168"/>
                  </a:lnTo>
                  <a:lnTo>
                    <a:pt x="383" y="200"/>
                  </a:lnTo>
                  <a:lnTo>
                    <a:pt x="408" y="224"/>
                  </a:lnTo>
                  <a:lnTo>
                    <a:pt x="431" y="240"/>
                  </a:lnTo>
                  <a:lnTo>
                    <a:pt x="437" y="260"/>
                  </a:lnTo>
                  <a:lnTo>
                    <a:pt x="426" y="280"/>
                  </a:lnTo>
                  <a:lnTo>
                    <a:pt x="406" y="285"/>
                  </a:lnTo>
                  <a:lnTo>
                    <a:pt x="410" y="344"/>
                  </a:lnTo>
                  <a:lnTo>
                    <a:pt x="422" y="353"/>
                  </a:lnTo>
                  <a:lnTo>
                    <a:pt x="433" y="351"/>
                  </a:lnTo>
                  <a:lnTo>
                    <a:pt x="451" y="347"/>
                  </a:lnTo>
                  <a:lnTo>
                    <a:pt x="469" y="353"/>
                  </a:lnTo>
                  <a:lnTo>
                    <a:pt x="473" y="354"/>
                  </a:lnTo>
                  <a:lnTo>
                    <a:pt x="492" y="347"/>
                  </a:lnTo>
                  <a:lnTo>
                    <a:pt x="553" y="355"/>
                  </a:lnTo>
                  <a:lnTo>
                    <a:pt x="567" y="364"/>
                  </a:lnTo>
                  <a:lnTo>
                    <a:pt x="582" y="372"/>
                  </a:lnTo>
                  <a:lnTo>
                    <a:pt x="598" y="368"/>
                  </a:lnTo>
                  <a:lnTo>
                    <a:pt x="588" y="350"/>
                  </a:lnTo>
                  <a:lnTo>
                    <a:pt x="576" y="337"/>
                  </a:lnTo>
                  <a:lnTo>
                    <a:pt x="576" y="322"/>
                  </a:lnTo>
                  <a:lnTo>
                    <a:pt x="576" y="317"/>
                  </a:lnTo>
                  <a:lnTo>
                    <a:pt x="545" y="280"/>
                  </a:lnTo>
                  <a:lnTo>
                    <a:pt x="539" y="267"/>
                  </a:lnTo>
                  <a:lnTo>
                    <a:pt x="539" y="233"/>
                  </a:lnTo>
                  <a:lnTo>
                    <a:pt x="535" y="200"/>
                  </a:lnTo>
                  <a:lnTo>
                    <a:pt x="538" y="167"/>
                  </a:lnTo>
                  <a:lnTo>
                    <a:pt x="526" y="143"/>
                  </a:lnTo>
                  <a:lnTo>
                    <a:pt x="514" y="132"/>
                  </a:lnTo>
                  <a:lnTo>
                    <a:pt x="533" y="132"/>
                  </a:lnTo>
                  <a:lnTo>
                    <a:pt x="546" y="104"/>
                  </a:lnTo>
                  <a:lnTo>
                    <a:pt x="573" y="85"/>
                  </a:lnTo>
                  <a:lnTo>
                    <a:pt x="587" y="58"/>
                  </a:lnTo>
                  <a:lnTo>
                    <a:pt x="596" y="60"/>
                  </a:lnTo>
                  <a:lnTo>
                    <a:pt x="594" y="92"/>
                  </a:lnTo>
                  <a:lnTo>
                    <a:pt x="577" y="99"/>
                  </a:lnTo>
                  <a:lnTo>
                    <a:pt x="570" y="126"/>
                  </a:lnTo>
                  <a:lnTo>
                    <a:pt x="570" y="143"/>
                  </a:lnTo>
                  <a:lnTo>
                    <a:pt x="591" y="143"/>
                  </a:lnTo>
                  <a:lnTo>
                    <a:pt x="567" y="169"/>
                  </a:lnTo>
                  <a:lnTo>
                    <a:pt x="557" y="183"/>
                  </a:lnTo>
                  <a:lnTo>
                    <a:pt x="584" y="193"/>
                  </a:lnTo>
                  <a:lnTo>
                    <a:pt x="592" y="194"/>
                  </a:lnTo>
                  <a:lnTo>
                    <a:pt x="606" y="215"/>
                  </a:lnTo>
                  <a:lnTo>
                    <a:pt x="602" y="221"/>
                  </a:lnTo>
                  <a:lnTo>
                    <a:pt x="623" y="240"/>
                  </a:lnTo>
                  <a:lnTo>
                    <a:pt x="623" y="249"/>
                  </a:lnTo>
                  <a:lnTo>
                    <a:pt x="605" y="267"/>
                  </a:lnTo>
                  <a:lnTo>
                    <a:pt x="588" y="267"/>
                  </a:lnTo>
                  <a:lnTo>
                    <a:pt x="592" y="283"/>
                  </a:lnTo>
                  <a:lnTo>
                    <a:pt x="588" y="293"/>
                  </a:lnTo>
                  <a:lnTo>
                    <a:pt x="599" y="301"/>
                  </a:lnTo>
                  <a:lnTo>
                    <a:pt x="617" y="310"/>
                  </a:lnTo>
                  <a:lnTo>
                    <a:pt x="645" y="310"/>
                  </a:lnTo>
                  <a:lnTo>
                    <a:pt x="666" y="322"/>
                  </a:lnTo>
                  <a:lnTo>
                    <a:pt x="680" y="351"/>
                  </a:lnTo>
                  <a:lnTo>
                    <a:pt x="688" y="371"/>
                  </a:lnTo>
                  <a:lnTo>
                    <a:pt x="681" y="379"/>
                  </a:lnTo>
                  <a:lnTo>
                    <a:pt x="698" y="392"/>
                  </a:lnTo>
                  <a:lnTo>
                    <a:pt x="703" y="416"/>
                  </a:lnTo>
                  <a:lnTo>
                    <a:pt x="693" y="455"/>
                  </a:lnTo>
                  <a:lnTo>
                    <a:pt x="685" y="486"/>
                  </a:lnTo>
                  <a:lnTo>
                    <a:pt x="685" y="529"/>
                  </a:lnTo>
                  <a:lnTo>
                    <a:pt x="692" y="561"/>
                  </a:lnTo>
                  <a:lnTo>
                    <a:pt x="703" y="572"/>
                  </a:lnTo>
                  <a:lnTo>
                    <a:pt x="710" y="540"/>
                  </a:lnTo>
                  <a:lnTo>
                    <a:pt x="716" y="491"/>
                  </a:lnTo>
                  <a:lnTo>
                    <a:pt x="730" y="478"/>
                  </a:lnTo>
                  <a:lnTo>
                    <a:pt x="730" y="460"/>
                  </a:lnTo>
                  <a:lnTo>
                    <a:pt x="730" y="453"/>
                  </a:lnTo>
                  <a:lnTo>
                    <a:pt x="743" y="443"/>
                  </a:lnTo>
                  <a:lnTo>
                    <a:pt x="755" y="425"/>
                  </a:lnTo>
                  <a:lnTo>
                    <a:pt x="755" y="385"/>
                  </a:lnTo>
                  <a:lnTo>
                    <a:pt x="755" y="368"/>
                  </a:lnTo>
                  <a:lnTo>
                    <a:pt x="755" y="347"/>
                  </a:lnTo>
                  <a:lnTo>
                    <a:pt x="774" y="330"/>
                  </a:lnTo>
                  <a:lnTo>
                    <a:pt x="780" y="343"/>
                  </a:lnTo>
                  <a:lnTo>
                    <a:pt x="774" y="361"/>
                  </a:lnTo>
                  <a:lnTo>
                    <a:pt x="774" y="361"/>
                  </a:lnTo>
                  <a:lnTo>
                    <a:pt x="770" y="367"/>
                  </a:lnTo>
                  <a:lnTo>
                    <a:pt x="767" y="371"/>
                  </a:lnTo>
                  <a:lnTo>
                    <a:pt x="767" y="373"/>
                  </a:lnTo>
                  <a:lnTo>
                    <a:pt x="767" y="373"/>
                  </a:lnTo>
                  <a:lnTo>
                    <a:pt x="770" y="376"/>
                  </a:lnTo>
                  <a:lnTo>
                    <a:pt x="774" y="379"/>
                  </a:lnTo>
                  <a:lnTo>
                    <a:pt x="780" y="382"/>
                  </a:lnTo>
                  <a:lnTo>
                    <a:pt x="789" y="360"/>
                  </a:lnTo>
                  <a:lnTo>
                    <a:pt x="789" y="315"/>
                  </a:lnTo>
                  <a:lnTo>
                    <a:pt x="785" y="253"/>
                  </a:lnTo>
                  <a:lnTo>
                    <a:pt x="785" y="253"/>
                  </a:lnTo>
                  <a:lnTo>
                    <a:pt x="687" y="267"/>
                  </a:lnTo>
                  <a:lnTo>
                    <a:pt x="623" y="0"/>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5" name="Freeform 44"/>
            <p:cNvSpPr>
              <a:spLocks/>
            </p:cNvSpPr>
            <p:nvPr/>
          </p:nvSpPr>
          <p:spPr bwMode="auto">
            <a:xfrm>
              <a:off x="6249988" y="1852613"/>
              <a:ext cx="428625" cy="428625"/>
            </a:xfrm>
            <a:custGeom>
              <a:avLst/>
              <a:gdLst/>
              <a:ahLst/>
              <a:cxnLst>
                <a:cxn ang="0">
                  <a:pos x="128" y="753"/>
                </a:cxn>
                <a:cxn ang="0">
                  <a:pos x="171" y="793"/>
                </a:cxn>
                <a:cxn ang="0">
                  <a:pos x="207" y="808"/>
                </a:cxn>
                <a:cxn ang="0">
                  <a:pos x="263" y="785"/>
                </a:cxn>
                <a:cxn ang="0">
                  <a:pos x="354" y="744"/>
                </a:cxn>
                <a:cxn ang="0">
                  <a:pos x="431" y="689"/>
                </a:cxn>
                <a:cxn ang="0">
                  <a:pos x="431" y="621"/>
                </a:cxn>
                <a:cxn ang="0">
                  <a:pos x="478" y="546"/>
                </a:cxn>
                <a:cxn ang="0">
                  <a:pos x="497" y="442"/>
                </a:cxn>
                <a:cxn ang="0">
                  <a:pos x="548" y="467"/>
                </a:cxn>
                <a:cxn ang="0">
                  <a:pos x="568" y="457"/>
                </a:cxn>
                <a:cxn ang="0">
                  <a:pos x="593" y="393"/>
                </a:cxn>
                <a:cxn ang="0">
                  <a:pos x="605" y="370"/>
                </a:cxn>
                <a:cxn ang="0">
                  <a:pos x="626" y="382"/>
                </a:cxn>
                <a:cxn ang="0">
                  <a:pos x="671" y="318"/>
                </a:cxn>
                <a:cxn ang="0">
                  <a:pos x="690" y="261"/>
                </a:cxn>
                <a:cxn ang="0">
                  <a:pos x="744" y="245"/>
                </a:cxn>
                <a:cxn ang="0">
                  <a:pos x="786" y="260"/>
                </a:cxn>
                <a:cxn ang="0">
                  <a:pos x="811" y="239"/>
                </a:cxn>
                <a:cxn ang="0">
                  <a:pos x="797" y="203"/>
                </a:cxn>
                <a:cxn ang="0">
                  <a:pos x="711" y="157"/>
                </a:cxn>
                <a:cxn ang="0">
                  <a:pos x="657" y="175"/>
                </a:cxn>
                <a:cxn ang="0">
                  <a:pos x="622" y="189"/>
                </a:cxn>
                <a:cxn ang="0">
                  <a:pos x="585" y="224"/>
                </a:cxn>
                <a:cxn ang="0">
                  <a:pos x="517" y="277"/>
                </a:cxn>
                <a:cxn ang="0">
                  <a:pos x="485" y="184"/>
                </a:cxn>
                <a:cxn ang="0">
                  <a:pos x="276" y="0"/>
                </a:cxn>
                <a:cxn ang="0">
                  <a:pos x="254" y="20"/>
                </a:cxn>
                <a:cxn ang="0">
                  <a:pos x="265" y="46"/>
                </a:cxn>
                <a:cxn ang="0">
                  <a:pos x="265" y="111"/>
                </a:cxn>
                <a:cxn ang="0">
                  <a:pos x="254" y="160"/>
                </a:cxn>
                <a:cxn ang="0">
                  <a:pos x="250" y="221"/>
                </a:cxn>
                <a:cxn ang="0">
                  <a:pos x="200" y="286"/>
                </a:cxn>
                <a:cxn ang="0">
                  <a:pos x="152" y="307"/>
                </a:cxn>
                <a:cxn ang="0">
                  <a:pos x="114" y="363"/>
                </a:cxn>
                <a:cxn ang="0">
                  <a:pos x="99" y="421"/>
                </a:cxn>
                <a:cxn ang="0">
                  <a:pos x="61" y="421"/>
                </a:cxn>
                <a:cxn ang="0">
                  <a:pos x="52" y="503"/>
                </a:cxn>
                <a:cxn ang="0">
                  <a:pos x="16" y="544"/>
                </a:cxn>
                <a:cxn ang="0">
                  <a:pos x="11" y="632"/>
                </a:cxn>
                <a:cxn ang="0">
                  <a:pos x="54" y="700"/>
                </a:cxn>
                <a:cxn ang="0">
                  <a:pos x="107" y="761"/>
                </a:cxn>
                <a:cxn ang="0">
                  <a:pos x="117" y="753"/>
                </a:cxn>
              </a:cxnLst>
              <a:rect l="0" t="0" r="r" b="b"/>
              <a:pathLst>
                <a:path w="811" h="809">
                  <a:moveTo>
                    <a:pt x="117" y="753"/>
                  </a:moveTo>
                  <a:lnTo>
                    <a:pt x="128" y="753"/>
                  </a:lnTo>
                  <a:lnTo>
                    <a:pt x="135" y="768"/>
                  </a:lnTo>
                  <a:lnTo>
                    <a:pt x="171" y="793"/>
                  </a:lnTo>
                  <a:lnTo>
                    <a:pt x="197" y="809"/>
                  </a:lnTo>
                  <a:lnTo>
                    <a:pt x="207" y="808"/>
                  </a:lnTo>
                  <a:lnTo>
                    <a:pt x="242" y="772"/>
                  </a:lnTo>
                  <a:lnTo>
                    <a:pt x="263" y="785"/>
                  </a:lnTo>
                  <a:lnTo>
                    <a:pt x="308" y="773"/>
                  </a:lnTo>
                  <a:lnTo>
                    <a:pt x="354" y="744"/>
                  </a:lnTo>
                  <a:lnTo>
                    <a:pt x="411" y="703"/>
                  </a:lnTo>
                  <a:lnTo>
                    <a:pt x="431" y="689"/>
                  </a:lnTo>
                  <a:lnTo>
                    <a:pt x="426" y="650"/>
                  </a:lnTo>
                  <a:lnTo>
                    <a:pt x="431" y="621"/>
                  </a:lnTo>
                  <a:lnTo>
                    <a:pt x="457" y="593"/>
                  </a:lnTo>
                  <a:lnTo>
                    <a:pt x="478" y="546"/>
                  </a:lnTo>
                  <a:lnTo>
                    <a:pt x="493" y="481"/>
                  </a:lnTo>
                  <a:lnTo>
                    <a:pt x="497" y="442"/>
                  </a:lnTo>
                  <a:lnTo>
                    <a:pt x="521" y="456"/>
                  </a:lnTo>
                  <a:lnTo>
                    <a:pt x="548" y="467"/>
                  </a:lnTo>
                  <a:lnTo>
                    <a:pt x="560" y="469"/>
                  </a:lnTo>
                  <a:lnTo>
                    <a:pt x="568" y="457"/>
                  </a:lnTo>
                  <a:lnTo>
                    <a:pt x="582" y="415"/>
                  </a:lnTo>
                  <a:lnTo>
                    <a:pt x="593" y="393"/>
                  </a:lnTo>
                  <a:lnTo>
                    <a:pt x="601" y="370"/>
                  </a:lnTo>
                  <a:lnTo>
                    <a:pt x="605" y="370"/>
                  </a:lnTo>
                  <a:lnTo>
                    <a:pt x="618" y="376"/>
                  </a:lnTo>
                  <a:lnTo>
                    <a:pt x="626" y="382"/>
                  </a:lnTo>
                  <a:lnTo>
                    <a:pt x="654" y="333"/>
                  </a:lnTo>
                  <a:lnTo>
                    <a:pt x="671" y="318"/>
                  </a:lnTo>
                  <a:lnTo>
                    <a:pt x="682" y="299"/>
                  </a:lnTo>
                  <a:lnTo>
                    <a:pt x="690" y="261"/>
                  </a:lnTo>
                  <a:lnTo>
                    <a:pt x="693" y="214"/>
                  </a:lnTo>
                  <a:lnTo>
                    <a:pt x="744" y="245"/>
                  </a:lnTo>
                  <a:lnTo>
                    <a:pt x="769" y="260"/>
                  </a:lnTo>
                  <a:lnTo>
                    <a:pt x="786" y="260"/>
                  </a:lnTo>
                  <a:lnTo>
                    <a:pt x="800" y="243"/>
                  </a:lnTo>
                  <a:lnTo>
                    <a:pt x="811" y="239"/>
                  </a:lnTo>
                  <a:lnTo>
                    <a:pt x="811" y="239"/>
                  </a:lnTo>
                  <a:lnTo>
                    <a:pt x="797" y="203"/>
                  </a:lnTo>
                  <a:lnTo>
                    <a:pt x="775" y="174"/>
                  </a:lnTo>
                  <a:lnTo>
                    <a:pt x="711" y="157"/>
                  </a:lnTo>
                  <a:lnTo>
                    <a:pt x="675" y="174"/>
                  </a:lnTo>
                  <a:lnTo>
                    <a:pt x="657" y="175"/>
                  </a:lnTo>
                  <a:lnTo>
                    <a:pt x="629" y="197"/>
                  </a:lnTo>
                  <a:lnTo>
                    <a:pt x="622" y="189"/>
                  </a:lnTo>
                  <a:lnTo>
                    <a:pt x="611" y="189"/>
                  </a:lnTo>
                  <a:lnTo>
                    <a:pt x="585" y="224"/>
                  </a:lnTo>
                  <a:lnTo>
                    <a:pt x="557" y="227"/>
                  </a:lnTo>
                  <a:lnTo>
                    <a:pt x="517" y="277"/>
                  </a:lnTo>
                  <a:lnTo>
                    <a:pt x="496" y="277"/>
                  </a:lnTo>
                  <a:lnTo>
                    <a:pt x="485" y="184"/>
                  </a:lnTo>
                  <a:lnTo>
                    <a:pt x="311" y="214"/>
                  </a:lnTo>
                  <a:lnTo>
                    <a:pt x="276" y="0"/>
                  </a:lnTo>
                  <a:lnTo>
                    <a:pt x="265" y="7"/>
                  </a:lnTo>
                  <a:lnTo>
                    <a:pt x="254" y="20"/>
                  </a:lnTo>
                  <a:lnTo>
                    <a:pt x="265" y="36"/>
                  </a:lnTo>
                  <a:lnTo>
                    <a:pt x="265" y="46"/>
                  </a:lnTo>
                  <a:lnTo>
                    <a:pt x="265" y="86"/>
                  </a:lnTo>
                  <a:lnTo>
                    <a:pt x="265" y="111"/>
                  </a:lnTo>
                  <a:lnTo>
                    <a:pt x="254" y="129"/>
                  </a:lnTo>
                  <a:lnTo>
                    <a:pt x="254" y="160"/>
                  </a:lnTo>
                  <a:lnTo>
                    <a:pt x="250" y="200"/>
                  </a:lnTo>
                  <a:lnTo>
                    <a:pt x="250" y="221"/>
                  </a:lnTo>
                  <a:lnTo>
                    <a:pt x="240" y="245"/>
                  </a:lnTo>
                  <a:lnTo>
                    <a:pt x="200" y="286"/>
                  </a:lnTo>
                  <a:lnTo>
                    <a:pt x="181" y="307"/>
                  </a:lnTo>
                  <a:lnTo>
                    <a:pt x="152" y="307"/>
                  </a:lnTo>
                  <a:lnTo>
                    <a:pt x="127" y="340"/>
                  </a:lnTo>
                  <a:lnTo>
                    <a:pt x="114" y="363"/>
                  </a:lnTo>
                  <a:lnTo>
                    <a:pt x="107" y="414"/>
                  </a:lnTo>
                  <a:lnTo>
                    <a:pt x="99" y="421"/>
                  </a:lnTo>
                  <a:lnTo>
                    <a:pt x="82" y="410"/>
                  </a:lnTo>
                  <a:lnTo>
                    <a:pt x="61" y="421"/>
                  </a:lnTo>
                  <a:lnTo>
                    <a:pt x="52" y="481"/>
                  </a:lnTo>
                  <a:lnTo>
                    <a:pt x="52" y="503"/>
                  </a:lnTo>
                  <a:lnTo>
                    <a:pt x="38" y="518"/>
                  </a:lnTo>
                  <a:lnTo>
                    <a:pt x="16" y="544"/>
                  </a:lnTo>
                  <a:lnTo>
                    <a:pt x="0" y="561"/>
                  </a:lnTo>
                  <a:lnTo>
                    <a:pt x="11" y="632"/>
                  </a:lnTo>
                  <a:lnTo>
                    <a:pt x="28" y="664"/>
                  </a:lnTo>
                  <a:lnTo>
                    <a:pt x="54" y="700"/>
                  </a:lnTo>
                  <a:lnTo>
                    <a:pt x="81" y="729"/>
                  </a:lnTo>
                  <a:lnTo>
                    <a:pt x="107" y="761"/>
                  </a:lnTo>
                  <a:lnTo>
                    <a:pt x="109" y="760"/>
                  </a:lnTo>
                  <a:lnTo>
                    <a:pt x="117" y="753"/>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6" name="Freeform 45"/>
            <p:cNvSpPr>
              <a:spLocks/>
            </p:cNvSpPr>
            <p:nvPr/>
          </p:nvSpPr>
          <p:spPr bwMode="auto">
            <a:xfrm>
              <a:off x="5616575" y="2081213"/>
              <a:ext cx="690562" cy="354012"/>
            </a:xfrm>
            <a:custGeom>
              <a:avLst/>
              <a:gdLst/>
              <a:ahLst/>
              <a:cxnLst>
                <a:cxn ang="0">
                  <a:pos x="1141" y="501"/>
                </a:cxn>
                <a:cxn ang="0">
                  <a:pos x="1174" y="483"/>
                </a:cxn>
                <a:cxn ang="0">
                  <a:pos x="1212" y="409"/>
                </a:cxn>
                <a:cxn ang="0">
                  <a:pos x="1293" y="354"/>
                </a:cxn>
                <a:cxn ang="0">
                  <a:pos x="1277" y="298"/>
                </a:cxn>
                <a:cxn ang="0">
                  <a:pos x="1224" y="233"/>
                </a:cxn>
                <a:cxn ang="0">
                  <a:pos x="1196" y="130"/>
                </a:cxn>
                <a:cxn ang="0">
                  <a:pos x="1185" y="119"/>
                </a:cxn>
                <a:cxn ang="0">
                  <a:pos x="1137" y="75"/>
                </a:cxn>
                <a:cxn ang="0">
                  <a:pos x="1117" y="58"/>
                </a:cxn>
                <a:cxn ang="0">
                  <a:pos x="1096" y="80"/>
                </a:cxn>
                <a:cxn ang="0">
                  <a:pos x="1056" y="95"/>
                </a:cxn>
                <a:cxn ang="0">
                  <a:pos x="1013" y="76"/>
                </a:cxn>
                <a:cxn ang="0">
                  <a:pos x="999" y="90"/>
                </a:cxn>
                <a:cxn ang="0">
                  <a:pos x="980" y="104"/>
                </a:cxn>
                <a:cxn ang="0">
                  <a:pos x="959" y="81"/>
                </a:cxn>
                <a:cxn ang="0">
                  <a:pos x="915" y="75"/>
                </a:cxn>
                <a:cxn ang="0">
                  <a:pos x="895" y="43"/>
                </a:cxn>
                <a:cxn ang="0">
                  <a:pos x="848" y="0"/>
                </a:cxn>
                <a:cxn ang="0">
                  <a:pos x="817" y="16"/>
                </a:cxn>
                <a:cxn ang="0">
                  <a:pos x="773" y="12"/>
                </a:cxn>
                <a:cxn ang="0">
                  <a:pos x="792" y="43"/>
                </a:cxn>
                <a:cxn ang="0">
                  <a:pos x="792" y="84"/>
                </a:cxn>
                <a:cxn ang="0">
                  <a:pos x="759" y="93"/>
                </a:cxn>
                <a:cxn ang="0">
                  <a:pos x="690" y="111"/>
                </a:cxn>
                <a:cxn ang="0">
                  <a:pos x="687" y="129"/>
                </a:cxn>
                <a:cxn ang="0">
                  <a:pos x="683" y="161"/>
                </a:cxn>
                <a:cxn ang="0">
                  <a:pos x="661" y="202"/>
                </a:cxn>
                <a:cxn ang="0">
                  <a:pos x="634" y="219"/>
                </a:cxn>
                <a:cxn ang="0">
                  <a:pos x="616" y="262"/>
                </a:cxn>
                <a:cxn ang="0">
                  <a:pos x="575" y="286"/>
                </a:cxn>
                <a:cxn ang="0">
                  <a:pos x="551" y="265"/>
                </a:cxn>
                <a:cxn ang="0">
                  <a:pos x="533" y="247"/>
                </a:cxn>
                <a:cxn ang="0">
                  <a:pos x="516" y="284"/>
                </a:cxn>
                <a:cxn ang="0">
                  <a:pos x="507" y="320"/>
                </a:cxn>
                <a:cxn ang="0">
                  <a:pos x="472" y="301"/>
                </a:cxn>
                <a:cxn ang="0">
                  <a:pos x="440" y="312"/>
                </a:cxn>
                <a:cxn ang="0">
                  <a:pos x="422" y="338"/>
                </a:cxn>
                <a:cxn ang="0">
                  <a:pos x="394" y="329"/>
                </a:cxn>
                <a:cxn ang="0">
                  <a:pos x="348" y="316"/>
                </a:cxn>
                <a:cxn ang="0">
                  <a:pos x="315" y="334"/>
                </a:cxn>
                <a:cxn ang="0">
                  <a:pos x="269" y="362"/>
                </a:cxn>
                <a:cxn ang="0">
                  <a:pos x="237" y="372"/>
                </a:cxn>
                <a:cxn ang="0">
                  <a:pos x="236" y="401"/>
                </a:cxn>
                <a:cxn ang="0">
                  <a:pos x="247" y="427"/>
                </a:cxn>
                <a:cxn ang="0">
                  <a:pos x="197" y="448"/>
                </a:cxn>
                <a:cxn ang="0">
                  <a:pos x="186" y="485"/>
                </a:cxn>
                <a:cxn ang="0">
                  <a:pos x="185" y="517"/>
                </a:cxn>
                <a:cxn ang="0">
                  <a:pos x="153" y="517"/>
                </a:cxn>
                <a:cxn ang="0">
                  <a:pos x="104" y="494"/>
                </a:cxn>
                <a:cxn ang="0">
                  <a:pos x="78" y="509"/>
                </a:cxn>
                <a:cxn ang="0">
                  <a:pos x="57" y="537"/>
                </a:cxn>
                <a:cxn ang="0">
                  <a:pos x="78" y="564"/>
                </a:cxn>
                <a:cxn ang="0">
                  <a:pos x="78" y="592"/>
                </a:cxn>
                <a:cxn ang="0">
                  <a:pos x="68" y="631"/>
                </a:cxn>
                <a:cxn ang="0">
                  <a:pos x="39" y="635"/>
                </a:cxn>
                <a:cxn ang="0">
                  <a:pos x="25" y="646"/>
                </a:cxn>
                <a:cxn ang="0">
                  <a:pos x="4" y="646"/>
                </a:cxn>
                <a:cxn ang="0">
                  <a:pos x="0" y="664"/>
                </a:cxn>
                <a:cxn ang="0">
                  <a:pos x="13" y="664"/>
                </a:cxn>
                <a:cxn ang="0">
                  <a:pos x="278" y="613"/>
                </a:cxn>
                <a:cxn ang="0">
                  <a:pos x="1056" y="555"/>
                </a:cxn>
                <a:cxn ang="0">
                  <a:pos x="1110" y="523"/>
                </a:cxn>
              </a:cxnLst>
              <a:rect l="0" t="0" r="r" b="b"/>
              <a:pathLst>
                <a:path w="1303" h="670">
                  <a:moveTo>
                    <a:pt x="1110" y="523"/>
                  </a:moveTo>
                  <a:lnTo>
                    <a:pt x="1141" y="501"/>
                  </a:lnTo>
                  <a:lnTo>
                    <a:pt x="1156" y="487"/>
                  </a:lnTo>
                  <a:lnTo>
                    <a:pt x="1174" y="483"/>
                  </a:lnTo>
                  <a:lnTo>
                    <a:pt x="1195" y="435"/>
                  </a:lnTo>
                  <a:lnTo>
                    <a:pt x="1212" y="409"/>
                  </a:lnTo>
                  <a:lnTo>
                    <a:pt x="1267" y="385"/>
                  </a:lnTo>
                  <a:lnTo>
                    <a:pt x="1293" y="354"/>
                  </a:lnTo>
                  <a:lnTo>
                    <a:pt x="1303" y="330"/>
                  </a:lnTo>
                  <a:lnTo>
                    <a:pt x="1277" y="298"/>
                  </a:lnTo>
                  <a:lnTo>
                    <a:pt x="1250" y="269"/>
                  </a:lnTo>
                  <a:lnTo>
                    <a:pt x="1224" y="233"/>
                  </a:lnTo>
                  <a:lnTo>
                    <a:pt x="1207" y="201"/>
                  </a:lnTo>
                  <a:lnTo>
                    <a:pt x="1196" y="130"/>
                  </a:lnTo>
                  <a:lnTo>
                    <a:pt x="1199" y="127"/>
                  </a:lnTo>
                  <a:lnTo>
                    <a:pt x="1185" y="119"/>
                  </a:lnTo>
                  <a:lnTo>
                    <a:pt x="1159" y="101"/>
                  </a:lnTo>
                  <a:lnTo>
                    <a:pt x="1137" y="75"/>
                  </a:lnTo>
                  <a:lnTo>
                    <a:pt x="1124" y="55"/>
                  </a:lnTo>
                  <a:lnTo>
                    <a:pt x="1117" y="58"/>
                  </a:lnTo>
                  <a:lnTo>
                    <a:pt x="1105" y="68"/>
                  </a:lnTo>
                  <a:lnTo>
                    <a:pt x="1096" y="80"/>
                  </a:lnTo>
                  <a:lnTo>
                    <a:pt x="1087" y="87"/>
                  </a:lnTo>
                  <a:lnTo>
                    <a:pt x="1056" y="95"/>
                  </a:lnTo>
                  <a:lnTo>
                    <a:pt x="1030" y="83"/>
                  </a:lnTo>
                  <a:lnTo>
                    <a:pt x="1013" y="76"/>
                  </a:lnTo>
                  <a:lnTo>
                    <a:pt x="1008" y="77"/>
                  </a:lnTo>
                  <a:lnTo>
                    <a:pt x="999" y="90"/>
                  </a:lnTo>
                  <a:lnTo>
                    <a:pt x="992" y="97"/>
                  </a:lnTo>
                  <a:lnTo>
                    <a:pt x="980" y="104"/>
                  </a:lnTo>
                  <a:lnTo>
                    <a:pt x="973" y="88"/>
                  </a:lnTo>
                  <a:lnTo>
                    <a:pt x="959" y="81"/>
                  </a:lnTo>
                  <a:lnTo>
                    <a:pt x="942" y="77"/>
                  </a:lnTo>
                  <a:lnTo>
                    <a:pt x="915" y="75"/>
                  </a:lnTo>
                  <a:lnTo>
                    <a:pt x="904" y="62"/>
                  </a:lnTo>
                  <a:lnTo>
                    <a:pt x="895" y="43"/>
                  </a:lnTo>
                  <a:lnTo>
                    <a:pt x="872" y="22"/>
                  </a:lnTo>
                  <a:lnTo>
                    <a:pt x="848" y="0"/>
                  </a:lnTo>
                  <a:lnTo>
                    <a:pt x="841" y="7"/>
                  </a:lnTo>
                  <a:lnTo>
                    <a:pt x="817" y="16"/>
                  </a:lnTo>
                  <a:lnTo>
                    <a:pt x="788" y="7"/>
                  </a:lnTo>
                  <a:lnTo>
                    <a:pt x="773" y="12"/>
                  </a:lnTo>
                  <a:lnTo>
                    <a:pt x="781" y="30"/>
                  </a:lnTo>
                  <a:lnTo>
                    <a:pt x="792" y="43"/>
                  </a:lnTo>
                  <a:lnTo>
                    <a:pt x="786" y="52"/>
                  </a:lnTo>
                  <a:lnTo>
                    <a:pt x="792" y="84"/>
                  </a:lnTo>
                  <a:lnTo>
                    <a:pt x="783" y="93"/>
                  </a:lnTo>
                  <a:lnTo>
                    <a:pt x="759" y="93"/>
                  </a:lnTo>
                  <a:lnTo>
                    <a:pt x="740" y="105"/>
                  </a:lnTo>
                  <a:lnTo>
                    <a:pt x="690" y="111"/>
                  </a:lnTo>
                  <a:lnTo>
                    <a:pt x="687" y="118"/>
                  </a:lnTo>
                  <a:lnTo>
                    <a:pt x="687" y="129"/>
                  </a:lnTo>
                  <a:lnTo>
                    <a:pt x="683" y="140"/>
                  </a:lnTo>
                  <a:lnTo>
                    <a:pt x="683" y="161"/>
                  </a:lnTo>
                  <a:lnTo>
                    <a:pt x="673" y="180"/>
                  </a:lnTo>
                  <a:lnTo>
                    <a:pt x="661" y="202"/>
                  </a:lnTo>
                  <a:lnTo>
                    <a:pt x="651" y="215"/>
                  </a:lnTo>
                  <a:lnTo>
                    <a:pt x="634" y="219"/>
                  </a:lnTo>
                  <a:lnTo>
                    <a:pt x="619" y="242"/>
                  </a:lnTo>
                  <a:lnTo>
                    <a:pt x="616" y="262"/>
                  </a:lnTo>
                  <a:lnTo>
                    <a:pt x="608" y="281"/>
                  </a:lnTo>
                  <a:lnTo>
                    <a:pt x="575" y="286"/>
                  </a:lnTo>
                  <a:lnTo>
                    <a:pt x="564" y="284"/>
                  </a:lnTo>
                  <a:lnTo>
                    <a:pt x="551" y="265"/>
                  </a:lnTo>
                  <a:lnTo>
                    <a:pt x="541" y="247"/>
                  </a:lnTo>
                  <a:lnTo>
                    <a:pt x="533" y="247"/>
                  </a:lnTo>
                  <a:lnTo>
                    <a:pt x="527" y="265"/>
                  </a:lnTo>
                  <a:lnTo>
                    <a:pt x="516" y="284"/>
                  </a:lnTo>
                  <a:lnTo>
                    <a:pt x="511" y="301"/>
                  </a:lnTo>
                  <a:lnTo>
                    <a:pt x="507" y="320"/>
                  </a:lnTo>
                  <a:lnTo>
                    <a:pt x="487" y="317"/>
                  </a:lnTo>
                  <a:lnTo>
                    <a:pt x="472" y="301"/>
                  </a:lnTo>
                  <a:lnTo>
                    <a:pt x="454" y="301"/>
                  </a:lnTo>
                  <a:lnTo>
                    <a:pt x="440" y="312"/>
                  </a:lnTo>
                  <a:lnTo>
                    <a:pt x="422" y="316"/>
                  </a:lnTo>
                  <a:lnTo>
                    <a:pt x="422" y="338"/>
                  </a:lnTo>
                  <a:lnTo>
                    <a:pt x="411" y="345"/>
                  </a:lnTo>
                  <a:lnTo>
                    <a:pt x="394" y="329"/>
                  </a:lnTo>
                  <a:lnTo>
                    <a:pt x="373" y="316"/>
                  </a:lnTo>
                  <a:lnTo>
                    <a:pt x="348" y="316"/>
                  </a:lnTo>
                  <a:lnTo>
                    <a:pt x="330" y="316"/>
                  </a:lnTo>
                  <a:lnTo>
                    <a:pt x="315" y="334"/>
                  </a:lnTo>
                  <a:lnTo>
                    <a:pt x="273" y="337"/>
                  </a:lnTo>
                  <a:lnTo>
                    <a:pt x="269" y="362"/>
                  </a:lnTo>
                  <a:lnTo>
                    <a:pt x="253" y="362"/>
                  </a:lnTo>
                  <a:lnTo>
                    <a:pt x="237" y="372"/>
                  </a:lnTo>
                  <a:lnTo>
                    <a:pt x="233" y="388"/>
                  </a:lnTo>
                  <a:lnTo>
                    <a:pt x="236" y="401"/>
                  </a:lnTo>
                  <a:lnTo>
                    <a:pt x="242" y="413"/>
                  </a:lnTo>
                  <a:lnTo>
                    <a:pt x="247" y="427"/>
                  </a:lnTo>
                  <a:lnTo>
                    <a:pt x="230" y="435"/>
                  </a:lnTo>
                  <a:lnTo>
                    <a:pt x="197" y="448"/>
                  </a:lnTo>
                  <a:lnTo>
                    <a:pt x="183" y="462"/>
                  </a:lnTo>
                  <a:lnTo>
                    <a:pt x="186" y="485"/>
                  </a:lnTo>
                  <a:lnTo>
                    <a:pt x="193" y="510"/>
                  </a:lnTo>
                  <a:lnTo>
                    <a:pt x="185" y="517"/>
                  </a:lnTo>
                  <a:lnTo>
                    <a:pt x="167" y="517"/>
                  </a:lnTo>
                  <a:lnTo>
                    <a:pt x="153" y="517"/>
                  </a:lnTo>
                  <a:lnTo>
                    <a:pt x="129" y="502"/>
                  </a:lnTo>
                  <a:lnTo>
                    <a:pt x="104" y="494"/>
                  </a:lnTo>
                  <a:lnTo>
                    <a:pt x="94" y="498"/>
                  </a:lnTo>
                  <a:lnTo>
                    <a:pt x="78" y="509"/>
                  </a:lnTo>
                  <a:lnTo>
                    <a:pt x="65" y="517"/>
                  </a:lnTo>
                  <a:lnTo>
                    <a:pt x="57" y="537"/>
                  </a:lnTo>
                  <a:lnTo>
                    <a:pt x="58" y="548"/>
                  </a:lnTo>
                  <a:lnTo>
                    <a:pt x="78" y="564"/>
                  </a:lnTo>
                  <a:lnTo>
                    <a:pt x="78" y="571"/>
                  </a:lnTo>
                  <a:lnTo>
                    <a:pt x="78" y="592"/>
                  </a:lnTo>
                  <a:lnTo>
                    <a:pt x="78" y="620"/>
                  </a:lnTo>
                  <a:lnTo>
                    <a:pt x="68" y="631"/>
                  </a:lnTo>
                  <a:lnTo>
                    <a:pt x="56" y="635"/>
                  </a:lnTo>
                  <a:lnTo>
                    <a:pt x="39" y="635"/>
                  </a:lnTo>
                  <a:lnTo>
                    <a:pt x="32" y="641"/>
                  </a:lnTo>
                  <a:lnTo>
                    <a:pt x="25" y="646"/>
                  </a:lnTo>
                  <a:lnTo>
                    <a:pt x="21" y="646"/>
                  </a:lnTo>
                  <a:lnTo>
                    <a:pt x="4" y="646"/>
                  </a:lnTo>
                  <a:lnTo>
                    <a:pt x="0" y="653"/>
                  </a:lnTo>
                  <a:lnTo>
                    <a:pt x="0" y="664"/>
                  </a:lnTo>
                  <a:lnTo>
                    <a:pt x="4" y="670"/>
                  </a:lnTo>
                  <a:lnTo>
                    <a:pt x="13" y="664"/>
                  </a:lnTo>
                  <a:lnTo>
                    <a:pt x="285" y="660"/>
                  </a:lnTo>
                  <a:lnTo>
                    <a:pt x="278" y="613"/>
                  </a:lnTo>
                  <a:lnTo>
                    <a:pt x="788" y="583"/>
                  </a:lnTo>
                  <a:lnTo>
                    <a:pt x="1056" y="555"/>
                  </a:lnTo>
                  <a:lnTo>
                    <a:pt x="1089" y="537"/>
                  </a:lnTo>
                  <a:lnTo>
                    <a:pt x="1110" y="523"/>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7" name="Freeform 46"/>
            <p:cNvSpPr>
              <a:spLocks/>
            </p:cNvSpPr>
            <p:nvPr/>
          </p:nvSpPr>
          <p:spPr bwMode="auto">
            <a:xfrm>
              <a:off x="5032375" y="1957388"/>
              <a:ext cx="625475" cy="544512"/>
            </a:xfrm>
            <a:custGeom>
              <a:avLst/>
              <a:gdLst/>
              <a:ahLst/>
              <a:cxnLst>
                <a:cxn ang="0">
                  <a:pos x="1106" y="888"/>
                </a:cxn>
                <a:cxn ang="0">
                  <a:pos x="1127" y="881"/>
                </a:cxn>
                <a:cxn ang="0">
                  <a:pos x="1138" y="876"/>
                </a:cxn>
                <a:cxn ang="0">
                  <a:pos x="1162" y="870"/>
                </a:cxn>
                <a:cxn ang="0">
                  <a:pos x="1184" y="855"/>
                </a:cxn>
                <a:cxn ang="0">
                  <a:pos x="1184" y="806"/>
                </a:cxn>
                <a:cxn ang="0">
                  <a:pos x="1164" y="783"/>
                </a:cxn>
                <a:cxn ang="0">
                  <a:pos x="1171" y="752"/>
                </a:cxn>
                <a:cxn ang="0">
                  <a:pos x="1134" y="774"/>
                </a:cxn>
                <a:cxn ang="0">
                  <a:pos x="1106" y="726"/>
                </a:cxn>
                <a:cxn ang="0">
                  <a:pos x="1116" y="680"/>
                </a:cxn>
                <a:cxn ang="0">
                  <a:pos x="1080" y="609"/>
                </a:cxn>
                <a:cxn ang="0">
                  <a:pos x="1006" y="577"/>
                </a:cxn>
                <a:cxn ang="0">
                  <a:pos x="942" y="523"/>
                </a:cxn>
                <a:cxn ang="0">
                  <a:pos x="949" y="468"/>
                </a:cxn>
                <a:cxn ang="0">
                  <a:pos x="960" y="423"/>
                </a:cxn>
                <a:cxn ang="0">
                  <a:pos x="960" y="372"/>
                </a:cxn>
                <a:cxn ang="0">
                  <a:pos x="912" y="354"/>
                </a:cxn>
                <a:cxn ang="0">
                  <a:pos x="888" y="380"/>
                </a:cxn>
                <a:cxn ang="0">
                  <a:pos x="869" y="311"/>
                </a:cxn>
                <a:cxn ang="0">
                  <a:pos x="758" y="211"/>
                </a:cxn>
                <a:cxn ang="0">
                  <a:pos x="729" y="106"/>
                </a:cxn>
                <a:cxn ang="0">
                  <a:pos x="734" y="50"/>
                </a:cxn>
                <a:cxn ang="0">
                  <a:pos x="0" y="10"/>
                </a:cxn>
                <a:cxn ang="0">
                  <a:pos x="18" y="29"/>
                </a:cxn>
                <a:cxn ang="0">
                  <a:pos x="17" y="64"/>
                </a:cxn>
                <a:cxn ang="0">
                  <a:pos x="22" y="76"/>
                </a:cxn>
                <a:cxn ang="0">
                  <a:pos x="25" y="79"/>
                </a:cxn>
                <a:cxn ang="0">
                  <a:pos x="40" y="86"/>
                </a:cxn>
                <a:cxn ang="0">
                  <a:pos x="58" y="117"/>
                </a:cxn>
                <a:cxn ang="0">
                  <a:pos x="65" y="135"/>
                </a:cxn>
                <a:cxn ang="0">
                  <a:pos x="94" y="182"/>
                </a:cxn>
                <a:cxn ang="0">
                  <a:pos x="146" y="182"/>
                </a:cxn>
                <a:cxn ang="0">
                  <a:pos x="129" y="233"/>
                </a:cxn>
                <a:cxn ang="0">
                  <a:pos x="146" y="283"/>
                </a:cxn>
                <a:cxn ang="0">
                  <a:pos x="168" y="323"/>
                </a:cxn>
                <a:cxn ang="0">
                  <a:pos x="196" y="823"/>
                </a:cxn>
                <a:cxn ang="0">
                  <a:pos x="1002" y="917"/>
                </a:cxn>
                <a:cxn ang="0">
                  <a:pos x="955" y="1030"/>
                </a:cxn>
                <a:cxn ang="0">
                  <a:pos x="1091" y="1006"/>
                </a:cxn>
                <a:cxn ang="0">
                  <a:pos x="1099" y="995"/>
                </a:cxn>
                <a:cxn ang="0">
                  <a:pos x="1106" y="988"/>
                </a:cxn>
                <a:cxn ang="0">
                  <a:pos x="1106" y="984"/>
                </a:cxn>
                <a:cxn ang="0">
                  <a:pos x="1091" y="962"/>
                </a:cxn>
                <a:cxn ang="0">
                  <a:pos x="1106" y="947"/>
                </a:cxn>
                <a:cxn ang="0">
                  <a:pos x="1107" y="917"/>
                </a:cxn>
                <a:cxn ang="0">
                  <a:pos x="1106" y="899"/>
                </a:cxn>
              </a:cxnLst>
              <a:rect l="0" t="0" r="r" b="b"/>
              <a:pathLst>
                <a:path w="1184" h="1030">
                  <a:moveTo>
                    <a:pt x="1106" y="899"/>
                  </a:moveTo>
                  <a:lnTo>
                    <a:pt x="1106" y="888"/>
                  </a:lnTo>
                  <a:lnTo>
                    <a:pt x="1110" y="881"/>
                  </a:lnTo>
                  <a:lnTo>
                    <a:pt x="1127" y="881"/>
                  </a:lnTo>
                  <a:lnTo>
                    <a:pt x="1131" y="881"/>
                  </a:lnTo>
                  <a:lnTo>
                    <a:pt x="1138" y="876"/>
                  </a:lnTo>
                  <a:lnTo>
                    <a:pt x="1145" y="870"/>
                  </a:lnTo>
                  <a:lnTo>
                    <a:pt x="1162" y="870"/>
                  </a:lnTo>
                  <a:lnTo>
                    <a:pt x="1174" y="866"/>
                  </a:lnTo>
                  <a:lnTo>
                    <a:pt x="1184" y="855"/>
                  </a:lnTo>
                  <a:lnTo>
                    <a:pt x="1184" y="827"/>
                  </a:lnTo>
                  <a:lnTo>
                    <a:pt x="1184" y="806"/>
                  </a:lnTo>
                  <a:lnTo>
                    <a:pt x="1184" y="799"/>
                  </a:lnTo>
                  <a:lnTo>
                    <a:pt x="1164" y="783"/>
                  </a:lnTo>
                  <a:lnTo>
                    <a:pt x="1163" y="772"/>
                  </a:lnTo>
                  <a:lnTo>
                    <a:pt x="1171" y="752"/>
                  </a:lnTo>
                  <a:lnTo>
                    <a:pt x="1146" y="752"/>
                  </a:lnTo>
                  <a:lnTo>
                    <a:pt x="1134" y="774"/>
                  </a:lnTo>
                  <a:lnTo>
                    <a:pt x="1134" y="752"/>
                  </a:lnTo>
                  <a:lnTo>
                    <a:pt x="1106" y="726"/>
                  </a:lnTo>
                  <a:lnTo>
                    <a:pt x="1114" y="708"/>
                  </a:lnTo>
                  <a:lnTo>
                    <a:pt x="1116" y="680"/>
                  </a:lnTo>
                  <a:lnTo>
                    <a:pt x="1098" y="632"/>
                  </a:lnTo>
                  <a:lnTo>
                    <a:pt x="1080" y="609"/>
                  </a:lnTo>
                  <a:lnTo>
                    <a:pt x="1021" y="570"/>
                  </a:lnTo>
                  <a:lnTo>
                    <a:pt x="1006" y="577"/>
                  </a:lnTo>
                  <a:lnTo>
                    <a:pt x="971" y="552"/>
                  </a:lnTo>
                  <a:lnTo>
                    <a:pt x="942" y="523"/>
                  </a:lnTo>
                  <a:lnTo>
                    <a:pt x="942" y="497"/>
                  </a:lnTo>
                  <a:lnTo>
                    <a:pt x="949" y="468"/>
                  </a:lnTo>
                  <a:lnTo>
                    <a:pt x="955" y="448"/>
                  </a:lnTo>
                  <a:lnTo>
                    <a:pt x="960" y="423"/>
                  </a:lnTo>
                  <a:lnTo>
                    <a:pt x="973" y="390"/>
                  </a:lnTo>
                  <a:lnTo>
                    <a:pt x="960" y="372"/>
                  </a:lnTo>
                  <a:lnTo>
                    <a:pt x="942" y="354"/>
                  </a:lnTo>
                  <a:lnTo>
                    <a:pt x="912" y="354"/>
                  </a:lnTo>
                  <a:lnTo>
                    <a:pt x="901" y="365"/>
                  </a:lnTo>
                  <a:lnTo>
                    <a:pt x="888" y="380"/>
                  </a:lnTo>
                  <a:lnTo>
                    <a:pt x="869" y="354"/>
                  </a:lnTo>
                  <a:lnTo>
                    <a:pt x="869" y="311"/>
                  </a:lnTo>
                  <a:lnTo>
                    <a:pt x="842" y="280"/>
                  </a:lnTo>
                  <a:lnTo>
                    <a:pt x="758" y="211"/>
                  </a:lnTo>
                  <a:lnTo>
                    <a:pt x="729" y="157"/>
                  </a:lnTo>
                  <a:lnTo>
                    <a:pt x="729" y="106"/>
                  </a:lnTo>
                  <a:lnTo>
                    <a:pt x="729" y="54"/>
                  </a:lnTo>
                  <a:lnTo>
                    <a:pt x="734" y="50"/>
                  </a:lnTo>
                  <a:lnTo>
                    <a:pt x="680" y="0"/>
                  </a:lnTo>
                  <a:lnTo>
                    <a:pt x="0" y="10"/>
                  </a:lnTo>
                  <a:lnTo>
                    <a:pt x="6" y="19"/>
                  </a:lnTo>
                  <a:lnTo>
                    <a:pt x="18" y="29"/>
                  </a:lnTo>
                  <a:lnTo>
                    <a:pt x="22" y="54"/>
                  </a:lnTo>
                  <a:lnTo>
                    <a:pt x="17" y="64"/>
                  </a:lnTo>
                  <a:lnTo>
                    <a:pt x="22" y="76"/>
                  </a:lnTo>
                  <a:lnTo>
                    <a:pt x="22" y="76"/>
                  </a:lnTo>
                  <a:lnTo>
                    <a:pt x="25" y="79"/>
                  </a:lnTo>
                  <a:lnTo>
                    <a:pt x="25" y="79"/>
                  </a:lnTo>
                  <a:lnTo>
                    <a:pt x="32" y="83"/>
                  </a:lnTo>
                  <a:lnTo>
                    <a:pt x="40" y="86"/>
                  </a:lnTo>
                  <a:lnTo>
                    <a:pt x="51" y="90"/>
                  </a:lnTo>
                  <a:lnTo>
                    <a:pt x="58" y="117"/>
                  </a:lnTo>
                  <a:lnTo>
                    <a:pt x="67" y="137"/>
                  </a:lnTo>
                  <a:lnTo>
                    <a:pt x="65" y="135"/>
                  </a:lnTo>
                  <a:lnTo>
                    <a:pt x="86" y="162"/>
                  </a:lnTo>
                  <a:lnTo>
                    <a:pt x="94" y="182"/>
                  </a:lnTo>
                  <a:lnTo>
                    <a:pt x="133" y="182"/>
                  </a:lnTo>
                  <a:lnTo>
                    <a:pt x="146" y="182"/>
                  </a:lnTo>
                  <a:lnTo>
                    <a:pt x="146" y="207"/>
                  </a:lnTo>
                  <a:lnTo>
                    <a:pt x="129" y="233"/>
                  </a:lnTo>
                  <a:lnTo>
                    <a:pt x="115" y="258"/>
                  </a:lnTo>
                  <a:lnTo>
                    <a:pt x="146" y="283"/>
                  </a:lnTo>
                  <a:lnTo>
                    <a:pt x="156" y="314"/>
                  </a:lnTo>
                  <a:lnTo>
                    <a:pt x="168" y="323"/>
                  </a:lnTo>
                  <a:lnTo>
                    <a:pt x="199" y="339"/>
                  </a:lnTo>
                  <a:lnTo>
                    <a:pt x="196" y="823"/>
                  </a:lnTo>
                  <a:lnTo>
                    <a:pt x="196" y="937"/>
                  </a:lnTo>
                  <a:lnTo>
                    <a:pt x="1002" y="917"/>
                  </a:lnTo>
                  <a:lnTo>
                    <a:pt x="1008" y="949"/>
                  </a:lnTo>
                  <a:lnTo>
                    <a:pt x="955" y="1030"/>
                  </a:lnTo>
                  <a:lnTo>
                    <a:pt x="1088" y="1020"/>
                  </a:lnTo>
                  <a:lnTo>
                    <a:pt x="1091" y="1006"/>
                  </a:lnTo>
                  <a:lnTo>
                    <a:pt x="1099" y="995"/>
                  </a:lnTo>
                  <a:lnTo>
                    <a:pt x="1099" y="995"/>
                  </a:lnTo>
                  <a:lnTo>
                    <a:pt x="1103" y="991"/>
                  </a:lnTo>
                  <a:lnTo>
                    <a:pt x="1106" y="988"/>
                  </a:lnTo>
                  <a:lnTo>
                    <a:pt x="1106" y="984"/>
                  </a:lnTo>
                  <a:lnTo>
                    <a:pt x="1106" y="984"/>
                  </a:lnTo>
                  <a:lnTo>
                    <a:pt x="1096" y="966"/>
                  </a:lnTo>
                  <a:lnTo>
                    <a:pt x="1091" y="962"/>
                  </a:lnTo>
                  <a:lnTo>
                    <a:pt x="1096" y="952"/>
                  </a:lnTo>
                  <a:lnTo>
                    <a:pt x="1106" y="947"/>
                  </a:lnTo>
                  <a:lnTo>
                    <a:pt x="1110" y="931"/>
                  </a:lnTo>
                  <a:lnTo>
                    <a:pt x="1107" y="917"/>
                  </a:lnTo>
                  <a:lnTo>
                    <a:pt x="1110" y="905"/>
                  </a:lnTo>
                  <a:lnTo>
                    <a:pt x="1106" y="899"/>
                  </a:lnTo>
                  <a:close/>
                </a:path>
              </a:pathLst>
            </a:custGeom>
            <a:solidFill>
              <a:schemeClr val="accent1"/>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8" name="Freeform 47"/>
            <p:cNvSpPr>
              <a:spLocks/>
            </p:cNvSpPr>
            <p:nvPr/>
          </p:nvSpPr>
          <p:spPr bwMode="auto">
            <a:xfrm>
              <a:off x="4922838" y="914400"/>
              <a:ext cx="603250" cy="703262"/>
            </a:xfrm>
            <a:custGeom>
              <a:avLst/>
              <a:gdLst/>
              <a:ahLst/>
              <a:cxnLst>
                <a:cxn ang="0">
                  <a:pos x="764" y="737"/>
                </a:cxn>
                <a:cxn ang="0">
                  <a:pos x="789" y="584"/>
                </a:cxn>
                <a:cxn ang="0">
                  <a:pos x="930" y="440"/>
                </a:cxn>
                <a:cxn ang="0">
                  <a:pos x="1142" y="303"/>
                </a:cxn>
                <a:cxn ang="0">
                  <a:pos x="1008" y="281"/>
                </a:cxn>
                <a:cxn ang="0">
                  <a:pos x="912" y="285"/>
                </a:cxn>
                <a:cxn ang="0">
                  <a:pos x="847" y="303"/>
                </a:cxn>
                <a:cxn ang="0">
                  <a:pos x="808" y="262"/>
                </a:cxn>
                <a:cxn ang="0">
                  <a:pos x="729" y="244"/>
                </a:cxn>
                <a:cxn ang="0">
                  <a:pos x="703" y="231"/>
                </a:cxn>
                <a:cxn ang="0">
                  <a:pos x="625" y="199"/>
                </a:cxn>
                <a:cxn ang="0">
                  <a:pos x="678" y="200"/>
                </a:cxn>
                <a:cxn ang="0">
                  <a:pos x="628" y="190"/>
                </a:cxn>
                <a:cxn ang="0">
                  <a:pos x="576" y="190"/>
                </a:cxn>
                <a:cxn ang="0">
                  <a:pos x="536" y="210"/>
                </a:cxn>
                <a:cxn ang="0">
                  <a:pos x="476" y="185"/>
                </a:cxn>
                <a:cxn ang="0">
                  <a:pos x="442" y="185"/>
                </a:cxn>
                <a:cxn ang="0">
                  <a:pos x="376" y="133"/>
                </a:cxn>
                <a:cxn ang="0">
                  <a:pos x="361" y="108"/>
                </a:cxn>
                <a:cxn ang="0">
                  <a:pos x="318" y="108"/>
                </a:cxn>
                <a:cxn ang="0">
                  <a:pos x="297" y="89"/>
                </a:cxn>
                <a:cxn ang="0">
                  <a:pos x="321" y="45"/>
                </a:cxn>
                <a:cxn ang="0">
                  <a:pos x="326" y="14"/>
                </a:cxn>
                <a:cxn ang="0">
                  <a:pos x="308" y="0"/>
                </a:cxn>
                <a:cxn ang="0">
                  <a:pos x="296" y="63"/>
                </a:cxn>
                <a:cxn ang="0">
                  <a:pos x="0" y="89"/>
                </a:cxn>
                <a:cxn ang="0">
                  <a:pos x="10" y="124"/>
                </a:cxn>
                <a:cxn ang="0">
                  <a:pos x="20" y="143"/>
                </a:cxn>
                <a:cxn ang="0">
                  <a:pos x="18" y="171"/>
                </a:cxn>
                <a:cxn ang="0">
                  <a:pos x="10" y="185"/>
                </a:cxn>
                <a:cxn ang="0">
                  <a:pos x="14" y="219"/>
                </a:cxn>
                <a:cxn ang="0">
                  <a:pos x="10" y="276"/>
                </a:cxn>
                <a:cxn ang="0">
                  <a:pos x="32" y="353"/>
                </a:cxn>
                <a:cxn ang="0">
                  <a:pos x="50" y="426"/>
                </a:cxn>
                <a:cxn ang="0">
                  <a:pos x="54" y="573"/>
                </a:cxn>
                <a:cxn ang="0">
                  <a:pos x="64" y="629"/>
                </a:cxn>
                <a:cxn ang="0">
                  <a:pos x="71" y="668"/>
                </a:cxn>
                <a:cxn ang="0">
                  <a:pos x="92" y="698"/>
                </a:cxn>
                <a:cxn ang="0">
                  <a:pos x="97" y="747"/>
                </a:cxn>
                <a:cxn ang="0">
                  <a:pos x="88" y="782"/>
                </a:cxn>
                <a:cxn ang="0">
                  <a:pos x="89" y="790"/>
                </a:cxn>
                <a:cxn ang="0">
                  <a:pos x="57" y="820"/>
                </a:cxn>
                <a:cxn ang="0">
                  <a:pos x="45" y="844"/>
                </a:cxn>
                <a:cxn ang="0">
                  <a:pos x="52" y="866"/>
                </a:cxn>
                <a:cxn ang="0">
                  <a:pos x="68" y="893"/>
                </a:cxn>
                <a:cxn ang="0">
                  <a:pos x="100" y="915"/>
                </a:cxn>
                <a:cxn ang="0">
                  <a:pos x="100" y="1330"/>
                </a:cxn>
                <a:cxn ang="0">
                  <a:pos x="952" y="1280"/>
                </a:cxn>
                <a:cxn ang="0">
                  <a:pos x="911" y="1209"/>
                </a:cxn>
                <a:cxn ang="0">
                  <a:pos x="863" y="1166"/>
                </a:cxn>
                <a:cxn ang="0">
                  <a:pos x="759" y="1083"/>
                </a:cxn>
                <a:cxn ang="0">
                  <a:pos x="689" y="1037"/>
                </a:cxn>
                <a:cxn ang="0">
                  <a:pos x="703" y="872"/>
                </a:cxn>
                <a:cxn ang="0">
                  <a:pos x="669" y="847"/>
                </a:cxn>
                <a:cxn ang="0">
                  <a:pos x="700" y="777"/>
                </a:cxn>
              </a:cxnLst>
              <a:rect l="0" t="0" r="r" b="b"/>
              <a:pathLst>
                <a:path w="1142" h="1330">
                  <a:moveTo>
                    <a:pt x="700" y="777"/>
                  </a:moveTo>
                  <a:lnTo>
                    <a:pt x="764" y="737"/>
                  </a:lnTo>
                  <a:lnTo>
                    <a:pt x="765" y="608"/>
                  </a:lnTo>
                  <a:lnTo>
                    <a:pt x="789" y="584"/>
                  </a:lnTo>
                  <a:lnTo>
                    <a:pt x="883" y="496"/>
                  </a:lnTo>
                  <a:lnTo>
                    <a:pt x="930" y="440"/>
                  </a:lnTo>
                  <a:lnTo>
                    <a:pt x="1019" y="378"/>
                  </a:lnTo>
                  <a:lnTo>
                    <a:pt x="1142" y="303"/>
                  </a:lnTo>
                  <a:lnTo>
                    <a:pt x="1101" y="293"/>
                  </a:lnTo>
                  <a:lnTo>
                    <a:pt x="1008" y="281"/>
                  </a:lnTo>
                  <a:lnTo>
                    <a:pt x="930" y="269"/>
                  </a:lnTo>
                  <a:lnTo>
                    <a:pt x="912" y="285"/>
                  </a:lnTo>
                  <a:lnTo>
                    <a:pt x="891" y="303"/>
                  </a:lnTo>
                  <a:lnTo>
                    <a:pt x="847" y="303"/>
                  </a:lnTo>
                  <a:lnTo>
                    <a:pt x="833" y="278"/>
                  </a:lnTo>
                  <a:lnTo>
                    <a:pt x="808" y="262"/>
                  </a:lnTo>
                  <a:lnTo>
                    <a:pt x="748" y="244"/>
                  </a:lnTo>
                  <a:lnTo>
                    <a:pt x="729" y="244"/>
                  </a:lnTo>
                  <a:lnTo>
                    <a:pt x="711" y="236"/>
                  </a:lnTo>
                  <a:lnTo>
                    <a:pt x="703" y="231"/>
                  </a:lnTo>
                  <a:lnTo>
                    <a:pt x="654" y="222"/>
                  </a:lnTo>
                  <a:lnTo>
                    <a:pt x="625" y="199"/>
                  </a:lnTo>
                  <a:lnTo>
                    <a:pt x="658" y="210"/>
                  </a:lnTo>
                  <a:lnTo>
                    <a:pt x="678" y="200"/>
                  </a:lnTo>
                  <a:lnTo>
                    <a:pt x="657" y="190"/>
                  </a:lnTo>
                  <a:lnTo>
                    <a:pt x="628" y="190"/>
                  </a:lnTo>
                  <a:lnTo>
                    <a:pt x="600" y="190"/>
                  </a:lnTo>
                  <a:lnTo>
                    <a:pt x="576" y="190"/>
                  </a:lnTo>
                  <a:lnTo>
                    <a:pt x="547" y="196"/>
                  </a:lnTo>
                  <a:lnTo>
                    <a:pt x="536" y="210"/>
                  </a:lnTo>
                  <a:lnTo>
                    <a:pt x="511" y="210"/>
                  </a:lnTo>
                  <a:lnTo>
                    <a:pt x="476" y="185"/>
                  </a:lnTo>
                  <a:lnTo>
                    <a:pt x="461" y="185"/>
                  </a:lnTo>
                  <a:lnTo>
                    <a:pt x="442" y="185"/>
                  </a:lnTo>
                  <a:lnTo>
                    <a:pt x="399" y="176"/>
                  </a:lnTo>
                  <a:lnTo>
                    <a:pt x="376" y="133"/>
                  </a:lnTo>
                  <a:lnTo>
                    <a:pt x="376" y="126"/>
                  </a:lnTo>
                  <a:lnTo>
                    <a:pt x="361" y="108"/>
                  </a:lnTo>
                  <a:lnTo>
                    <a:pt x="340" y="108"/>
                  </a:lnTo>
                  <a:lnTo>
                    <a:pt x="318" y="108"/>
                  </a:lnTo>
                  <a:lnTo>
                    <a:pt x="303" y="108"/>
                  </a:lnTo>
                  <a:lnTo>
                    <a:pt x="297" y="89"/>
                  </a:lnTo>
                  <a:lnTo>
                    <a:pt x="315" y="64"/>
                  </a:lnTo>
                  <a:lnTo>
                    <a:pt x="321" y="45"/>
                  </a:lnTo>
                  <a:lnTo>
                    <a:pt x="340" y="27"/>
                  </a:lnTo>
                  <a:lnTo>
                    <a:pt x="326" y="14"/>
                  </a:lnTo>
                  <a:lnTo>
                    <a:pt x="326" y="7"/>
                  </a:lnTo>
                  <a:lnTo>
                    <a:pt x="308" y="0"/>
                  </a:lnTo>
                  <a:lnTo>
                    <a:pt x="308" y="56"/>
                  </a:lnTo>
                  <a:lnTo>
                    <a:pt x="296" y="63"/>
                  </a:lnTo>
                  <a:lnTo>
                    <a:pt x="288" y="89"/>
                  </a:lnTo>
                  <a:lnTo>
                    <a:pt x="0" y="89"/>
                  </a:lnTo>
                  <a:lnTo>
                    <a:pt x="6" y="108"/>
                  </a:lnTo>
                  <a:lnTo>
                    <a:pt x="10" y="124"/>
                  </a:lnTo>
                  <a:lnTo>
                    <a:pt x="10" y="131"/>
                  </a:lnTo>
                  <a:lnTo>
                    <a:pt x="20" y="143"/>
                  </a:lnTo>
                  <a:lnTo>
                    <a:pt x="23" y="160"/>
                  </a:lnTo>
                  <a:lnTo>
                    <a:pt x="18" y="171"/>
                  </a:lnTo>
                  <a:lnTo>
                    <a:pt x="10" y="181"/>
                  </a:lnTo>
                  <a:lnTo>
                    <a:pt x="10" y="185"/>
                  </a:lnTo>
                  <a:lnTo>
                    <a:pt x="10" y="207"/>
                  </a:lnTo>
                  <a:lnTo>
                    <a:pt x="14" y="219"/>
                  </a:lnTo>
                  <a:lnTo>
                    <a:pt x="16" y="246"/>
                  </a:lnTo>
                  <a:lnTo>
                    <a:pt x="10" y="276"/>
                  </a:lnTo>
                  <a:lnTo>
                    <a:pt x="20" y="304"/>
                  </a:lnTo>
                  <a:lnTo>
                    <a:pt x="32" y="353"/>
                  </a:lnTo>
                  <a:lnTo>
                    <a:pt x="50" y="383"/>
                  </a:lnTo>
                  <a:lnTo>
                    <a:pt x="50" y="426"/>
                  </a:lnTo>
                  <a:lnTo>
                    <a:pt x="54" y="507"/>
                  </a:lnTo>
                  <a:lnTo>
                    <a:pt x="54" y="573"/>
                  </a:lnTo>
                  <a:lnTo>
                    <a:pt x="54" y="615"/>
                  </a:lnTo>
                  <a:lnTo>
                    <a:pt x="64" y="629"/>
                  </a:lnTo>
                  <a:lnTo>
                    <a:pt x="71" y="639"/>
                  </a:lnTo>
                  <a:lnTo>
                    <a:pt x="71" y="668"/>
                  </a:lnTo>
                  <a:lnTo>
                    <a:pt x="82" y="683"/>
                  </a:lnTo>
                  <a:lnTo>
                    <a:pt x="92" y="698"/>
                  </a:lnTo>
                  <a:lnTo>
                    <a:pt x="97" y="726"/>
                  </a:lnTo>
                  <a:lnTo>
                    <a:pt x="97" y="747"/>
                  </a:lnTo>
                  <a:lnTo>
                    <a:pt x="97" y="770"/>
                  </a:lnTo>
                  <a:lnTo>
                    <a:pt x="88" y="782"/>
                  </a:lnTo>
                  <a:lnTo>
                    <a:pt x="88" y="780"/>
                  </a:lnTo>
                  <a:lnTo>
                    <a:pt x="89" y="790"/>
                  </a:lnTo>
                  <a:lnTo>
                    <a:pt x="72" y="807"/>
                  </a:lnTo>
                  <a:lnTo>
                    <a:pt x="57" y="820"/>
                  </a:lnTo>
                  <a:lnTo>
                    <a:pt x="45" y="836"/>
                  </a:lnTo>
                  <a:lnTo>
                    <a:pt x="45" y="844"/>
                  </a:lnTo>
                  <a:lnTo>
                    <a:pt x="45" y="855"/>
                  </a:lnTo>
                  <a:lnTo>
                    <a:pt x="52" y="866"/>
                  </a:lnTo>
                  <a:lnTo>
                    <a:pt x="63" y="880"/>
                  </a:lnTo>
                  <a:lnTo>
                    <a:pt x="68" y="893"/>
                  </a:lnTo>
                  <a:lnTo>
                    <a:pt x="92" y="902"/>
                  </a:lnTo>
                  <a:lnTo>
                    <a:pt x="100" y="915"/>
                  </a:lnTo>
                  <a:lnTo>
                    <a:pt x="114" y="931"/>
                  </a:lnTo>
                  <a:lnTo>
                    <a:pt x="100" y="1330"/>
                  </a:lnTo>
                  <a:lnTo>
                    <a:pt x="950" y="1313"/>
                  </a:lnTo>
                  <a:lnTo>
                    <a:pt x="952" y="1280"/>
                  </a:lnTo>
                  <a:lnTo>
                    <a:pt x="950" y="1247"/>
                  </a:lnTo>
                  <a:lnTo>
                    <a:pt x="911" y="1209"/>
                  </a:lnTo>
                  <a:lnTo>
                    <a:pt x="879" y="1187"/>
                  </a:lnTo>
                  <a:lnTo>
                    <a:pt x="863" y="1166"/>
                  </a:lnTo>
                  <a:lnTo>
                    <a:pt x="820" y="1119"/>
                  </a:lnTo>
                  <a:lnTo>
                    <a:pt x="759" y="1083"/>
                  </a:lnTo>
                  <a:lnTo>
                    <a:pt x="716" y="1061"/>
                  </a:lnTo>
                  <a:lnTo>
                    <a:pt x="689" y="1037"/>
                  </a:lnTo>
                  <a:lnTo>
                    <a:pt x="691" y="951"/>
                  </a:lnTo>
                  <a:lnTo>
                    <a:pt x="703" y="872"/>
                  </a:lnTo>
                  <a:lnTo>
                    <a:pt x="690" y="872"/>
                  </a:lnTo>
                  <a:lnTo>
                    <a:pt x="669" y="847"/>
                  </a:lnTo>
                  <a:lnTo>
                    <a:pt x="690" y="795"/>
                  </a:lnTo>
                  <a:lnTo>
                    <a:pt x="700" y="777"/>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49" name="Line 48"/>
            <p:cNvSpPr>
              <a:spLocks noChangeShapeType="1"/>
            </p:cNvSpPr>
            <p:nvPr/>
          </p:nvSpPr>
          <p:spPr bwMode="auto">
            <a:xfrm>
              <a:off x="5335588" y="1246188"/>
              <a:ext cx="1587" cy="1587"/>
            </a:xfrm>
            <a:prstGeom prst="line">
              <a:avLst/>
            </a:prstGeom>
            <a:grpFill/>
            <a:ln w="6350">
              <a:solidFill>
                <a:schemeClr val="bg1"/>
              </a:solidFill>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0" name="Line 49"/>
            <p:cNvSpPr>
              <a:spLocks noChangeShapeType="1"/>
            </p:cNvSpPr>
            <p:nvPr/>
          </p:nvSpPr>
          <p:spPr bwMode="auto">
            <a:xfrm>
              <a:off x="5335588" y="1246188"/>
              <a:ext cx="1587" cy="1587"/>
            </a:xfrm>
            <a:prstGeom prst="line">
              <a:avLst/>
            </a:pr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1" name="Freeform 50"/>
            <p:cNvSpPr>
              <a:spLocks/>
            </p:cNvSpPr>
            <p:nvPr/>
          </p:nvSpPr>
          <p:spPr bwMode="auto">
            <a:xfrm>
              <a:off x="5476875" y="1120775"/>
              <a:ext cx="708025" cy="663575"/>
            </a:xfrm>
            <a:custGeom>
              <a:avLst/>
              <a:gdLst/>
              <a:ahLst/>
              <a:cxnLst>
                <a:cxn ang="0">
                  <a:pos x="64" y="185"/>
                </a:cxn>
                <a:cxn ang="0">
                  <a:pos x="196" y="126"/>
                </a:cxn>
                <a:cxn ang="0">
                  <a:pos x="303" y="20"/>
                </a:cxn>
                <a:cxn ang="0">
                  <a:pos x="368" y="21"/>
                </a:cxn>
                <a:cxn ang="0">
                  <a:pos x="318" y="67"/>
                </a:cxn>
                <a:cxn ang="0">
                  <a:pos x="304" y="88"/>
                </a:cxn>
                <a:cxn ang="0">
                  <a:pos x="317" y="133"/>
                </a:cxn>
                <a:cxn ang="0">
                  <a:pos x="428" y="158"/>
                </a:cxn>
                <a:cxn ang="0">
                  <a:pos x="594" y="221"/>
                </a:cxn>
                <a:cxn ang="0">
                  <a:pos x="747" y="146"/>
                </a:cxn>
                <a:cxn ang="0">
                  <a:pos x="922" y="174"/>
                </a:cxn>
                <a:cxn ang="0">
                  <a:pos x="1009" y="257"/>
                </a:cxn>
                <a:cxn ang="0">
                  <a:pos x="1048" y="269"/>
                </a:cxn>
                <a:cxn ang="0">
                  <a:pos x="1073" y="251"/>
                </a:cxn>
                <a:cxn ang="0">
                  <a:pos x="1083" y="268"/>
                </a:cxn>
                <a:cxn ang="0">
                  <a:pos x="1050" y="279"/>
                </a:cxn>
                <a:cxn ang="0">
                  <a:pos x="919" y="275"/>
                </a:cxn>
                <a:cxn ang="0">
                  <a:pos x="907" y="328"/>
                </a:cxn>
                <a:cxn ang="0">
                  <a:pos x="944" y="336"/>
                </a:cxn>
                <a:cxn ang="0">
                  <a:pos x="937" y="325"/>
                </a:cxn>
                <a:cxn ang="0">
                  <a:pos x="955" y="346"/>
                </a:cxn>
                <a:cxn ang="0">
                  <a:pos x="966" y="354"/>
                </a:cxn>
                <a:cxn ang="0">
                  <a:pos x="1022" y="383"/>
                </a:cxn>
                <a:cxn ang="0">
                  <a:pos x="1137" y="482"/>
                </a:cxn>
                <a:cxn ang="0">
                  <a:pos x="1145" y="504"/>
                </a:cxn>
                <a:cxn ang="0">
                  <a:pos x="1152" y="525"/>
                </a:cxn>
                <a:cxn ang="0">
                  <a:pos x="1127" y="686"/>
                </a:cxn>
                <a:cxn ang="0">
                  <a:pos x="1094" y="725"/>
                </a:cxn>
                <a:cxn ang="0">
                  <a:pos x="1120" y="800"/>
                </a:cxn>
                <a:cxn ang="0">
                  <a:pos x="1147" y="775"/>
                </a:cxn>
                <a:cxn ang="0">
                  <a:pos x="1161" y="750"/>
                </a:cxn>
                <a:cxn ang="0">
                  <a:pos x="1174" y="725"/>
                </a:cxn>
                <a:cxn ang="0">
                  <a:pos x="1208" y="698"/>
                </a:cxn>
                <a:cxn ang="0">
                  <a:pos x="1283" y="716"/>
                </a:cxn>
                <a:cxn ang="0">
                  <a:pos x="1338" y="918"/>
                </a:cxn>
                <a:cxn ang="0">
                  <a:pos x="1298" y="990"/>
                </a:cxn>
                <a:cxn ang="0">
                  <a:pos x="1240" y="1130"/>
                </a:cxn>
                <a:cxn ang="0">
                  <a:pos x="657" y="1255"/>
                </a:cxn>
                <a:cxn ang="0">
                  <a:pos x="733" y="1012"/>
                </a:cxn>
                <a:cxn ang="0">
                  <a:pos x="669" y="834"/>
                </a:cxn>
                <a:cxn ang="0">
                  <a:pos x="676" y="723"/>
                </a:cxn>
                <a:cxn ang="0">
                  <a:pos x="704" y="586"/>
                </a:cxn>
                <a:cxn ang="0">
                  <a:pos x="775" y="491"/>
                </a:cxn>
                <a:cxn ang="0">
                  <a:pos x="783" y="565"/>
                </a:cxn>
                <a:cxn ang="0">
                  <a:pos x="797" y="566"/>
                </a:cxn>
                <a:cxn ang="0">
                  <a:pos x="818" y="516"/>
                </a:cxn>
                <a:cxn ang="0">
                  <a:pos x="864" y="432"/>
                </a:cxn>
                <a:cxn ang="0">
                  <a:pos x="875" y="358"/>
                </a:cxn>
                <a:cxn ang="0">
                  <a:pos x="901" y="342"/>
                </a:cxn>
                <a:cxn ang="0">
                  <a:pos x="836" y="283"/>
                </a:cxn>
                <a:cxn ang="0">
                  <a:pos x="653" y="336"/>
                </a:cxn>
                <a:cxn ang="0">
                  <a:pos x="611" y="342"/>
                </a:cxn>
                <a:cxn ang="0">
                  <a:pos x="553" y="350"/>
                </a:cxn>
                <a:cxn ang="0">
                  <a:pos x="490" y="497"/>
                </a:cxn>
                <a:cxn ang="0">
                  <a:pos x="436" y="437"/>
                </a:cxn>
                <a:cxn ang="0">
                  <a:pos x="309" y="353"/>
                </a:cxn>
                <a:cxn ang="0">
                  <a:pos x="170" y="310"/>
                </a:cxn>
                <a:cxn ang="0">
                  <a:pos x="42" y="265"/>
                </a:cxn>
              </a:cxnLst>
              <a:rect l="0" t="0" r="r" b="b"/>
              <a:pathLst>
                <a:path w="1338" h="1255">
                  <a:moveTo>
                    <a:pt x="0" y="237"/>
                  </a:moveTo>
                  <a:lnTo>
                    <a:pt x="10" y="226"/>
                  </a:lnTo>
                  <a:lnTo>
                    <a:pt x="28" y="226"/>
                  </a:lnTo>
                  <a:lnTo>
                    <a:pt x="50" y="215"/>
                  </a:lnTo>
                  <a:lnTo>
                    <a:pt x="59" y="203"/>
                  </a:lnTo>
                  <a:lnTo>
                    <a:pt x="64" y="185"/>
                  </a:lnTo>
                  <a:lnTo>
                    <a:pt x="82" y="172"/>
                  </a:lnTo>
                  <a:lnTo>
                    <a:pt x="93" y="167"/>
                  </a:lnTo>
                  <a:lnTo>
                    <a:pt x="110" y="167"/>
                  </a:lnTo>
                  <a:lnTo>
                    <a:pt x="136" y="167"/>
                  </a:lnTo>
                  <a:lnTo>
                    <a:pt x="152" y="157"/>
                  </a:lnTo>
                  <a:lnTo>
                    <a:pt x="196" y="126"/>
                  </a:lnTo>
                  <a:lnTo>
                    <a:pt x="213" y="122"/>
                  </a:lnTo>
                  <a:lnTo>
                    <a:pt x="227" y="101"/>
                  </a:lnTo>
                  <a:lnTo>
                    <a:pt x="245" y="81"/>
                  </a:lnTo>
                  <a:lnTo>
                    <a:pt x="263" y="67"/>
                  </a:lnTo>
                  <a:lnTo>
                    <a:pt x="286" y="40"/>
                  </a:lnTo>
                  <a:lnTo>
                    <a:pt x="303" y="20"/>
                  </a:lnTo>
                  <a:lnTo>
                    <a:pt x="329" y="4"/>
                  </a:lnTo>
                  <a:lnTo>
                    <a:pt x="358" y="0"/>
                  </a:lnTo>
                  <a:lnTo>
                    <a:pt x="371" y="0"/>
                  </a:lnTo>
                  <a:lnTo>
                    <a:pt x="396" y="10"/>
                  </a:lnTo>
                  <a:lnTo>
                    <a:pt x="388" y="15"/>
                  </a:lnTo>
                  <a:lnTo>
                    <a:pt x="368" y="21"/>
                  </a:lnTo>
                  <a:lnTo>
                    <a:pt x="353" y="28"/>
                  </a:lnTo>
                  <a:lnTo>
                    <a:pt x="356" y="35"/>
                  </a:lnTo>
                  <a:lnTo>
                    <a:pt x="328" y="65"/>
                  </a:lnTo>
                  <a:lnTo>
                    <a:pt x="328" y="65"/>
                  </a:lnTo>
                  <a:lnTo>
                    <a:pt x="322" y="67"/>
                  </a:lnTo>
                  <a:lnTo>
                    <a:pt x="318" y="67"/>
                  </a:lnTo>
                  <a:lnTo>
                    <a:pt x="317" y="68"/>
                  </a:lnTo>
                  <a:lnTo>
                    <a:pt x="317" y="70"/>
                  </a:lnTo>
                  <a:lnTo>
                    <a:pt x="317" y="70"/>
                  </a:lnTo>
                  <a:lnTo>
                    <a:pt x="311" y="89"/>
                  </a:lnTo>
                  <a:lnTo>
                    <a:pt x="304" y="107"/>
                  </a:lnTo>
                  <a:lnTo>
                    <a:pt x="304" y="88"/>
                  </a:lnTo>
                  <a:lnTo>
                    <a:pt x="296" y="81"/>
                  </a:lnTo>
                  <a:lnTo>
                    <a:pt x="292" y="125"/>
                  </a:lnTo>
                  <a:lnTo>
                    <a:pt x="290" y="154"/>
                  </a:lnTo>
                  <a:lnTo>
                    <a:pt x="303" y="145"/>
                  </a:lnTo>
                  <a:lnTo>
                    <a:pt x="313" y="133"/>
                  </a:lnTo>
                  <a:lnTo>
                    <a:pt x="317" y="133"/>
                  </a:lnTo>
                  <a:lnTo>
                    <a:pt x="322" y="145"/>
                  </a:lnTo>
                  <a:lnTo>
                    <a:pt x="338" y="146"/>
                  </a:lnTo>
                  <a:lnTo>
                    <a:pt x="346" y="136"/>
                  </a:lnTo>
                  <a:lnTo>
                    <a:pt x="358" y="131"/>
                  </a:lnTo>
                  <a:lnTo>
                    <a:pt x="383" y="132"/>
                  </a:lnTo>
                  <a:lnTo>
                    <a:pt x="428" y="158"/>
                  </a:lnTo>
                  <a:lnTo>
                    <a:pt x="458" y="189"/>
                  </a:lnTo>
                  <a:lnTo>
                    <a:pt x="478" y="206"/>
                  </a:lnTo>
                  <a:lnTo>
                    <a:pt x="518" y="211"/>
                  </a:lnTo>
                  <a:lnTo>
                    <a:pt x="532" y="203"/>
                  </a:lnTo>
                  <a:lnTo>
                    <a:pt x="564" y="214"/>
                  </a:lnTo>
                  <a:lnTo>
                    <a:pt x="594" y="221"/>
                  </a:lnTo>
                  <a:lnTo>
                    <a:pt x="607" y="204"/>
                  </a:lnTo>
                  <a:lnTo>
                    <a:pt x="632" y="179"/>
                  </a:lnTo>
                  <a:lnTo>
                    <a:pt x="650" y="164"/>
                  </a:lnTo>
                  <a:lnTo>
                    <a:pt x="690" y="154"/>
                  </a:lnTo>
                  <a:lnTo>
                    <a:pt x="716" y="146"/>
                  </a:lnTo>
                  <a:lnTo>
                    <a:pt x="747" y="146"/>
                  </a:lnTo>
                  <a:lnTo>
                    <a:pt x="787" y="131"/>
                  </a:lnTo>
                  <a:lnTo>
                    <a:pt x="818" y="118"/>
                  </a:lnTo>
                  <a:lnTo>
                    <a:pt x="832" y="128"/>
                  </a:lnTo>
                  <a:lnTo>
                    <a:pt x="837" y="168"/>
                  </a:lnTo>
                  <a:lnTo>
                    <a:pt x="893" y="176"/>
                  </a:lnTo>
                  <a:lnTo>
                    <a:pt x="922" y="174"/>
                  </a:lnTo>
                  <a:lnTo>
                    <a:pt x="947" y="183"/>
                  </a:lnTo>
                  <a:lnTo>
                    <a:pt x="966" y="203"/>
                  </a:lnTo>
                  <a:lnTo>
                    <a:pt x="993" y="237"/>
                  </a:lnTo>
                  <a:lnTo>
                    <a:pt x="1002" y="249"/>
                  </a:lnTo>
                  <a:lnTo>
                    <a:pt x="1002" y="249"/>
                  </a:lnTo>
                  <a:lnTo>
                    <a:pt x="1009" y="257"/>
                  </a:lnTo>
                  <a:lnTo>
                    <a:pt x="1009" y="257"/>
                  </a:lnTo>
                  <a:lnTo>
                    <a:pt x="1018" y="264"/>
                  </a:lnTo>
                  <a:lnTo>
                    <a:pt x="1022" y="268"/>
                  </a:lnTo>
                  <a:lnTo>
                    <a:pt x="1044" y="272"/>
                  </a:lnTo>
                  <a:lnTo>
                    <a:pt x="1044" y="272"/>
                  </a:lnTo>
                  <a:lnTo>
                    <a:pt x="1048" y="269"/>
                  </a:lnTo>
                  <a:lnTo>
                    <a:pt x="1051" y="265"/>
                  </a:lnTo>
                  <a:lnTo>
                    <a:pt x="1052" y="262"/>
                  </a:lnTo>
                  <a:lnTo>
                    <a:pt x="1052" y="262"/>
                  </a:lnTo>
                  <a:lnTo>
                    <a:pt x="1056" y="260"/>
                  </a:lnTo>
                  <a:lnTo>
                    <a:pt x="1063" y="256"/>
                  </a:lnTo>
                  <a:lnTo>
                    <a:pt x="1073" y="251"/>
                  </a:lnTo>
                  <a:lnTo>
                    <a:pt x="1083" y="262"/>
                  </a:lnTo>
                  <a:lnTo>
                    <a:pt x="1083" y="262"/>
                  </a:lnTo>
                  <a:lnTo>
                    <a:pt x="1086" y="264"/>
                  </a:lnTo>
                  <a:lnTo>
                    <a:pt x="1086" y="267"/>
                  </a:lnTo>
                  <a:lnTo>
                    <a:pt x="1083" y="268"/>
                  </a:lnTo>
                  <a:lnTo>
                    <a:pt x="1083" y="268"/>
                  </a:lnTo>
                  <a:lnTo>
                    <a:pt x="1079" y="271"/>
                  </a:lnTo>
                  <a:lnTo>
                    <a:pt x="1075" y="275"/>
                  </a:lnTo>
                  <a:lnTo>
                    <a:pt x="1070" y="278"/>
                  </a:lnTo>
                  <a:lnTo>
                    <a:pt x="1066" y="279"/>
                  </a:lnTo>
                  <a:lnTo>
                    <a:pt x="1066" y="279"/>
                  </a:lnTo>
                  <a:lnTo>
                    <a:pt x="1050" y="279"/>
                  </a:lnTo>
                  <a:lnTo>
                    <a:pt x="1029" y="279"/>
                  </a:lnTo>
                  <a:lnTo>
                    <a:pt x="1020" y="286"/>
                  </a:lnTo>
                  <a:lnTo>
                    <a:pt x="969" y="286"/>
                  </a:lnTo>
                  <a:lnTo>
                    <a:pt x="958" y="293"/>
                  </a:lnTo>
                  <a:lnTo>
                    <a:pt x="939" y="282"/>
                  </a:lnTo>
                  <a:lnTo>
                    <a:pt x="919" y="275"/>
                  </a:lnTo>
                  <a:lnTo>
                    <a:pt x="901" y="297"/>
                  </a:lnTo>
                  <a:lnTo>
                    <a:pt x="902" y="312"/>
                  </a:lnTo>
                  <a:lnTo>
                    <a:pt x="905" y="319"/>
                  </a:lnTo>
                  <a:lnTo>
                    <a:pt x="905" y="319"/>
                  </a:lnTo>
                  <a:lnTo>
                    <a:pt x="905" y="325"/>
                  </a:lnTo>
                  <a:lnTo>
                    <a:pt x="907" y="328"/>
                  </a:lnTo>
                  <a:lnTo>
                    <a:pt x="908" y="330"/>
                  </a:lnTo>
                  <a:lnTo>
                    <a:pt x="908" y="330"/>
                  </a:lnTo>
                  <a:lnTo>
                    <a:pt x="911" y="335"/>
                  </a:lnTo>
                  <a:lnTo>
                    <a:pt x="912" y="337"/>
                  </a:lnTo>
                  <a:lnTo>
                    <a:pt x="936" y="346"/>
                  </a:lnTo>
                  <a:lnTo>
                    <a:pt x="944" y="336"/>
                  </a:lnTo>
                  <a:lnTo>
                    <a:pt x="944" y="336"/>
                  </a:lnTo>
                  <a:lnTo>
                    <a:pt x="940" y="330"/>
                  </a:lnTo>
                  <a:lnTo>
                    <a:pt x="937" y="326"/>
                  </a:lnTo>
                  <a:lnTo>
                    <a:pt x="937" y="325"/>
                  </a:lnTo>
                  <a:lnTo>
                    <a:pt x="937" y="325"/>
                  </a:lnTo>
                  <a:lnTo>
                    <a:pt x="937" y="325"/>
                  </a:lnTo>
                  <a:lnTo>
                    <a:pt x="950" y="329"/>
                  </a:lnTo>
                  <a:lnTo>
                    <a:pt x="959" y="333"/>
                  </a:lnTo>
                  <a:lnTo>
                    <a:pt x="959" y="333"/>
                  </a:lnTo>
                  <a:lnTo>
                    <a:pt x="958" y="339"/>
                  </a:lnTo>
                  <a:lnTo>
                    <a:pt x="957" y="343"/>
                  </a:lnTo>
                  <a:lnTo>
                    <a:pt x="955" y="346"/>
                  </a:lnTo>
                  <a:lnTo>
                    <a:pt x="955" y="346"/>
                  </a:lnTo>
                  <a:lnTo>
                    <a:pt x="952" y="349"/>
                  </a:lnTo>
                  <a:lnTo>
                    <a:pt x="952" y="350"/>
                  </a:lnTo>
                  <a:lnTo>
                    <a:pt x="954" y="351"/>
                  </a:lnTo>
                  <a:lnTo>
                    <a:pt x="954" y="351"/>
                  </a:lnTo>
                  <a:lnTo>
                    <a:pt x="966" y="354"/>
                  </a:lnTo>
                  <a:lnTo>
                    <a:pt x="982" y="358"/>
                  </a:lnTo>
                  <a:lnTo>
                    <a:pt x="982" y="358"/>
                  </a:lnTo>
                  <a:lnTo>
                    <a:pt x="986" y="358"/>
                  </a:lnTo>
                  <a:lnTo>
                    <a:pt x="991" y="361"/>
                  </a:lnTo>
                  <a:lnTo>
                    <a:pt x="1000" y="365"/>
                  </a:lnTo>
                  <a:lnTo>
                    <a:pt x="1022" y="383"/>
                  </a:lnTo>
                  <a:lnTo>
                    <a:pt x="1054" y="396"/>
                  </a:lnTo>
                  <a:lnTo>
                    <a:pt x="1090" y="410"/>
                  </a:lnTo>
                  <a:lnTo>
                    <a:pt x="1127" y="446"/>
                  </a:lnTo>
                  <a:lnTo>
                    <a:pt x="1147" y="469"/>
                  </a:lnTo>
                  <a:lnTo>
                    <a:pt x="1137" y="482"/>
                  </a:lnTo>
                  <a:lnTo>
                    <a:pt x="1137" y="482"/>
                  </a:lnTo>
                  <a:lnTo>
                    <a:pt x="1134" y="482"/>
                  </a:lnTo>
                  <a:lnTo>
                    <a:pt x="1133" y="482"/>
                  </a:lnTo>
                  <a:lnTo>
                    <a:pt x="1134" y="485"/>
                  </a:lnTo>
                  <a:lnTo>
                    <a:pt x="1134" y="485"/>
                  </a:lnTo>
                  <a:lnTo>
                    <a:pt x="1141" y="497"/>
                  </a:lnTo>
                  <a:lnTo>
                    <a:pt x="1145" y="504"/>
                  </a:lnTo>
                  <a:lnTo>
                    <a:pt x="1147" y="505"/>
                  </a:lnTo>
                  <a:lnTo>
                    <a:pt x="1147" y="508"/>
                  </a:lnTo>
                  <a:lnTo>
                    <a:pt x="1147" y="508"/>
                  </a:lnTo>
                  <a:lnTo>
                    <a:pt x="1145" y="511"/>
                  </a:lnTo>
                  <a:lnTo>
                    <a:pt x="1148" y="516"/>
                  </a:lnTo>
                  <a:lnTo>
                    <a:pt x="1152" y="525"/>
                  </a:lnTo>
                  <a:lnTo>
                    <a:pt x="1159" y="576"/>
                  </a:lnTo>
                  <a:lnTo>
                    <a:pt x="1165" y="605"/>
                  </a:lnTo>
                  <a:lnTo>
                    <a:pt x="1159" y="632"/>
                  </a:lnTo>
                  <a:lnTo>
                    <a:pt x="1141" y="654"/>
                  </a:lnTo>
                  <a:lnTo>
                    <a:pt x="1127" y="686"/>
                  </a:lnTo>
                  <a:lnTo>
                    <a:pt x="1127" y="686"/>
                  </a:lnTo>
                  <a:lnTo>
                    <a:pt x="1116" y="707"/>
                  </a:lnTo>
                  <a:lnTo>
                    <a:pt x="1116" y="707"/>
                  </a:lnTo>
                  <a:lnTo>
                    <a:pt x="1104" y="715"/>
                  </a:lnTo>
                  <a:lnTo>
                    <a:pt x="1097" y="721"/>
                  </a:lnTo>
                  <a:lnTo>
                    <a:pt x="1094" y="725"/>
                  </a:lnTo>
                  <a:lnTo>
                    <a:pt x="1094" y="725"/>
                  </a:lnTo>
                  <a:lnTo>
                    <a:pt x="1093" y="729"/>
                  </a:lnTo>
                  <a:lnTo>
                    <a:pt x="1091" y="736"/>
                  </a:lnTo>
                  <a:lnTo>
                    <a:pt x="1087" y="747"/>
                  </a:lnTo>
                  <a:lnTo>
                    <a:pt x="1088" y="780"/>
                  </a:lnTo>
                  <a:lnTo>
                    <a:pt x="1095" y="793"/>
                  </a:lnTo>
                  <a:lnTo>
                    <a:pt x="1120" y="800"/>
                  </a:lnTo>
                  <a:lnTo>
                    <a:pt x="1130" y="791"/>
                  </a:lnTo>
                  <a:lnTo>
                    <a:pt x="1130" y="791"/>
                  </a:lnTo>
                  <a:lnTo>
                    <a:pt x="1133" y="787"/>
                  </a:lnTo>
                  <a:lnTo>
                    <a:pt x="1138" y="783"/>
                  </a:lnTo>
                  <a:lnTo>
                    <a:pt x="1138" y="783"/>
                  </a:lnTo>
                  <a:lnTo>
                    <a:pt x="1147" y="775"/>
                  </a:lnTo>
                  <a:lnTo>
                    <a:pt x="1147" y="775"/>
                  </a:lnTo>
                  <a:lnTo>
                    <a:pt x="1152" y="769"/>
                  </a:lnTo>
                  <a:lnTo>
                    <a:pt x="1156" y="765"/>
                  </a:lnTo>
                  <a:lnTo>
                    <a:pt x="1159" y="764"/>
                  </a:lnTo>
                  <a:lnTo>
                    <a:pt x="1159" y="764"/>
                  </a:lnTo>
                  <a:lnTo>
                    <a:pt x="1161" y="750"/>
                  </a:lnTo>
                  <a:lnTo>
                    <a:pt x="1161" y="750"/>
                  </a:lnTo>
                  <a:lnTo>
                    <a:pt x="1165" y="733"/>
                  </a:lnTo>
                  <a:lnTo>
                    <a:pt x="1165" y="733"/>
                  </a:lnTo>
                  <a:lnTo>
                    <a:pt x="1169" y="730"/>
                  </a:lnTo>
                  <a:lnTo>
                    <a:pt x="1174" y="725"/>
                  </a:lnTo>
                  <a:lnTo>
                    <a:pt x="1174" y="725"/>
                  </a:lnTo>
                  <a:lnTo>
                    <a:pt x="1181" y="716"/>
                  </a:lnTo>
                  <a:lnTo>
                    <a:pt x="1190" y="711"/>
                  </a:lnTo>
                  <a:lnTo>
                    <a:pt x="1190" y="711"/>
                  </a:lnTo>
                  <a:lnTo>
                    <a:pt x="1198" y="704"/>
                  </a:lnTo>
                  <a:lnTo>
                    <a:pt x="1208" y="698"/>
                  </a:lnTo>
                  <a:lnTo>
                    <a:pt x="1208" y="698"/>
                  </a:lnTo>
                  <a:lnTo>
                    <a:pt x="1211" y="696"/>
                  </a:lnTo>
                  <a:lnTo>
                    <a:pt x="1216" y="691"/>
                  </a:lnTo>
                  <a:lnTo>
                    <a:pt x="1223" y="686"/>
                  </a:lnTo>
                  <a:lnTo>
                    <a:pt x="1237" y="682"/>
                  </a:lnTo>
                  <a:lnTo>
                    <a:pt x="1255" y="689"/>
                  </a:lnTo>
                  <a:lnTo>
                    <a:pt x="1283" y="716"/>
                  </a:lnTo>
                  <a:lnTo>
                    <a:pt x="1301" y="757"/>
                  </a:lnTo>
                  <a:lnTo>
                    <a:pt x="1319" y="857"/>
                  </a:lnTo>
                  <a:lnTo>
                    <a:pt x="1335" y="877"/>
                  </a:lnTo>
                  <a:lnTo>
                    <a:pt x="1335" y="897"/>
                  </a:lnTo>
                  <a:lnTo>
                    <a:pt x="1335" y="897"/>
                  </a:lnTo>
                  <a:lnTo>
                    <a:pt x="1338" y="918"/>
                  </a:lnTo>
                  <a:lnTo>
                    <a:pt x="1338" y="918"/>
                  </a:lnTo>
                  <a:lnTo>
                    <a:pt x="1338" y="931"/>
                  </a:lnTo>
                  <a:lnTo>
                    <a:pt x="1338" y="955"/>
                  </a:lnTo>
                  <a:lnTo>
                    <a:pt x="1338" y="990"/>
                  </a:lnTo>
                  <a:lnTo>
                    <a:pt x="1305" y="990"/>
                  </a:lnTo>
                  <a:lnTo>
                    <a:pt x="1298" y="990"/>
                  </a:lnTo>
                  <a:lnTo>
                    <a:pt x="1297" y="1002"/>
                  </a:lnTo>
                  <a:lnTo>
                    <a:pt x="1281" y="1026"/>
                  </a:lnTo>
                  <a:lnTo>
                    <a:pt x="1279" y="1047"/>
                  </a:lnTo>
                  <a:lnTo>
                    <a:pt x="1269" y="1063"/>
                  </a:lnTo>
                  <a:lnTo>
                    <a:pt x="1251" y="1084"/>
                  </a:lnTo>
                  <a:lnTo>
                    <a:pt x="1240" y="1130"/>
                  </a:lnTo>
                  <a:lnTo>
                    <a:pt x="1240" y="1158"/>
                  </a:lnTo>
                  <a:lnTo>
                    <a:pt x="1223" y="1180"/>
                  </a:lnTo>
                  <a:lnTo>
                    <a:pt x="1208" y="1208"/>
                  </a:lnTo>
                  <a:lnTo>
                    <a:pt x="994" y="1244"/>
                  </a:lnTo>
                  <a:lnTo>
                    <a:pt x="988" y="1233"/>
                  </a:lnTo>
                  <a:lnTo>
                    <a:pt x="657" y="1255"/>
                  </a:lnTo>
                  <a:lnTo>
                    <a:pt x="679" y="1234"/>
                  </a:lnTo>
                  <a:lnTo>
                    <a:pt x="690" y="1215"/>
                  </a:lnTo>
                  <a:lnTo>
                    <a:pt x="708" y="1180"/>
                  </a:lnTo>
                  <a:lnTo>
                    <a:pt x="728" y="1140"/>
                  </a:lnTo>
                  <a:lnTo>
                    <a:pt x="739" y="1095"/>
                  </a:lnTo>
                  <a:lnTo>
                    <a:pt x="733" y="1012"/>
                  </a:lnTo>
                  <a:lnTo>
                    <a:pt x="730" y="974"/>
                  </a:lnTo>
                  <a:lnTo>
                    <a:pt x="715" y="944"/>
                  </a:lnTo>
                  <a:lnTo>
                    <a:pt x="694" y="908"/>
                  </a:lnTo>
                  <a:lnTo>
                    <a:pt x="676" y="887"/>
                  </a:lnTo>
                  <a:lnTo>
                    <a:pt x="662" y="857"/>
                  </a:lnTo>
                  <a:lnTo>
                    <a:pt x="669" y="834"/>
                  </a:lnTo>
                  <a:lnTo>
                    <a:pt x="682" y="822"/>
                  </a:lnTo>
                  <a:lnTo>
                    <a:pt x="682" y="802"/>
                  </a:lnTo>
                  <a:lnTo>
                    <a:pt x="669" y="766"/>
                  </a:lnTo>
                  <a:lnTo>
                    <a:pt x="658" y="754"/>
                  </a:lnTo>
                  <a:lnTo>
                    <a:pt x="669" y="744"/>
                  </a:lnTo>
                  <a:lnTo>
                    <a:pt x="676" y="723"/>
                  </a:lnTo>
                  <a:lnTo>
                    <a:pt x="682" y="700"/>
                  </a:lnTo>
                  <a:lnTo>
                    <a:pt x="689" y="684"/>
                  </a:lnTo>
                  <a:lnTo>
                    <a:pt x="690" y="644"/>
                  </a:lnTo>
                  <a:lnTo>
                    <a:pt x="683" y="628"/>
                  </a:lnTo>
                  <a:lnTo>
                    <a:pt x="690" y="604"/>
                  </a:lnTo>
                  <a:lnTo>
                    <a:pt x="704" y="586"/>
                  </a:lnTo>
                  <a:lnTo>
                    <a:pt x="711" y="566"/>
                  </a:lnTo>
                  <a:lnTo>
                    <a:pt x="712" y="543"/>
                  </a:lnTo>
                  <a:lnTo>
                    <a:pt x="733" y="540"/>
                  </a:lnTo>
                  <a:lnTo>
                    <a:pt x="761" y="541"/>
                  </a:lnTo>
                  <a:lnTo>
                    <a:pt x="771" y="504"/>
                  </a:lnTo>
                  <a:lnTo>
                    <a:pt x="775" y="491"/>
                  </a:lnTo>
                  <a:lnTo>
                    <a:pt x="786" y="489"/>
                  </a:lnTo>
                  <a:lnTo>
                    <a:pt x="796" y="532"/>
                  </a:lnTo>
                  <a:lnTo>
                    <a:pt x="776" y="554"/>
                  </a:lnTo>
                  <a:lnTo>
                    <a:pt x="780" y="562"/>
                  </a:lnTo>
                  <a:lnTo>
                    <a:pt x="780" y="562"/>
                  </a:lnTo>
                  <a:lnTo>
                    <a:pt x="783" y="565"/>
                  </a:lnTo>
                  <a:lnTo>
                    <a:pt x="786" y="568"/>
                  </a:lnTo>
                  <a:lnTo>
                    <a:pt x="789" y="569"/>
                  </a:lnTo>
                  <a:lnTo>
                    <a:pt x="789" y="569"/>
                  </a:lnTo>
                  <a:lnTo>
                    <a:pt x="793" y="569"/>
                  </a:lnTo>
                  <a:lnTo>
                    <a:pt x="793" y="569"/>
                  </a:lnTo>
                  <a:lnTo>
                    <a:pt x="797" y="566"/>
                  </a:lnTo>
                  <a:lnTo>
                    <a:pt x="801" y="564"/>
                  </a:lnTo>
                  <a:lnTo>
                    <a:pt x="803" y="561"/>
                  </a:lnTo>
                  <a:lnTo>
                    <a:pt x="803" y="561"/>
                  </a:lnTo>
                  <a:lnTo>
                    <a:pt x="807" y="546"/>
                  </a:lnTo>
                  <a:lnTo>
                    <a:pt x="812" y="539"/>
                  </a:lnTo>
                  <a:lnTo>
                    <a:pt x="818" y="516"/>
                  </a:lnTo>
                  <a:lnTo>
                    <a:pt x="814" y="501"/>
                  </a:lnTo>
                  <a:lnTo>
                    <a:pt x="816" y="485"/>
                  </a:lnTo>
                  <a:lnTo>
                    <a:pt x="816" y="464"/>
                  </a:lnTo>
                  <a:lnTo>
                    <a:pt x="832" y="444"/>
                  </a:lnTo>
                  <a:lnTo>
                    <a:pt x="840" y="436"/>
                  </a:lnTo>
                  <a:lnTo>
                    <a:pt x="864" y="432"/>
                  </a:lnTo>
                  <a:lnTo>
                    <a:pt x="872" y="421"/>
                  </a:lnTo>
                  <a:lnTo>
                    <a:pt x="854" y="405"/>
                  </a:lnTo>
                  <a:lnTo>
                    <a:pt x="848" y="393"/>
                  </a:lnTo>
                  <a:lnTo>
                    <a:pt x="858" y="378"/>
                  </a:lnTo>
                  <a:lnTo>
                    <a:pt x="869" y="364"/>
                  </a:lnTo>
                  <a:lnTo>
                    <a:pt x="875" y="358"/>
                  </a:lnTo>
                  <a:lnTo>
                    <a:pt x="872" y="349"/>
                  </a:lnTo>
                  <a:lnTo>
                    <a:pt x="875" y="346"/>
                  </a:lnTo>
                  <a:lnTo>
                    <a:pt x="875" y="346"/>
                  </a:lnTo>
                  <a:lnTo>
                    <a:pt x="880" y="344"/>
                  </a:lnTo>
                  <a:lnTo>
                    <a:pt x="880" y="344"/>
                  </a:lnTo>
                  <a:lnTo>
                    <a:pt x="901" y="342"/>
                  </a:lnTo>
                  <a:lnTo>
                    <a:pt x="909" y="339"/>
                  </a:lnTo>
                  <a:lnTo>
                    <a:pt x="900" y="324"/>
                  </a:lnTo>
                  <a:lnTo>
                    <a:pt x="883" y="314"/>
                  </a:lnTo>
                  <a:lnTo>
                    <a:pt x="871" y="303"/>
                  </a:lnTo>
                  <a:lnTo>
                    <a:pt x="857" y="293"/>
                  </a:lnTo>
                  <a:lnTo>
                    <a:pt x="836" y="283"/>
                  </a:lnTo>
                  <a:lnTo>
                    <a:pt x="793" y="281"/>
                  </a:lnTo>
                  <a:lnTo>
                    <a:pt x="762" y="300"/>
                  </a:lnTo>
                  <a:lnTo>
                    <a:pt x="741" y="314"/>
                  </a:lnTo>
                  <a:lnTo>
                    <a:pt x="711" y="319"/>
                  </a:lnTo>
                  <a:lnTo>
                    <a:pt x="669" y="322"/>
                  </a:lnTo>
                  <a:lnTo>
                    <a:pt x="653" y="336"/>
                  </a:lnTo>
                  <a:lnTo>
                    <a:pt x="630" y="374"/>
                  </a:lnTo>
                  <a:lnTo>
                    <a:pt x="603" y="394"/>
                  </a:lnTo>
                  <a:lnTo>
                    <a:pt x="597" y="390"/>
                  </a:lnTo>
                  <a:lnTo>
                    <a:pt x="605" y="374"/>
                  </a:lnTo>
                  <a:lnTo>
                    <a:pt x="619" y="355"/>
                  </a:lnTo>
                  <a:lnTo>
                    <a:pt x="611" y="342"/>
                  </a:lnTo>
                  <a:lnTo>
                    <a:pt x="594" y="354"/>
                  </a:lnTo>
                  <a:lnTo>
                    <a:pt x="586" y="357"/>
                  </a:lnTo>
                  <a:lnTo>
                    <a:pt x="575" y="374"/>
                  </a:lnTo>
                  <a:lnTo>
                    <a:pt x="565" y="383"/>
                  </a:lnTo>
                  <a:lnTo>
                    <a:pt x="561" y="383"/>
                  </a:lnTo>
                  <a:lnTo>
                    <a:pt x="553" y="350"/>
                  </a:lnTo>
                  <a:lnTo>
                    <a:pt x="547" y="349"/>
                  </a:lnTo>
                  <a:lnTo>
                    <a:pt x="535" y="376"/>
                  </a:lnTo>
                  <a:lnTo>
                    <a:pt x="532" y="396"/>
                  </a:lnTo>
                  <a:lnTo>
                    <a:pt x="513" y="421"/>
                  </a:lnTo>
                  <a:lnTo>
                    <a:pt x="499" y="471"/>
                  </a:lnTo>
                  <a:lnTo>
                    <a:pt x="490" y="497"/>
                  </a:lnTo>
                  <a:lnTo>
                    <a:pt x="461" y="521"/>
                  </a:lnTo>
                  <a:lnTo>
                    <a:pt x="453" y="504"/>
                  </a:lnTo>
                  <a:lnTo>
                    <a:pt x="450" y="471"/>
                  </a:lnTo>
                  <a:lnTo>
                    <a:pt x="445" y="464"/>
                  </a:lnTo>
                  <a:lnTo>
                    <a:pt x="435" y="450"/>
                  </a:lnTo>
                  <a:lnTo>
                    <a:pt x="436" y="437"/>
                  </a:lnTo>
                  <a:lnTo>
                    <a:pt x="433" y="410"/>
                  </a:lnTo>
                  <a:lnTo>
                    <a:pt x="421" y="396"/>
                  </a:lnTo>
                  <a:lnTo>
                    <a:pt x="393" y="376"/>
                  </a:lnTo>
                  <a:lnTo>
                    <a:pt x="381" y="358"/>
                  </a:lnTo>
                  <a:lnTo>
                    <a:pt x="352" y="353"/>
                  </a:lnTo>
                  <a:lnTo>
                    <a:pt x="309" y="353"/>
                  </a:lnTo>
                  <a:lnTo>
                    <a:pt x="297" y="346"/>
                  </a:lnTo>
                  <a:lnTo>
                    <a:pt x="271" y="344"/>
                  </a:lnTo>
                  <a:lnTo>
                    <a:pt x="235" y="339"/>
                  </a:lnTo>
                  <a:lnTo>
                    <a:pt x="229" y="329"/>
                  </a:lnTo>
                  <a:lnTo>
                    <a:pt x="202" y="318"/>
                  </a:lnTo>
                  <a:lnTo>
                    <a:pt x="170" y="310"/>
                  </a:lnTo>
                  <a:lnTo>
                    <a:pt x="138" y="301"/>
                  </a:lnTo>
                  <a:lnTo>
                    <a:pt x="102" y="287"/>
                  </a:lnTo>
                  <a:lnTo>
                    <a:pt x="75" y="275"/>
                  </a:lnTo>
                  <a:lnTo>
                    <a:pt x="60" y="275"/>
                  </a:lnTo>
                  <a:lnTo>
                    <a:pt x="50" y="275"/>
                  </a:lnTo>
                  <a:lnTo>
                    <a:pt x="42" y="265"/>
                  </a:lnTo>
                  <a:lnTo>
                    <a:pt x="35" y="253"/>
                  </a:lnTo>
                  <a:lnTo>
                    <a:pt x="0" y="243"/>
                  </a:lnTo>
                  <a:lnTo>
                    <a:pt x="0" y="237"/>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2" name="Freeform 51"/>
            <p:cNvSpPr>
              <a:spLocks/>
            </p:cNvSpPr>
            <p:nvPr/>
          </p:nvSpPr>
          <p:spPr bwMode="auto">
            <a:xfrm>
              <a:off x="5276850" y="1200150"/>
              <a:ext cx="493712" cy="522287"/>
            </a:xfrm>
            <a:custGeom>
              <a:avLst/>
              <a:gdLst/>
              <a:ahLst/>
              <a:cxnLst>
                <a:cxn ang="0">
                  <a:pos x="815" y="300"/>
                </a:cxn>
                <a:cxn ang="0">
                  <a:pos x="801" y="246"/>
                </a:cxn>
                <a:cxn ang="0">
                  <a:pos x="732" y="203"/>
                </a:cxn>
                <a:cxn ang="0">
                  <a:pos x="651" y="194"/>
                </a:cxn>
                <a:cxn ang="0">
                  <a:pos x="582" y="168"/>
                </a:cxn>
                <a:cxn ang="0">
                  <a:pos x="482" y="137"/>
                </a:cxn>
                <a:cxn ang="0">
                  <a:pos x="430" y="125"/>
                </a:cxn>
                <a:cxn ang="0">
                  <a:pos x="380" y="93"/>
                </a:cxn>
                <a:cxn ang="0">
                  <a:pos x="361" y="83"/>
                </a:cxn>
                <a:cxn ang="0">
                  <a:pos x="324" y="79"/>
                </a:cxn>
                <a:cxn ang="0">
                  <a:pos x="312" y="67"/>
                </a:cxn>
                <a:cxn ang="0">
                  <a:pos x="326" y="10"/>
                </a:cxn>
                <a:cxn ang="0">
                  <a:pos x="283" y="15"/>
                </a:cxn>
                <a:cxn ang="0">
                  <a:pos x="217" y="42"/>
                </a:cxn>
                <a:cxn ang="0">
                  <a:pos x="153" y="72"/>
                </a:cxn>
                <a:cxn ang="0">
                  <a:pos x="96" y="68"/>
                </a:cxn>
                <a:cxn ang="0">
                  <a:pos x="21" y="255"/>
                </a:cxn>
                <a:cxn ang="0">
                  <a:pos x="34" y="332"/>
                </a:cxn>
                <a:cxn ang="0">
                  <a:pos x="47" y="521"/>
                </a:cxn>
                <a:cxn ang="0">
                  <a:pos x="194" y="626"/>
                </a:cxn>
                <a:cxn ang="0">
                  <a:pos x="281" y="707"/>
                </a:cxn>
                <a:cxn ang="0">
                  <a:pos x="292" y="804"/>
                </a:cxn>
                <a:cxn ang="0">
                  <a:pos x="303" y="869"/>
                </a:cxn>
                <a:cxn ang="0">
                  <a:pos x="312" y="944"/>
                </a:cxn>
                <a:cxn ang="0">
                  <a:pos x="346" y="952"/>
                </a:cxn>
                <a:cxn ang="0">
                  <a:pos x="360" y="959"/>
                </a:cxn>
                <a:cxn ang="0">
                  <a:pos x="380" y="972"/>
                </a:cxn>
                <a:cxn ang="0">
                  <a:pos x="856" y="906"/>
                </a:cxn>
                <a:cxn ang="0">
                  <a:pos x="829" y="797"/>
                </a:cxn>
                <a:cxn ang="0">
                  <a:pos x="849" y="722"/>
                </a:cxn>
                <a:cxn ang="0">
                  <a:pos x="845" y="651"/>
                </a:cxn>
                <a:cxn ang="0">
                  <a:pos x="856" y="608"/>
                </a:cxn>
                <a:cxn ang="0">
                  <a:pos x="863" y="562"/>
                </a:cxn>
                <a:cxn ang="0">
                  <a:pos x="876" y="489"/>
                </a:cxn>
                <a:cxn ang="0">
                  <a:pos x="919" y="394"/>
                </a:cxn>
                <a:cxn ang="0">
                  <a:pos x="934" y="366"/>
                </a:cxn>
                <a:cxn ang="0">
                  <a:pos x="934" y="340"/>
                </a:cxn>
                <a:cxn ang="0">
                  <a:pos x="904" y="368"/>
                </a:cxn>
                <a:cxn ang="0">
                  <a:pos x="870" y="428"/>
                </a:cxn>
                <a:cxn ang="0">
                  <a:pos x="822" y="469"/>
                </a:cxn>
                <a:cxn ang="0">
                  <a:pos x="780" y="496"/>
                </a:cxn>
                <a:cxn ang="0">
                  <a:pos x="811" y="433"/>
                </a:cxn>
                <a:cxn ang="0">
                  <a:pos x="834" y="403"/>
                </a:cxn>
                <a:cxn ang="0">
                  <a:pos x="836" y="361"/>
                </a:cxn>
              </a:cxnLst>
              <a:rect l="0" t="0" r="r" b="b"/>
              <a:pathLst>
                <a:path w="934" h="988">
                  <a:moveTo>
                    <a:pt x="830" y="321"/>
                  </a:moveTo>
                  <a:lnTo>
                    <a:pt x="825" y="314"/>
                  </a:lnTo>
                  <a:lnTo>
                    <a:pt x="815" y="300"/>
                  </a:lnTo>
                  <a:lnTo>
                    <a:pt x="816" y="287"/>
                  </a:lnTo>
                  <a:lnTo>
                    <a:pt x="813" y="260"/>
                  </a:lnTo>
                  <a:lnTo>
                    <a:pt x="801" y="246"/>
                  </a:lnTo>
                  <a:lnTo>
                    <a:pt x="773" y="226"/>
                  </a:lnTo>
                  <a:lnTo>
                    <a:pt x="761" y="208"/>
                  </a:lnTo>
                  <a:lnTo>
                    <a:pt x="732" y="203"/>
                  </a:lnTo>
                  <a:lnTo>
                    <a:pt x="689" y="203"/>
                  </a:lnTo>
                  <a:lnTo>
                    <a:pt x="677" y="196"/>
                  </a:lnTo>
                  <a:lnTo>
                    <a:pt x="651" y="194"/>
                  </a:lnTo>
                  <a:lnTo>
                    <a:pt x="615" y="189"/>
                  </a:lnTo>
                  <a:lnTo>
                    <a:pt x="609" y="179"/>
                  </a:lnTo>
                  <a:lnTo>
                    <a:pt x="582" y="168"/>
                  </a:lnTo>
                  <a:lnTo>
                    <a:pt x="550" y="160"/>
                  </a:lnTo>
                  <a:lnTo>
                    <a:pt x="518" y="151"/>
                  </a:lnTo>
                  <a:lnTo>
                    <a:pt x="482" y="137"/>
                  </a:lnTo>
                  <a:lnTo>
                    <a:pt x="455" y="125"/>
                  </a:lnTo>
                  <a:lnTo>
                    <a:pt x="440" y="125"/>
                  </a:lnTo>
                  <a:lnTo>
                    <a:pt x="430" y="125"/>
                  </a:lnTo>
                  <a:lnTo>
                    <a:pt x="422" y="115"/>
                  </a:lnTo>
                  <a:lnTo>
                    <a:pt x="415" y="103"/>
                  </a:lnTo>
                  <a:lnTo>
                    <a:pt x="380" y="93"/>
                  </a:lnTo>
                  <a:lnTo>
                    <a:pt x="380" y="89"/>
                  </a:lnTo>
                  <a:lnTo>
                    <a:pt x="378" y="89"/>
                  </a:lnTo>
                  <a:lnTo>
                    <a:pt x="361" y="83"/>
                  </a:lnTo>
                  <a:lnTo>
                    <a:pt x="347" y="72"/>
                  </a:lnTo>
                  <a:lnTo>
                    <a:pt x="336" y="67"/>
                  </a:lnTo>
                  <a:lnTo>
                    <a:pt x="324" y="79"/>
                  </a:lnTo>
                  <a:lnTo>
                    <a:pt x="311" y="82"/>
                  </a:lnTo>
                  <a:lnTo>
                    <a:pt x="305" y="75"/>
                  </a:lnTo>
                  <a:lnTo>
                    <a:pt x="312" y="67"/>
                  </a:lnTo>
                  <a:lnTo>
                    <a:pt x="314" y="38"/>
                  </a:lnTo>
                  <a:lnTo>
                    <a:pt x="319" y="29"/>
                  </a:lnTo>
                  <a:lnTo>
                    <a:pt x="326" y="10"/>
                  </a:lnTo>
                  <a:lnTo>
                    <a:pt x="312" y="0"/>
                  </a:lnTo>
                  <a:lnTo>
                    <a:pt x="300" y="4"/>
                  </a:lnTo>
                  <a:lnTo>
                    <a:pt x="283" y="15"/>
                  </a:lnTo>
                  <a:lnTo>
                    <a:pt x="262" y="18"/>
                  </a:lnTo>
                  <a:lnTo>
                    <a:pt x="242" y="28"/>
                  </a:lnTo>
                  <a:lnTo>
                    <a:pt x="217" y="42"/>
                  </a:lnTo>
                  <a:lnTo>
                    <a:pt x="181" y="58"/>
                  </a:lnTo>
                  <a:lnTo>
                    <a:pt x="169" y="74"/>
                  </a:lnTo>
                  <a:lnTo>
                    <a:pt x="153" y="72"/>
                  </a:lnTo>
                  <a:lnTo>
                    <a:pt x="128" y="63"/>
                  </a:lnTo>
                  <a:lnTo>
                    <a:pt x="114" y="49"/>
                  </a:lnTo>
                  <a:lnTo>
                    <a:pt x="96" y="68"/>
                  </a:lnTo>
                  <a:lnTo>
                    <a:pt x="95" y="197"/>
                  </a:lnTo>
                  <a:lnTo>
                    <a:pt x="31" y="237"/>
                  </a:lnTo>
                  <a:lnTo>
                    <a:pt x="21" y="255"/>
                  </a:lnTo>
                  <a:lnTo>
                    <a:pt x="0" y="307"/>
                  </a:lnTo>
                  <a:lnTo>
                    <a:pt x="21" y="332"/>
                  </a:lnTo>
                  <a:lnTo>
                    <a:pt x="34" y="332"/>
                  </a:lnTo>
                  <a:lnTo>
                    <a:pt x="22" y="411"/>
                  </a:lnTo>
                  <a:lnTo>
                    <a:pt x="20" y="497"/>
                  </a:lnTo>
                  <a:lnTo>
                    <a:pt x="47" y="521"/>
                  </a:lnTo>
                  <a:lnTo>
                    <a:pt x="90" y="543"/>
                  </a:lnTo>
                  <a:lnTo>
                    <a:pt x="151" y="579"/>
                  </a:lnTo>
                  <a:lnTo>
                    <a:pt x="194" y="626"/>
                  </a:lnTo>
                  <a:lnTo>
                    <a:pt x="210" y="647"/>
                  </a:lnTo>
                  <a:lnTo>
                    <a:pt x="242" y="669"/>
                  </a:lnTo>
                  <a:lnTo>
                    <a:pt x="281" y="707"/>
                  </a:lnTo>
                  <a:lnTo>
                    <a:pt x="283" y="740"/>
                  </a:lnTo>
                  <a:lnTo>
                    <a:pt x="281" y="773"/>
                  </a:lnTo>
                  <a:lnTo>
                    <a:pt x="292" y="804"/>
                  </a:lnTo>
                  <a:lnTo>
                    <a:pt x="303" y="820"/>
                  </a:lnTo>
                  <a:lnTo>
                    <a:pt x="303" y="852"/>
                  </a:lnTo>
                  <a:lnTo>
                    <a:pt x="303" y="869"/>
                  </a:lnTo>
                  <a:lnTo>
                    <a:pt x="303" y="895"/>
                  </a:lnTo>
                  <a:lnTo>
                    <a:pt x="312" y="923"/>
                  </a:lnTo>
                  <a:lnTo>
                    <a:pt x="312" y="944"/>
                  </a:lnTo>
                  <a:lnTo>
                    <a:pt x="336" y="944"/>
                  </a:lnTo>
                  <a:lnTo>
                    <a:pt x="336" y="944"/>
                  </a:lnTo>
                  <a:lnTo>
                    <a:pt x="346" y="952"/>
                  </a:lnTo>
                  <a:lnTo>
                    <a:pt x="354" y="958"/>
                  </a:lnTo>
                  <a:lnTo>
                    <a:pt x="360" y="959"/>
                  </a:lnTo>
                  <a:lnTo>
                    <a:pt x="360" y="959"/>
                  </a:lnTo>
                  <a:lnTo>
                    <a:pt x="365" y="962"/>
                  </a:lnTo>
                  <a:lnTo>
                    <a:pt x="372" y="966"/>
                  </a:lnTo>
                  <a:lnTo>
                    <a:pt x="380" y="972"/>
                  </a:lnTo>
                  <a:lnTo>
                    <a:pt x="394" y="988"/>
                  </a:lnTo>
                  <a:lnTo>
                    <a:pt x="856" y="962"/>
                  </a:lnTo>
                  <a:lnTo>
                    <a:pt x="856" y="906"/>
                  </a:lnTo>
                  <a:lnTo>
                    <a:pt x="856" y="890"/>
                  </a:lnTo>
                  <a:lnTo>
                    <a:pt x="831" y="831"/>
                  </a:lnTo>
                  <a:lnTo>
                    <a:pt x="829" y="797"/>
                  </a:lnTo>
                  <a:lnTo>
                    <a:pt x="831" y="762"/>
                  </a:lnTo>
                  <a:lnTo>
                    <a:pt x="843" y="734"/>
                  </a:lnTo>
                  <a:lnTo>
                    <a:pt x="849" y="722"/>
                  </a:lnTo>
                  <a:lnTo>
                    <a:pt x="856" y="707"/>
                  </a:lnTo>
                  <a:lnTo>
                    <a:pt x="845" y="682"/>
                  </a:lnTo>
                  <a:lnTo>
                    <a:pt x="845" y="651"/>
                  </a:lnTo>
                  <a:lnTo>
                    <a:pt x="848" y="630"/>
                  </a:lnTo>
                  <a:lnTo>
                    <a:pt x="856" y="618"/>
                  </a:lnTo>
                  <a:lnTo>
                    <a:pt x="856" y="608"/>
                  </a:lnTo>
                  <a:lnTo>
                    <a:pt x="876" y="591"/>
                  </a:lnTo>
                  <a:lnTo>
                    <a:pt x="876" y="582"/>
                  </a:lnTo>
                  <a:lnTo>
                    <a:pt x="863" y="562"/>
                  </a:lnTo>
                  <a:lnTo>
                    <a:pt x="865" y="547"/>
                  </a:lnTo>
                  <a:lnTo>
                    <a:pt x="869" y="512"/>
                  </a:lnTo>
                  <a:lnTo>
                    <a:pt x="876" y="489"/>
                  </a:lnTo>
                  <a:lnTo>
                    <a:pt x="891" y="459"/>
                  </a:lnTo>
                  <a:lnTo>
                    <a:pt x="911" y="412"/>
                  </a:lnTo>
                  <a:lnTo>
                    <a:pt x="919" y="394"/>
                  </a:lnTo>
                  <a:lnTo>
                    <a:pt x="919" y="382"/>
                  </a:lnTo>
                  <a:lnTo>
                    <a:pt x="934" y="373"/>
                  </a:lnTo>
                  <a:lnTo>
                    <a:pt x="934" y="366"/>
                  </a:lnTo>
                  <a:lnTo>
                    <a:pt x="934" y="358"/>
                  </a:lnTo>
                  <a:lnTo>
                    <a:pt x="934" y="348"/>
                  </a:lnTo>
                  <a:lnTo>
                    <a:pt x="934" y="340"/>
                  </a:lnTo>
                  <a:lnTo>
                    <a:pt x="934" y="328"/>
                  </a:lnTo>
                  <a:lnTo>
                    <a:pt x="917" y="347"/>
                  </a:lnTo>
                  <a:lnTo>
                    <a:pt x="904" y="368"/>
                  </a:lnTo>
                  <a:lnTo>
                    <a:pt x="897" y="387"/>
                  </a:lnTo>
                  <a:lnTo>
                    <a:pt x="886" y="416"/>
                  </a:lnTo>
                  <a:lnTo>
                    <a:pt x="870" y="428"/>
                  </a:lnTo>
                  <a:lnTo>
                    <a:pt x="841" y="440"/>
                  </a:lnTo>
                  <a:lnTo>
                    <a:pt x="830" y="459"/>
                  </a:lnTo>
                  <a:lnTo>
                    <a:pt x="822" y="469"/>
                  </a:lnTo>
                  <a:lnTo>
                    <a:pt x="815" y="489"/>
                  </a:lnTo>
                  <a:lnTo>
                    <a:pt x="794" y="511"/>
                  </a:lnTo>
                  <a:lnTo>
                    <a:pt x="780" y="496"/>
                  </a:lnTo>
                  <a:lnTo>
                    <a:pt x="795" y="478"/>
                  </a:lnTo>
                  <a:lnTo>
                    <a:pt x="808" y="446"/>
                  </a:lnTo>
                  <a:lnTo>
                    <a:pt x="811" y="433"/>
                  </a:lnTo>
                  <a:lnTo>
                    <a:pt x="813" y="421"/>
                  </a:lnTo>
                  <a:lnTo>
                    <a:pt x="825" y="411"/>
                  </a:lnTo>
                  <a:lnTo>
                    <a:pt x="834" y="403"/>
                  </a:lnTo>
                  <a:lnTo>
                    <a:pt x="837" y="393"/>
                  </a:lnTo>
                  <a:lnTo>
                    <a:pt x="831" y="369"/>
                  </a:lnTo>
                  <a:lnTo>
                    <a:pt x="836" y="361"/>
                  </a:lnTo>
                  <a:lnTo>
                    <a:pt x="833" y="354"/>
                  </a:lnTo>
                  <a:lnTo>
                    <a:pt x="830" y="321"/>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3" name="Freeform 52"/>
            <p:cNvSpPr>
              <a:spLocks/>
            </p:cNvSpPr>
            <p:nvPr/>
          </p:nvSpPr>
          <p:spPr bwMode="auto">
            <a:xfrm>
              <a:off x="6003925" y="1695450"/>
              <a:ext cx="392112" cy="454025"/>
            </a:xfrm>
            <a:custGeom>
              <a:avLst/>
              <a:gdLst/>
              <a:ahLst/>
              <a:cxnLst>
                <a:cxn ang="0">
                  <a:pos x="623" y="43"/>
                </a:cxn>
                <a:cxn ang="0">
                  <a:pos x="554" y="93"/>
                </a:cxn>
                <a:cxn ang="0">
                  <a:pos x="512" y="125"/>
                </a:cxn>
                <a:cxn ang="0">
                  <a:pos x="482" y="144"/>
                </a:cxn>
                <a:cxn ang="0">
                  <a:pos x="451" y="144"/>
                </a:cxn>
                <a:cxn ang="0">
                  <a:pos x="402" y="178"/>
                </a:cxn>
                <a:cxn ang="0">
                  <a:pos x="376" y="178"/>
                </a:cxn>
                <a:cxn ang="0">
                  <a:pos x="353" y="168"/>
                </a:cxn>
                <a:cxn ang="0">
                  <a:pos x="326" y="158"/>
                </a:cxn>
                <a:cxn ang="0">
                  <a:pos x="297" y="147"/>
                </a:cxn>
                <a:cxn ang="0">
                  <a:pos x="253" y="129"/>
                </a:cxn>
                <a:cxn ang="0">
                  <a:pos x="0" y="157"/>
                </a:cxn>
                <a:cxn ang="0">
                  <a:pos x="87" y="745"/>
                </a:cxn>
                <a:cxn ang="0">
                  <a:pos x="118" y="729"/>
                </a:cxn>
                <a:cxn ang="0">
                  <a:pos x="165" y="772"/>
                </a:cxn>
                <a:cxn ang="0">
                  <a:pos x="185" y="804"/>
                </a:cxn>
                <a:cxn ang="0">
                  <a:pos x="229" y="810"/>
                </a:cxn>
                <a:cxn ang="0">
                  <a:pos x="250" y="833"/>
                </a:cxn>
                <a:cxn ang="0">
                  <a:pos x="269" y="819"/>
                </a:cxn>
                <a:cxn ang="0">
                  <a:pos x="283" y="805"/>
                </a:cxn>
                <a:cxn ang="0">
                  <a:pos x="326" y="824"/>
                </a:cxn>
                <a:cxn ang="0">
                  <a:pos x="366" y="809"/>
                </a:cxn>
                <a:cxn ang="0">
                  <a:pos x="387" y="787"/>
                </a:cxn>
                <a:cxn ang="0">
                  <a:pos x="407" y="804"/>
                </a:cxn>
                <a:cxn ang="0">
                  <a:pos x="455" y="848"/>
                </a:cxn>
                <a:cxn ang="0">
                  <a:pos x="466" y="859"/>
                </a:cxn>
                <a:cxn ang="0">
                  <a:pos x="504" y="816"/>
                </a:cxn>
                <a:cxn ang="0">
                  <a:pos x="518" y="779"/>
                </a:cxn>
                <a:cxn ang="0">
                  <a:pos x="548" y="708"/>
                </a:cxn>
                <a:cxn ang="0">
                  <a:pos x="573" y="712"/>
                </a:cxn>
                <a:cxn ang="0">
                  <a:pos x="593" y="638"/>
                </a:cxn>
                <a:cxn ang="0">
                  <a:pos x="647" y="605"/>
                </a:cxn>
                <a:cxn ang="0">
                  <a:pos x="706" y="543"/>
                </a:cxn>
                <a:cxn ang="0">
                  <a:pos x="716" y="498"/>
                </a:cxn>
                <a:cxn ang="0">
                  <a:pos x="720" y="427"/>
                </a:cxn>
                <a:cxn ang="0">
                  <a:pos x="731" y="384"/>
                </a:cxn>
                <a:cxn ang="0">
                  <a:pos x="731" y="334"/>
                </a:cxn>
                <a:cxn ang="0">
                  <a:pos x="731" y="305"/>
                </a:cxn>
                <a:cxn ang="0">
                  <a:pos x="694" y="0"/>
                </a:cxn>
              </a:cxnLst>
              <a:rect l="0" t="0" r="r" b="b"/>
              <a:pathLst>
                <a:path w="742" h="859">
                  <a:moveTo>
                    <a:pt x="662" y="25"/>
                  </a:moveTo>
                  <a:lnTo>
                    <a:pt x="623" y="43"/>
                  </a:lnTo>
                  <a:lnTo>
                    <a:pt x="591" y="72"/>
                  </a:lnTo>
                  <a:lnTo>
                    <a:pt x="554" y="93"/>
                  </a:lnTo>
                  <a:lnTo>
                    <a:pt x="526" y="115"/>
                  </a:lnTo>
                  <a:lnTo>
                    <a:pt x="512" y="125"/>
                  </a:lnTo>
                  <a:lnTo>
                    <a:pt x="495" y="133"/>
                  </a:lnTo>
                  <a:lnTo>
                    <a:pt x="482" y="144"/>
                  </a:lnTo>
                  <a:lnTo>
                    <a:pt x="466" y="144"/>
                  </a:lnTo>
                  <a:lnTo>
                    <a:pt x="451" y="144"/>
                  </a:lnTo>
                  <a:lnTo>
                    <a:pt x="425" y="161"/>
                  </a:lnTo>
                  <a:lnTo>
                    <a:pt x="402" y="178"/>
                  </a:lnTo>
                  <a:lnTo>
                    <a:pt x="387" y="178"/>
                  </a:lnTo>
                  <a:lnTo>
                    <a:pt x="376" y="178"/>
                  </a:lnTo>
                  <a:lnTo>
                    <a:pt x="371" y="178"/>
                  </a:lnTo>
                  <a:lnTo>
                    <a:pt x="353" y="168"/>
                  </a:lnTo>
                  <a:lnTo>
                    <a:pt x="337" y="157"/>
                  </a:lnTo>
                  <a:lnTo>
                    <a:pt x="326" y="158"/>
                  </a:lnTo>
                  <a:lnTo>
                    <a:pt x="308" y="154"/>
                  </a:lnTo>
                  <a:lnTo>
                    <a:pt x="297" y="147"/>
                  </a:lnTo>
                  <a:lnTo>
                    <a:pt x="276" y="133"/>
                  </a:lnTo>
                  <a:lnTo>
                    <a:pt x="253" y="129"/>
                  </a:lnTo>
                  <a:lnTo>
                    <a:pt x="214" y="121"/>
                  </a:lnTo>
                  <a:lnTo>
                    <a:pt x="0" y="157"/>
                  </a:lnTo>
                  <a:lnTo>
                    <a:pt x="58" y="736"/>
                  </a:lnTo>
                  <a:lnTo>
                    <a:pt x="87" y="745"/>
                  </a:lnTo>
                  <a:lnTo>
                    <a:pt x="111" y="736"/>
                  </a:lnTo>
                  <a:lnTo>
                    <a:pt x="118" y="729"/>
                  </a:lnTo>
                  <a:lnTo>
                    <a:pt x="142" y="751"/>
                  </a:lnTo>
                  <a:lnTo>
                    <a:pt x="165" y="772"/>
                  </a:lnTo>
                  <a:lnTo>
                    <a:pt x="174" y="791"/>
                  </a:lnTo>
                  <a:lnTo>
                    <a:pt x="185" y="804"/>
                  </a:lnTo>
                  <a:lnTo>
                    <a:pt x="212" y="806"/>
                  </a:lnTo>
                  <a:lnTo>
                    <a:pt x="229" y="810"/>
                  </a:lnTo>
                  <a:lnTo>
                    <a:pt x="243" y="817"/>
                  </a:lnTo>
                  <a:lnTo>
                    <a:pt x="250" y="833"/>
                  </a:lnTo>
                  <a:lnTo>
                    <a:pt x="262" y="826"/>
                  </a:lnTo>
                  <a:lnTo>
                    <a:pt x="269" y="819"/>
                  </a:lnTo>
                  <a:lnTo>
                    <a:pt x="278" y="806"/>
                  </a:lnTo>
                  <a:lnTo>
                    <a:pt x="283" y="805"/>
                  </a:lnTo>
                  <a:lnTo>
                    <a:pt x="300" y="812"/>
                  </a:lnTo>
                  <a:lnTo>
                    <a:pt x="326" y="824"/>
                  </a:lnTo>
                  <a:lnTo>
                    <a:pt x="357" y="816"/>
                  </a:lnTo>
                  <a:lnTo>
                    <a:pt x="366" y="809"/>
                  </a:lnTo>
                  <a:lnTo>
                    <a:pt x="375" y="797"/>
                  </a:lnTo>
                  <a:lnTo>
                    <a:pt x="387" y="787"/>
                  </a:lnTo>
                  <a:lnTo>
                    <a:pt x="394" y="784"/>
                  </a:lnTo>
                  <a:lnTo>
                    <a:pt x="407" y="804"/>
                  </a:lnTo>
                  <a:lnTo>
                    <a:pt x="429" y="830"/>
                  </a:lnTo>
                  <a:lnTo>
                    <a:pt x="455" y="848"/>
                  </a:lnTo>
                  <a:lnTo>
                    <a:pt x="469" y="856"/>
                  </a:lnTo>
                  <a:lnTo>
                    <a:pt x="466" y="859"/>
                  </a:lnTo>
                  <a:lnTo>
                    <a:pt x="482" y="842"/>
                  </a:lnTo>
                  <a:lnTo>
                    <a:pt x="504" y="816"/>
                  </a:lnTo>
                  <a:lnTo>
                    <a:pt x="518" y="801"/>
                  </a:lnTo>
                  <a:lnTo>
                    <a:pt x="518" y="779"/>
                  </a:lnTo>
                  <a:lnTo>
                    <a:pt x="527" y="719"/>
                  </a:lnTo>
                  <a:lnTo>
                    <a:pt x="548" y="708"/>
                  </a:lnTo>
                  <a:lnTo>
                    <a:pt x="565" y="719"/>
                  </a:lnTo>
                  <a:lnTo>
                    <a:pt x="573" y="712"/>
                  </a:lnTo>
                  <a:lnTo>
                    <a:pt x="580" y="661"/>
                  </a:lnTo>
                  <a:lnTo>
                    <a:pt x="593" y="638"/>
                  </a:lnTo>
                  <a:lnTo>
                    <a:pt x="618" y="605"/>
                  </a:lnTo>
                  <a:lnTo>
                    <a:pt x="647" y="605"/>
                  </a:lnTo>
                  <a:lnTo>
                    <a:pt x="666" y="584"/>
                  </a:lnTo>
                  <a:lnTo>
                    <a:pt x="706" y="543"/>
                  </a:lnTo>
                  <a:lnTo>
                    <a:pt x="716" y="519"/>
                  </a:lnTo>
                  <a:lnTo>
                    <a:pt x="716" y="498"/>
                  </a:lnTo>
                  <a:lnTo>
                    <a:pt x="720" y="458"/>
                  </a:lnTo>
                  <a:lnTo>
                    <a:pt x="720" y="427"/>
                  </a:lnTo>
                  <a:lnTo>
                    <a:pt x="731" y="409"/>
                  </a:lnTo>
                  <a:lnTo>
                    <a:pt x="731" y="384"/>
                  </a:lnTo>
                  <a:lnTo>
                    <a:pt x="731" y="344"/>
                  </a:lnTo>
                  <a:lnTo>
                    <a:pt x="731" y="334"/>
                  </a:lnTo>
                  <a:lnTo>
                    <a:pt x="720" y="318"/>
                  </a:lnTo>
                  <a:lnTo>
                    <a:pt x="731" y="305"/>
                  </a:lnTo>
                  <a:lnTo>
                    <a:pt x="742" y="298"/>
                  </a:lnTo>
                  <a:lnTo>
                    <a:pt x="694" y="0"/>
                  </a:lnTo>
                  <a:lnTo>
                    <a:pt x="662" y="25"/>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4" name="Freeform 53"/>
            <p:cNvSpPr>
              <a:spLocks/>
            </p:cNvSpPr>
            <p:nvPr/>
          </p:nvSpPr>
          <p:spPr bwMode="auto">
            <a:xfrm>
              <a:off x="5745163" y="1773238"/>
              <a:ext cx="290512" cy="500062"/>
            </a:xfrm>
            <a:custGeom>
              <a:avLst/>
              <a:gdLst/>
              <a:ahLst/>
              <a:cxnLst>
                <a:cxn ang="0">
                  <a:pos x="30" y="920"/>
                </a:cxn>
                <a:cxn ang="0">
                  <a:pos x="87" y="899"/>
                </a:cxn>
                <a:cxn ang="0">
                  <a:pos x="130" y="899"/>
                </a:cxn>
                <a:cxn ang="0">
                  <a:pos x="168" y="928"/>
                </a:cxn>
                <a:cxn ang="0">
                  <a:pos x="179" y="899"/>
                </a:cxn>
                <a:cxn ang="0">
                  <a:pos x="211" y="884"/>
                </a:cxn>
                <a:cxn ang="0">
                  <a:pos x="244" y="900"/>
                </a:cxn>
                <a:cxn ang="0">
                  <a:pos x="268" y="884"/>
                </a:cxn>
                <a:cxn ang="0">
                  <a:pos x="284" y="848"/>
                </a:cxn>
                <a:cxn ang="0">
                  <a:pos x="298" y="830"/>
                </a:cxn>
                <a:cxn ang="0">
                  <a:pos x="321" y="867"/>
                </a:cxn>
                <a:cxn ang="0">
                  <a:pos x="365" y="864"/>
                </a:cxn>
                <a:cxn ang="0">
                  <a:pos x="376" y="825"/>
                </a:cxn>
                <a:cxn ang="0">
                  <a:pos x="408" y="798"/>
                </a:cxn>
                <a:cxn ang="0">
                  <a:pos x="430" y="763"/>
                </a:cxn>
                <a:cxn ang="0">
                  <a:pos x="440" y="723"/>
                </a:cxn>
                <a:cxn ang="0">
                  <a:pos x="444" y="701"/>
                </a:cxn>
                <a:cxn ang="0">
                  <a:pos x="497" y="688"/>
                </a:cxn>
                <a:cxn ang="0">
                  <a:pos x="540" y="676"/>
                </a:cxn>
                <a:cxn ang="0">
                  <a:pos x="543" y="635"/>
                </a:cxn>
                <a:cxn ang="0">
                  <a:pos x="538" y="613"/>
                </a:cxn>
                <a:cxn ang="0">
                  <a:pos x="545" y="590"/>
                </a:cxn>
                <a:cxn ang="0">
                  <a:pos x="481" y="0"/>
                </a:cxn>
                <a:cxn ang="0">
                  <a:pos x="144" y="27"/>
                </a:cxn>
                <a:cxn ang="0">
                  <a:pos x="83" y="68"/>
                </a:cxn>
                <a:cxn ang="0">
                  <a:pos x="44" y="68"/>
                </a:cxn>
                <a:cxn ang="0">
                  <a:pos x="58" y="583"/>
                </a:cxn>
                <a:cxn ang="0">
                  <a:pos x="58" y="624"/>
                </a:cxn>
                <a:cxn ang="0">
                  <a:pos x="82" y="683"/>
                </a:cxn>
                <a:cxn ang="0">
                  <a:pos x="85" y="735"/>
                </a:cxn>
                <a:cxn ang="0">
                  <a:pos x="62" y="773"/>
                </a:cxn>
                <a:cxn ang="0">
                  <a:pos x="46" y="809"/>
                </a:cxn>
                <a:cxn ang="0">
                  <a:pos x="21" y="859"/>
                </a:cxn>
                <a:cxn ang="0">
                  <a:pos x="0" y="887"/>
                </a:cxn>
                <a:cxn ang="0">
                  <a:pos x="8" y="941"/>
                </a:cxn>
                <a:cxn ang="0">
                  <a:pos x="10" y="945"/>
                </a:cxn>
              </a:cxnLst>
              <a:rect l="0" t="0" r="r" b="b"/>
              <a:pathLst>
                <a:path w="549" h="945">
                  <a:moveTo>
                    <a:pt x="26" y="945"/>
                  </a:moveTo>
                  <a:lnTo>
                    <a:pt x="30" y="920"/>
                  </a:lnTo>
                  <a:lnTo>
                    <a:pt x="72" y="917"/>
                  </a:lnTo>
                  <a:lnTo>
                    <a:pt x="87" y="899"/>
                  </a:lnTo>
                  <a:lnTo>
                    <a:pt x="105" y="899"/>
                  </a:lnTo>
                  <a:lnTo>
                    <a:pt x="130" y="899"/>
                  </a:lnTo>
                  <a:lnTo>
                    <a:pt x="151" y="912"/>
                  </a:lnTo>
                  <a:lnTo>
                    <a:pt x="168" y="928"/>
                  </a:lnTo>
                  <a:lnTo>
                    <a:pt x="179" y="921"/>
                  </a:lnTo>
                  <a:lnTo>
                    <a:pt x="179" y="899"/>
                  </a:lnTo>
                  <a:lnTo>
                    <a:pt x="197" y="895"/>
                  </a:lnTo>
                  <a:lnTo>
                    <a:pt x="211" y="884"/>
                  </a:lnTo>
                  <a:lnTo>
                    <a:pt x="229" y="884"/>
                  </a:lnTo>
                  <a:lnTo>
                    <a:pt x="244" y="900"/>
                  </a:lnTo>
                  <a:lnTo>
                    <a:pt x="264" y="903"/>
                  </a:lnTo>
                  <a:lnTo>
                    <a:pt x="268" y="884"/>
                  </a:lnTo>
                  <a:lnTo>
                    <a:pt x="273" y="867"/>
                  </a:lnTo>
                  <a:lnTo>
                    <a:pt x="284" y="848"/>
                  </a:lnTo>
                  <a:lnTo>
                    <a:pt x="290" y="830"/>
                  </a:lnTo>
                  <a:lnTo>
                    <a:pt x="298" y="830"/>
                  </a:lnTo>
                  <a:lnTo>
                    <a:pt x="308" y="848"/>
                  </a:lnTo>
                  <a:lnTo>
                    <a:pt x="321" y="867"/>
                  </a:lnTo>
                  <a:lnTo>
                    <a:pt x="332" y="869"/>
                  </a:lnTo>
                  <a:lnTo>
                    <a:pt x="365" y="864"/>
                  </a:lnTo>
                  <a:lnTo>
                    <a:pt x="373" y="845"/>
                  </a:lnTo>
                  <a:lnTo>
                    <a:pt x="376" y="825"/>
                  </a:lnTo>
                  <a:lnTo>
                    <a:pt x="391" y="802"/>
                  </a:lnTo>
                  <a:lnTo>
                    <a:pt x="408" y="798"/>
                  </a:lnTo>
                  <a:lnTo>
                    <a:pt x="418" y="785"/>
                  </a:lnTo>
                  <a:lnTo>
                    <a:pt x="430" y="763"/>
                  </a:lnTo>
                  <a:lnTo>
                    <a:pt x="440" y="744"/>
                  </a:lnTo>
                  <a:lnTo>
                    <a:pt x="440" y="723"/>
                  </a:lnTo>
                  <a:lnTo>
                    <a:pt x="444" y="712"/>
                  </a:lnTo>
                  <a:lnTo>
                    <a:pt x="444" y="701"/>
                  </a:lnTo>
                  <a:lnTo>
                    <a:pt x="447" y="694"/>
                  </a:lnTo>
                  <a:lnTo>
                    <a:pt x="497" y="688"/>
                  </a:lnTo>
                  <a:lnTo>
                    <a:pt x="516" y="676"/>
                  </a:lnTo>
                  <a:lnTo>
                    <a:pt x="540" y="676"/>
                  </a:lnTo>
                  <a:lnTo>
                    <a:pt x="549" y="667"/>
                  </a:lnTo>
                  <a:lnTo>
                    <a:pt x="543" y="635"/>
                  </a:lnTo>
                  <a:lnTo>
                    <a:pt x="549" y="626"/>
                  </a:lnTo>
                  <a:lnTo>
                    <a:pt x="538" y="613"/>
                  </a:lnTo>
                  <a:lnTo>
                    <a:pt x="530" y="595"/>
                  </a:lnTo>
                  <a:lnTo>
                    <a:pt x="545" y="590"/>
                  </a:lnTo>
                  <a:lnTo>
                    <a:pt x="487" y="11"/>
                  </a:lnTo>
                  <a:lnTo>
                    <a:pt x="481" y="0"/>
                  </a:lnTo>
                  <a:lnTo>
                    <a:pt x="150" y="22"/>
                  </a:lnTo>
                  <a:lnTo>
                    <a:pt x="144" y="27"/>
                  </a:lnTo>
                  <a:lnTo>
                    <a:pt x="110" y="51"/>
                  </a:lnTo>
                  <a:lnTo>
                    <a:pt x="83" y="68"/>
                  </a:lnTo>
                  <a:lnTo>
                    <a:pt x="69" y="76"/>
                  </a:lnTo>
                  <a:lnTo>
                    <a:pt x="44" y="68"/>
                  </a:lnTo>
                  <a:lnTo>
                    <a:pt x="64" y="569"/>
                  </a:lnTo>
                  <a:lnTo>
                    <a:pt x="58" y="583"/>
                  </a:lnTo>
                  <a:lnTo>
                    <a:pt x="55" y="601"/>
                  </a:lnTo>
                  <a:lnTo>
                    <a:pt x="58" y="624"/>
                  </a:lnTo>
                  <a:lnTo>
                    <a:pt x="62" y="646"/>
                  </a:lnTo>
                  <a:lnTo>
                    <a:pt x="82" y="683"/>
                  </a:lnTo>
                  <a:lnTo>
                    <a:pt x="90" y="719"/>
                  </a:lnTo>
                  <a:lnTo>
                    <a:pt x="85" y="735"/>
                  </a:lnTo>
                  <a:lnTo>
                    <a:pt x="72" y="751"/>
                  </a:lnTo>
                  <a:lnTo>
                    <a:pt x="62" y="773"/>
                  </a:lnTo>
                  <a:lnTo>
                    <a:pt x="58" y="798"/>
                  </a:lnTo>
                  <a:lnTo>
                    <a:pt x="46" y="809"/>
                  </a:lnTo>
                  <a:lnTo>
                    <a:pt x="24" y="828"/>
                  </a:lnTo>
                  <a:lnTo>
                    <a:pt x="21" y="859"/>
                  </a:lnTo>
                  <a:lnTo>
                    <a:pt x="11" y="869"/>
                  </a:lnTo>
                  <a:lnTo>
                    <a:pt x="0" y="887"/>
                  </a:lnTo>
                  <a:lnTo>
                    <a:pt x="4" y="916"/>
                  </a:lnTo>
                  <a:lnTo>
                    <a:pt x="8" y="941"/>
                  </a:lnTo>
                  <a:lnTo>
                    <a:pt x="10" y="945"/>
                  </a:lnTo>
                  <a:lnTo>
                    <a:pt x="10" y="945"/>
                  </a:lnTo>
                  <a:lnTo>
                    <a:pt x="26" y="945"/>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5" name="Freeform 54"/>
            <p:cNvSpPr>
              <a:spLocks/>
            </p:cNvSpPr>
            <p:nvPr/>
          </p:nvSpPr>
          <p:spPr bwMode="auto">
            <a:xfrm>
              <a:off x="5418138" y="1708150"/>
              <a:ext cx="374650" cy="658812"/>
            </a:xfrm>
            <a:custGeom>
              <a:avLst/>
              <a:gdLst/>
              <a:ahLst/>
              <a:cxnLst>
                <a:cxn ang="0">
                  <a:pos x="481" y="1198"/>
                </a:cxn>
                <a:cxn ang="0">
                  <a:pos x="530" y="1221"/>
                </a:cxn>
                <a:cxn ang="0">
                  <a:pos x="562" y="1221"/>
                </a:cxn>
                <a:cxn ang="0">
                  <a:pos x="563" y="1189"/>
                </a:cxn>
                <a:cxn ang="0">
                  <a:pos x="574" y="1152"/>
                </a:cxn>
                <a:cxn ang="0">
                  <a:pos x="624" y="1131"/>
                </a:cxn>
                <a:cxn ang="0">
                  <a:pos x="613" y="1105"/>
                </a:cxn>
                <a:cxn ang="0">
                  <a:pos x="614" y="1076"/>
                </a:cxn>
                <a:cxn ang="0">
                  <a:pos x="630" y="1066"/>
                </a:cxn>
                <a:cxn ang="0">
                  <a:pos x="624" y="1037"/>
                </a:cxn>
                <a:cxn ang="0">
                  <a:pos x="631" y="990"/>
                </a:cxn>
                <a:cxn ang="0">
                  <a:pos x="644" y="949"/>
                </a:cxn>
                <a:cxn ang="0">
                  <a:pos x="678" y="919"/>
                </a:cxn>
                <a:cxn ang="0">
                  <a:pos x="692" y="872"/>
                </a:cxn>
                <a:cxn ang="0">
                  <a:pos x="710" y="840"/>
                </a:cxn>
                <a:cxn ang="0">
                  <a:pos x="682" y="767"/>
                </a:cxn>
                <a:cxn ang="0">
                  <a:pos x="675" y="722"/>
                </a:cxn>
                <a:cxn ang="0">
                  <a:pos x="684" y="690"/>
                </a:cxn>
                <a:cxn ang="0">
                  <a:pos x="667" y="189"/>
                </a:cxn>
                <a:cxn ang="0">
                  <a:pos x="637" y="143"/>
                </a:cxn>
                <a:cxn ang="0">
                  <a:pos x="620" y="94"/>
                </a:cxn>
                <a:cxn ang="0">
                  <a:pos x="589" y="18"/>
                </a:cxn>
                <a:cxn ang="0">
                  <a:pos x="127" y="26"/>
                </a:cxn>
                <a:cxn ang="0">
                  <a:pos x="120" y="18"/>
                </a:cxn>
                <a:cxn ang="0">
                  <a:pos x="113" y="46"/>
                </a:cxn>
                <a:cxn ang="0">
                  <a:pos x="154" y="80"/>
                </a:cxn>
                <a:cxn ang="0">
                  <a:pos x="206" y="130"/>
                </a:cxn>
                <a:cxn ang="0">
                  <a:pos x="201" y="176"/>
                </a:cxn>
                <a:cxn ang="0">
                  <a:pos x="172" y="237"/>
                </a:cxn>
                <a:cxn ang="0">
                  <a:pos x="145" y="259"/>
                </a:cxn>
                <a:cxn ang="0">
                  <a:pos x="84" y="273"/>
                </a:cxn>
                <a:cxn ang="0">
                  <a:pos x="62" y="302"/>
                </a:cxn>
                <a:cxn ang="0">
                  <a:pos x="84" y="357"/>
                </a:cxn>
                <a:cxn ang="0">
                  <a:pos x="73" y="387"/>
                </a:cxn>
                <a:cxn ang="0">
                  <a:pos x="59" y="422"/>
                </a:cxn>
                <a:cxn ang="0">
                  <a:pos x="12" y="473"/>
                </a:cxn>
                <a:cxn ang="0">
                  <a:pos x="0" y="523"/>
                </a:cxn>
                <a:cxn ang="0">
                  <a:pos x="0" y="626"/>
                </a:cxn>
                <a:cxn ang="0">
                  <a:pos x="113" y="749"/>
                </a:cxn>
                <a:cxn ang="0">
                  <a:pos x="140" y="823"/>
                </a:cxn>
                <a:cxn ang="0">
                  <a:pos x="172" y="834"/>
                </a:cxn>
                <a:cxn ang="0">
                  <a:pos x="213" y="823"/>
                </a:cxn>
                <a:cxn ang="0">
                  <a:pos x="244" y="859"/>
                </a:cxn>
                <a:cxn ang="0">
                  <a:pos x="226" y="917"/>
                </a:cxn>
                <a:cxn ang="0">
                  <a:pos x="213" y="966"/>
                </a:cxn>
                <a:cxn ang="0">
                  <a:pos x="242" y="1021"/>
                </a:cxn>
                <a:cxn ang="0">
                  <a:pos x="292" y="1039"/>
                </a:cxn>
                <a:cxn ang="0">
                  <a:pos x="369" y="1101"/>
                </a:cxn>
                <a:cxn ang="0">
                  <a:pos x="385" y="1177"/>
                </a:cxn>
                <a:cxn ang="0">
                  <a:pos x="405" y="1221"/>
                </a:cxn>
                <a:cxn ang="0">
                  <a:pos x="417" y="1221"/>
                </a:cxn>
                <a:cxn ang="0">
                  <a:pos x="455" y="1213"/>
                </a:cxn>
              </a:cxnLst>
              <a:rect l="0" t="0" r="r" b="b"/>
              <a:pathLst>
                <a:path w="710" h="1243">
                  <a:moveTo>
                    <a:pt x="471" y="1202"/>
                  </a:moveTo>
                  <a:lnTo>
                    <a:pt x="481" y="1198"/>
                  </a:lnTo>
                  <a:lnTo>
                    <a:pt x="506" y="1206"/>
                  </a:lnTo>
                  <a:lnTo>
                    <a:pt x="530" y="1221"/>
                  </a:lnTo>
                  <a:lnTo>
                    <a:pt x="544" y="1221"/>
                  </a:lnTo>
                  <a:lnTo>
                    <a:pt x="562" y="1221"/>
                  </a:lnTo>
                  <a:lnTo>
                    <a:pt x="570" y="1214"/>
                  </a:lnTo>
                  <a:lnTo>
                    <a:pt x="563" y="1189"/>
                  </a:lnTo>
                  <a:lnTo>
                    <a:pt x="560" y="1166"/>
                  </a:lnTo>
                  <a:lnTo>
                    <a:pt x="574" y="1152"/>
                  </a:lnTo>
                  <a:lnTo>
                    <a:pt x="607" y="1139"/>
                  </a:lnTo>
                  <a:lnTo>
                    <a:pt x="624" y="1131"/>
                  </a:lnTo>
                  <a:lnTo>
                    <a:pt x="619" y="1117"/>
                  </a:lnTo>
                  <a:lnTo>
                    <a:pt x="613" y="1105"/>
                  </a:lnTo>
                  <a:lnTo>
                    <a:pt x="610" y="1092"/>
                  </a:lnTo>
                  <a:lnTo>
                    <a:pt x="614" y="1076"/>
                  </a:lnTo>
                  <a:lnTo>
                    <a:pt x="630" y="1066"/>
                  </a:lnTo>
                  <a:lnTo>
                    <a:pt x="630" y="1066"/>
                  </a:lnTo>
                  <a:lnTo>
                    <a:pt x="628" y="1062"/>
                  </a:lnTo>
                  <a:lnTo>
                    <a:pt x="624" y="1037"/>
                  </a:lnTo>
                  <a:lnTo>
                    <a:pt x="620" y="1008"/>
                  </a:lnTo>
                  <a:lnTo>
                    <a:pt x="631" y="990"/>
                  </a:lnTo>
                  <a:lnTo>
                    <a:pt x="641" y="980"/>
                  </a:lnTo>
                  <a:lnTo>
                    <a:pt x="644" y="949"/>
                  </a:lnTo>
                  <a:lnTo>
                    <a:pt x="666" y="930"/>
                  </a:lnTo>
                  <a:lnTo>
                    <a:pt x="678" y="919"/>
                  </a:lnTo>
                  <a:lnTo>
                    <a:pt x="682" y="894"/>
                  </a:lnTo>
                  <a:lnTo>
                    <a:pt x="692" y="872"/>
                  </a:lnTo>
                  <a:lnTo>
                    <a:pt x="705" y="856"/>
                  </a:lnTo>
                  <a:lnTo>
                    <a:pt x="710" y="840"/>
                  </a:lnTo>
                  <a:lnTo>
                    <a:pt x="702" y="804"/>
                  </a:lnTo>
                  <a:lnTo>
                    <a:pt x="682" y="767"/>
                  </a:lnTo>
                  <a:lnTo>
                    <a:pt x="678" y="745"/>
                  </a:lnTo>
                  <a:lnTo>
                    <a:pt x="675" y="722"/>
                  </a:lnTo>
                  <a:lnTo>
                    <a:pt x="678" y="704"/>
                  </a:lnTo>
                  <a:lnTo>
                    <a:pt x="684" y="690"/>
                  </a:lnTo>
                  <a:lnTo>
                    <a:pt x="664" y="189"/>
                  </a:lnTo>
                  <a:lnTo>
                    <a:pt x="667" y="189"/>
                  </a:lnTo>
                  <a:lnTo>
                    <a:pt x="650" y="172"/>
                  </a:lnTo>
                  <a:lnTo>
                    <a:pt x="637" y="143"/>
                  </a:lnTo>
                  <a:lnTo>
                    <a:pt x="628" y="129"/>
                  </a:lnTo>
                  <a:lnTo>
                    <a:pt x="620" y="94"/>
                  </a:lnTo>
                  <a:lnTo>
                    <a:pt x="599" y="75"/>
                  </a:lnTo>
                  <a:lnTo>
                    <a:pt x="589" y="18"/>
                  </a:lnTo>
                  <a:lnTo>
                    <a:pt x="584" y="0"/>
                  </a:lnTo>
                  <a:lnTo>
                    <a:pt x="127" y="26"/>
                  </a:lnTo>
                  <a:lnTo>
                    <a:pt x="120" y="18"/>
                  </a:lnTo>
                  <a:lnTo>
                    <a:pt x="120" y="18"/>
                  </a:lnTo>
                  <a:lnTo>
                    <a:pt x="113" y="33"/>
                  </a:lnTo>
                  <a:lnTo>
                    <a:pt x="113" y="46"/>
                  </a:lnTo>
                  <a:lnTo>
                    <a:pt x="133" y="61"/>
                  </a:lnTo>
                  <a:lnTo>
                    <a:pt x="154" y="80"/>
                  </a:lnTo>
                  <a:lnTo>
                    <a:pt x="181" y="103"/>
                  </a:lnTo>
                  <a:lnTo>
                    <a:pt x="206" y="130"/>
                  </a:lnTo>
                  <a:lnTo>
                    <a:pt x="206" y="143"/>
                  </a:lnTo>
                  <a:lnTo>
                    <a:pt x="201" y="176"/>
                  </a:lnTo>
                  <a:lnTo>
                    <a:pt x="183" y="196"/>
                  </a:lnTo>
                  <a:lnTo>
                    <a:pt x="172" y="237"/>
                  </a:lnTo>
                  <a:lnTo>
                    <a:pt x="155" y="251"/>
                  </a:lnTo>
                  <a:lnTo>
                    <a:pt x="145" y="259"/>
                  </a:lnTo>
                  <a:lnTo>
                    <a:pt x="113" y="273"/>
                  </a:lnTo>
                  <a:lnTo>
                    <a:pt x="84" y="273"/>
                  </a:lnTo>
                  <a:lnTo>
                    <a:pt x="63" y="283"/>
                  </a:lnTo>
                  <a:lnTo>
                    <a:pt x="62" y="302"/>
                  </a:lnTo>
                  <a:lnTo>
                    <a:pt x="62" y="321"/>
                  </a:lnTo>
                  <a:lnTo>
                    <a:pt x="84" y="357"/>
                  </a:lnTo>
                  <a:lnTo>
                    <a:pt x="91" y="372"/>
                  </a:lnTo>
                  <a:lnTo>
                    <a:pt x="73" y="387"/>
                  </a:lnTo>
                  <a:lnTo>
                    <a:pt x="68" y="422"/>
                  </a:lnTo>
                  <a:lnTo>
                    <a:pt x="59" y="422"/>
                  </a:lnTo>
                  <a:lnTo>
                    <a:pt x="43" y="443"/>
                  </a:lnTo>
                  <a:lnTo>
                    <a:pt x="12" y="473"/>
                  </a:lnTo>
                  <a:lnTo>
                    <a:pt x="16" y="509"/>
                  </a:lnTo>
                  <a:lnTo>
                    <a:pt x="0" y="523"/>
                  </a:lnTo>
                  <a:lnTo>
                    <a:pt x="0" y="575"/>
                  </a:lnTo>
                  <a:lnTo>
                    <a:pt x="0" y="626"/>
                  </a:lnTo>
                  <a:lnTo>
                    <a:pt x="29" y="680"/>
                  </a:lnTo>
                  <a:lnTo>
                    <a:pt x="113" y="749"/>
                  </a:lnTo>
                  <a:lnTo>
                    <a:pt x="140" y="780"/>
                  </a:lnTo>
                  <a:lnTo>
                    <a:pt x="140" y="823"/>
                  </a:lnTo>
                  <a:lnTo>
                    <a:pt x="159" y="849"/>
                  </a:lnTo>
                  <a:lnTo>
                    <a:pt x="172" y="834"/>
                  </a:lnTo>
                  <a:lnTo>
                    <a:pt x="183" y="823"/>
                  </a:lnTo>
                  <a:lnTo>
                    <a:pt x="213" y="823"/>
                  </a:lnTo>
                  <a:lnTo>
                    <a:pt x="231" y="841"/>
                  </a:lnTo>
                  <a:lnTo>
                    <a:pt x="244" y="859"/>
                  </a:lnTo>
                  <a:lnTo>
                    <a:pt x="231" y="892"/>
                  </a:lnTo>
                  <a:lnTo>
                    <a:pt x="226" y="917"/>
                  </a:lnTo>
                  <a:lnTo>
                    <a:pt x="220" y="937"/>
                  </a:lnTo>
                  <a:lnTo>
                    <a:pt x="213" y="966"/>
                  </a:lnTo>
                  <a:lnTo>
                    <a:pt x="213" y="992"/>
                  </a:lnTo>
                  <a:lnTo>
                    <a:pt x="242" y="1021"/>
                  </a:lnTo>
                  <a:lnTo>
                    <a:pt x="277" y="1046"/>
                  </a:lnTo>
                  <a:lnTo>
                    <a:pt x="292" y="1039"/>
                  </a:lnTo>
                  <a:lnTo>
                    <a:pt x="351" y="1078"/>
                  </a:lnTo>
                  <a:lnTo>
                    <a:pt x="369" y="1101"/>
                  </a:lnTo>
                  <a:lnTo>
                    <a:pt x="387" y="1149"/>
                  </a:lnTo>
                  <a:lnTo>
                    <a:pt x="385" y="1177"/>
                  </a:lnTo>
                  <a:lnTo>
                    <a:pt x="377" y="1195"/>
                  </a:lnTo>
                  <a:lnTo>
                    <a:pt x="405" y="1221"/>
                  </a:lnTo>
                  <a:lnTo>
                    <a:pt x="405" y="1243"/>
                  </a:lnTo>
                  <a:lnTo>
                    <a:pt x="417" y="1221"/>
                  </a:lnTo>
                  <a:lnTo>
                    <a:pt x="442" y="1221"/>
                  </a:lnTo>
                  <a:lnTo>
                    <a:pt x="455" y="1213"/>
                  </a:lnTo>
                  <a:lnTo>
                    <a:pt x="471" y="1202"/>
                  </a:lnTo>
                  <a:close/>
                </a:path>
              </a:pathLst>
            </a:custGeom>
            <a:solidFill>
              <a:schemeClr val="accent1"/>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6" name="Freeform 55"/>
            <p:cNvSpPr>
              <a:spLocks/>
            </p:cNvSpPr>
            <p:nvPr/>
          </p:nvSpPr>
          <p:spPr bwMode="auto">
            <a:xfrm>
              <a:off x="4957763" y="1563688"/>
              <a:ext cx="568325" cy="419100"/>
            </a:xfrm>
            <a:custGeom>
              <a:avLst/>
              <a:gdLst/>
              <a:ahLst/>
              <a:cxnLst>
                <a:cxn ang="0">
                  <a:pos x="911" y="717"/>
                </a:cxn>
                <a:cxn ang="0">
                  <a:pos x="936" y="696"/>
                </a:cxn>
                <a:cxn ang="0">
                  <a:pos x="959" y="646"/>
                </a:cxn>
                <a:cxn ang="0">
                  <a:pos x="930" y="595"/>
                </a:cxn>
                <a:cxn ang="0">
                  <a:pos x="931" y="557"/>
                </a:cxn>
                <a:cxn ang="0">
                  <a:pos x="981" y="547"/>
                </a:cxn>
                <a:cxn ang="0">
                  <a:pos x="1023" y="525"/>
                </a:cxn>
                <a:cxn ang="0">
                  <a:pos x="1051" y="470"/>
                </a:cxn>
                <a:cxn ang="0">
                  <a:pos x="1074" y="417"/>
                </a:cxn>
                <a:cxn ang="0">
                  <a:pos x="1049" y="377"/>
                </a:cxn>
                <a:cxn ang="0">
                  <a:pos x="1001" y="335"/>
                </a:cxn>
                <a:cxn ang="0">
                  <a:pos x="981" y="307"/>
                </a:cxn>
                <a:cxn ang="0">
                  <a:pos x="995" y="300"/>
                </a:cxn>
                <a:cxn ang="0">
                  <a:pos x="981" y="284"/>
                </a:cxn>
                <a:cxn ang="0">
                  <a:pos x="966" y="274"/>
                </a:cxn>
                <a:cxn ang="0">
                  <a:pos x="961" y="271"/>
                </a:cxn>
                <a:cxn ang="0">
                  <a:pos x="947" y="264"/>
                </a:cxn>
                <a:cxn ang="0">
                  <a:pos x="913" y="256"/>
                </a:cxn>
                <a:cxn ang="0">
                  <a:pos x="904" y="207"/>
                </a:cxn>
                <a:cxn ang="0">
                  <a:pos x="904" y="164"/>
                </a:cxn>
                <a:cxn ang="0">
                  <a:pos x="893" y="116"/>
                </a:cxn>
                <a:cxn ang="0">
                  <a:pos x="32" y="102"/>
                </a:cxn>
                <a:cxn ang="0">
                  <a:pos x="36" y="0"/>
                </a:cxn>
                <a:cxn ang="0">
                  <a:pos x="17" y="105"/>
                </a:cxn>
                <a:cxn ang="0">
                  <a:pos x="13" y="142"/>
                </a:cxn>
                <a:cxn ang="0">
                  <a:pos x="32" y="171"/>
                </a:cxn>
                <a:cxn ang="0">
                  <a:pos x="23" y="193"/>
                </a:cxn>
                <a:cxn ang="0">
                  <a:pos x="20" y="242"/>
                </a:cxn>
                <a:cxn ang="0">
                  <a:pos x="0" y="260"/>
                </a:cxn>
                <a:cxn ang="0">
                  <a:pos x="20" y="288"/>
                </a:cxn>
                <a:cxn ang="0">
                  <a:pos x="20" y="320"/>
                </a:cxn>
                <a:cxn ang="0">
                  <a:pos x="27" y="328"/>
                </a:cxn>
                <a:cxn ang="0">
                  <a:pos x="54" y="397"/>
                </a:cxn>
                <a:cxn ang="0">
                  <a:pos x="75" y="446"/>
                </a:cxn>
                <a:cxn ang="0">
                  <a:pos x="86" y="474"/>
                </a:cxn>
                <a:cxn ang="0">
                  <a:pos x="93" y="486"/>
                </a:cxn>
                <a:cxn ang="0">
                  <a:pos x="85" y="506"/>
                </a:cxn>
                <a:cxn ang="0">
                  <a:pos x="93" y="540"/>
                </a:cxn>
                <a:cxn ang="0">
                  <a:pos x="114" y="550"/>
                </a:cxn>
                <a:cxn ang="0">
                  <a:pos x="121" y="626"/>
                </a:cxn>
                <a:cxn ang="0">
                  <a:pos x="125" y="660"/>
                </a:cxn>
                <a:cxn ang="0">
                  <a:pos x="132" y="718"/>
                </a:cxn>
                <a:cxn ang="0">
                  <a:pos x="139" y="753"/>
                </a:cxn>
                <a:cxn ang="0">
                  <a:pos x="873" y="793"/>
                </a:cxn>
                <a:cxn ang="0">
                  <a:pos x="880" y="747"/>
                </a:cxn>
              </a:cxnLst>
              <a:rect l="0" t="0" r="r" b="b"/>
              <a:pathLst>
                <a:path w="1074" h="793">
                  <a:moveTo>
                    <a:pt x="880" y="747"/>
                  </a:moveTo>
                  <a:lnTo>
                    <a:pt x="911" y="717"/>
                  </a:lnTo>
                  <a:lnTo>
                    <a:pt x="927" y="696"/>
                  </a:lnTo>
                  <a:lnTo>
                    <a:pt x="936" y="696"/>
                  </a:lnTo>
                  <a:lnTo>
                    <a:pt x="941" y="661"/>
                  </a:lnTo>
                  <a:lnTo>
                    <a:pt x="959" y="646"/>
                  </a:lnTo>
                  <a:lnTo>
                    <a:pt x="952" y="631"/>
                  </a:lnTo>
                  <a:lnTo>
                    <a:pt x="930" y="595"/>
                  </a:lnTo>
                  <a:lnTo>
                    <a:pt x="930" y="576"/>
                  </a:lnTo>
                  <a:lnTo>
                    <a:pt x="931" y="557"/>
                  </a:lnTo>
                  <a:lnTo>
                    <a:pt x="952" y="547"/>
                  </a:lnTo>
                  <a:lnTo>
                    <a:pt x="981" y="547"/>
                  </a:lnTo>
                  <a:lnTo>
                    <a:pt x="1013" y="533"/>
                  </a:lnTo>
                  <a:lnTo>
                    <a:pt x="1023" y="525"/>
                  </a:lnTo>
                  <a:lnTo>
                    <a:pt x="1040" y="511"/>
                  </a:lnTo>
                  <a:lnTo>
                    <a:pt x="1051" y="470"/>
                  </a:lnTo>
                  <a:lnTo>
                    <a:pt x="1069" y="450"/>
                  </a:lnTo>
                  <a:lnTo>
                    <a:pt x="1074" y="417"/>
                  </a:lnTo>
                  <a:lnTo>
                    <a:pt x="1074" y="404"/>
                  </a:lnTo>
                  <a:lnTo>
                    <a:pt x="1049" y="377"/>
                  </a:lnTo>
                  <a:lnTo>
                    <a:pt x="1022" y="354"/>
                  </a:lnTo>
                  <a:lnTo>
                    <a:pt x="1001" y="335"/>
                  </a:lnTo>
                  <a:lnTo>
                    <a:pt x="981" y="320"/>
                  </a:lnTo>
                  <a:lnTo>
                    <a:pt x="981" y="307"/>
                  </a:lnTo>
                  <a:lnTo>
                    <a:pt x="988" y="292"/>
                  </a:lnTo>
                  <a:lnTo>
                    <a:pt x="995" y="300"/>
                  </a:lnTo>
                  <a:lnTo>
                    <a:pt x="981" y="284"/>
                  </a:lnTo>
                  <a:lnTo>
                    <a:pt x="981" y="284"/>
                  </a:lnTo>
                  <a:lnTo>
                    <a:pt x="973" y="278"/>
                  </a:lnTo>
                  <a:lnTo>
                    <a:pt x="966" y="274"/>
                  </a:lnTo>
                  <a:lnTo>
                    <a:pt x="961" y="271"/>
                  </a:lnTo>
                  <a:lnTo>
                    <a:pt x="961" y="271"/>
                  </a:lnTo>
                  <a:lnTo>
                    <a:pt x="955" y="270"/>
                  </a:lnTo>
                  <a:lnTo>
                    <a:pt x="947" y="264"/>
                  </a:lnTo>
                  <a:lnTo>
                    <a:pt x="937" y="256"/>
                  </a:lnTo>
                  <a:lnTo>
                    <a:pt x="913" y="256"/>
                  </a:lnTo>
                  <a:lnTo>
                    <a:pt x="913" y="235"/>
                  </a:lnTo>
                  <a:lnTo>
                    <a:pt x="904" y="207"/>
                  </a:lnTo>
                  <a:lnTo>
                    <a:pt x="904" y="181"/>
                  </a:lnTo>
                  <a:lnTo>
                    <a:pt x="904" y="164"/>
                  </a:lnTo>
                  <a:lnTo>
                    <a:pt x="904" y="132"/>
                  </a:lnTo>
                  <a:lnTo>
                    <a:pt x="893" y="116"/>
                  </a:lnTo>
                  <a:lnTo>
                    <a:pt x="882" y="85"/>
                  </a:lnTo>
                  <a:lnTo>
                    <a:pt x="32" y="102"/>
                  </a:lnTo>
                  <a:lnTo>
                    <a:pt x="36" y="0"/>
                  </a:lnTo>
                  <a:lnTo>
                    <a:pt x="36" y="0"/>
                  </a:lnTo>
                  <a:lnTo>
                    <a:pt x="32" y="105"/>
                  </a:lnTo>
                  <a:lnTo>
                    <a:pt x="17" y="105"/>
                  </a:lnTo>
                  <a:lnTo>
                    <a:pt x="17" y="118"/>
                  </a:lnTo>
                  <a:lnTo>
                    <a:pt x="13" y="142"/>
                  </a:lnTo>
                  <a:lnTo>
                    <a:pt x="21" y="148"/>
                  </a:lnTo>
                  <a:lnTo>
                    <a:pt x="32" y="171"/>
                  </a:lnTo>
                  <a:lnTo>
                    <a:pt x="32" y="189"/>
                  </a:lnTo>
                  <a:lnTo>
                    <a:pt x="23" y="193"/>
                  </a:lnTo>
                  <a:lnTo>
                    <a:pt x="20" y="210"/>
                  </a:lnTo>
                  <a:lnTo>
                    <a:pt x="20" y="242"/>
                  </a:lnTo>
                  <a:lnTo>
                    <a:pt x="7" y="246"/>
                  </a:lnTo>
                  <a:lnTo>
                    <a:pt x="0" y="260"/>
                  </a:lnTo>
                  <a:lnTo>
                    <a:pt x="0" y="275"/>
                  </a:lnTo>
                  <a:lnTo>
                    <a:pt x="20" y="288"/>
                  </a:lnTo>
                  <a:lnTo>
                    <a:pt x="20" y="309"/>
                  </a:lnTo>
                  <a:lnTo>
                    <a:pt x="20" y="320"/>
                  </a:lnTo>
                  <a:lnTo>
                    <a:pt x="13" y="311"/>
                  </a:lnTo>
                  <a:lnTo>
                    <a:pt x="27" y="328"/>
                  </a:lnTo>
                  <a:lnTo>
                    <a:pt x="42" y="370"/>
                  </a:lnTo>
                  <a:lnTo>
                    <a:pt x="54" y="397"/>
                  </a:lnTo>
                  <a:lnTo>
                    <a:pt x="66" y="425"/>
                  </a:lnTo>
                  <a:lnTo>
                    <a:pt x="75" y="446"/>
                  </a:lnTo>
                  <a:lnTo>
                    <a:pt x="82" y="460"/>
                  </a:lnTo>
                  <a:lnTo>
                    <a:pt x="86" y="474"/>
                  </a:lnTo>
                  <a:lnTo>
                    <a:pt x="93" y="479"/>
                  </a:lnTo>
                  <a:lnTo>
                    <a:pt x="93" y="486"/>
                  </a:lnTo>
                  <a:lnTo>
                    <a:pt x="81" y="489"/>
                  </a:lnTo>
                  <a:lnTo>
                    <a:pt x="85" y="506"/>
                  </a:lnTo>
                  <a:lnTo>
                    <a:pt x="89" y="528"/>
                  </a:lnTo>
                  <a:lnTo>
                    <a:pt x="93" y="540"/>
                  </a:lnTo>
                  <a:lnTo>
                    <a:pt x="102" y="540"/>
                  </a:lnTo>
                  <a:lnTo>
                    <a:pt x="114" y="550"/>
                  </a:lnTo>
                  <a:lnTo>
                    <a:pt x="121" y="581"/>
                  </a:lnTo>
                  <a:lnTo>
                    <a:pt x="121" y="626"/>
                  </a:lnTo>
                  <a:lnTo>
                    <a:pt x="118" y="644"/>
                  </a:lnTo>
                  <a:lnTo>
                    <a:pt x="125" y="660"/>
                  </a:lnTo>
                  <a:lnTo>
                    <a:pt x="132" y="669"/>
                  </a:lnTo>
                  <a:lnTo>
                    <a:pt x="132" y="718"/>
                  </a:lnTo>
                  <a:lnTo>
                    <a:pt x="138" y="750"/>
                  </a:lnTo>
                  <a:lnTo>
                    <a:pt x="139" y="753"/>
                  </a:lnTo>
                  <a:lnTo>
                    <a:pt x="819" y="743"/>
                  </a:lnTo>
                  <a:lnTo>
                    <a:pt x="873" y="793"/>
                  </a:lnTo>
                  <a:lnTo>
                    <a:pt x="884" y="783"/>
                  </a:lnTo>
                  <a:lnTo>
                    <a:pt x="880" y="747"/>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7" name="Freeform 56"/>
            <p:cNvSpPr>
              <a:spLocks/>
            </p:cNvSpPr>
            <p:nvPr/>
          </p:nvSpPr>
          <p:spPr bwMode="auto">
            <a:xfrm>
              <a:off x="2413000" y="2967038"/>
              <a:ext cx="1217612" cy="987425"/>
            </a:xfrm>
            <a:custGeom>
              <a:avLst/>
              <a:gdLst/>
              <a:ahLst/>
              <a:cxnLst>
                <a:cxn ang="0">
                  <a:pos x="1213" y="159"/>
                </a:cxn>
                <a:cxn ang="0">
                  <a:pos x="1074" y="134"/>
                </a:cxn>
                <a:cxn ang="0">
                  <a:pos x="913" y="80"/>
                </a:cxn>
                <a:cxn ang="0">
                  <a:pos x="799" y="58"/>
                </a:cxn>
                <a:cxn ang="0">
                  <a:pos x="644" y="39"/>
                </a:cxn>
                <a:cxn ang="0">
                  <a:pos x="484" y="169"/>
                </a:cxn>
                <a:cxn ang="0">
                  <a:pos x="335" y="208"/>
                </a:cxn>
                <a:cxn ang="0">
                  <a:pos x="396" y="437"/>
                </a:cxn>
                <a:cxn ang="0">
                  <a:pos x="500" y="518"/>
                </a:cxn>
                <a:cxn ang="0">
                  <a:pos x="376" y="551"/>
                </a:cxn>
                <a:cxn ang="0">
                  <a:pos x="280" y="515"/>
                </a:cxn>
                <a:cxn ang="0">
                  <a:pos x="182" y="583"/>
                </a:cxn>
                <a:cxn ang="0">
                  <a:pos x="285" y="722"/>
                </a:cxn>
                <a:cxn ang="0">
                  <a:pos x="447" y="716"/>
                </a:cxn>
                <a:cxn ang="0">
                  <a:pos x="440" y="860"/>
                </a:cxn>
                <a:cxn ang="0">
                  <a:pos x="354" y="883"/>
                </a:cxn>
                <a:cxn ang="0">
                  <a:pos x="232" y="902"/>
                </a:cxn>
                <a:cxn ang="0">
                  <a:pos x="142" y="1064"/>
                </a:cxn>
                <a:cxn ang="0">
                  <a:pos x="233" y="1159"/>
                </a:cxn>
                <a:cxn ang="0">
                  <a:pos x="190" y="1231"/>
                </a:cxn>
                <a:cxn ang="0">
                  <a:pos x="301" y="1227"/>
                </a:cxn>
                <a:cxn ang="0">
                  <a:pos x="339" y="1427"/>
                </a:cxn>
                <a:cxn ang="0">
                  <a:pos x="480" y="1436"/>
                </a:cxn>
                <a:cxn ang="0">
                  <a:pos x="577" y="1449"/>
                </a:cxn>
                <a:cxn ang="0">
                  <a:pos x="457" y="1650"/>
                </a:cxn>
                <a:cxn ang="0">
                  <a:pos x="262" y="1738"/>
                </a:cxn>
                <a:cxn ang="0">
                  <a:pos x="28" y="1812"/>
                </a:cxn>
                <a:cxn ang="0">
                  <a:pos x="168" y="1836"/>
                </a:cxn>
                <a:cxn ang="0">
                  <a:pos x="235" y="1832"/>
                </a:cxn>
                <a:cxn ang="0">
                  <a:pos x="339" y="1786"/>
                </a:cxn>
                <a:cxn ang="0">
                  <a:pos x="498" y="1699"/>
                </a:cxn>
                <a:cxn ang="0">
                  <a:pos x="786" y="1496"/>
                </a:cxn>
                <a:cxn ang="0">
                  <a:pos x="854" y="1343"/>
                </a:cxn>
                <a:cxn ang="0">
                  <a:pos x="945" y="1203"/>
                </a:cxn>
                <a:cxn ang="0">
                  <a:pos x="923" y="1325"/>
                </a:cxn>
                <a:cxn ang="0">
                  <a:pos x="924" y="1422"/>
                </a:cxn>
                <a:cxn ang="0">
                  <a:pos x="1116" y="1314"/>
                </a:cxn>
                <a:cxn ang="0">
                  <a:pos x="1212" y="1199"/>
                </a:cxn>
                <a:cxn ang="0">
                  <a:pos x="1178" y="1328"/>
                </a:cxn>
                <a:cxn ang="0">
                  <a:pos x="1324" y="1295"/>
                </a:cxn>
                <a:cxn ang="0">
                  <a:pos x="1610" y="1318"/>
                </a:cxn>
                <a:cxn ang="0">
                  <a:pos x="1817" y="1468"/>
                </a:cxn>
                <a:cxn ang="0">
                  <a:pos x="1958" y="1602"/>
                </a:cxn>
                <a:cxn ang="0">
                  <a:pos x="2025" y="1510"/>
                </a:cxn>
                <a:cxn ang="0">
                  <a:pos x="2022" y="1567"/>
                </a:cxn>
                <a:cxn ang="0">
                  <a:pos x="2015" y="1607"/>
                </a:cxn>
                <a:cxn ang="0">
                  <a:pos x="2025" y="1651"/>
                </a:cxn>
                <a:cxn ang="0">
                  <a:pos x="2048" y="1628"/>
                </a:cxn>
                <a:cxn ang="0">
                  <a:pos x="2073" y="1711"/>
                </a:cxn>
                <a:cxn ang="0">
                  <a:pos x="2158" y="1803"/>
                </a:cxn>
                <a:cxn ang="0">
                  <a:pos x="2186" y="1726"/>
                </a:cxn>
                <a:cxn ang="0">
                  <a:pos x="2172" y="1664"/>
                </a:cxn>
                <a:cxn ang="0">
                  <a:pos x="2241" y="1722"/>
                </a:cxn>
                <a:cxn ang="0">
                  <a:pos x="2294" y="1618"/>
                </a:cxn>
                <a:cxn ang="0">
                  <a:pos x="1996" y="1377"/>
                </a:cxn>
                <a:cxn ang="0">
                  <a:pos x="1707" y="1323"/>
                </a:cxn>
                <a:cxn ang="0">
                  <a:pos x="1461" y="755"/>
                </a:cxn>
              </a:cxnLst>
              <a:rect l="0" t="0" r="r" b="b"/>
              <a:pathLst>
                <a:path w="2302" h="1865">
                  <a:moveTo>
                    <a:pt x="1384" y="183"/>
                  </a:moveTo>
                  <a:lnTo>
                    <a:pt x="1343" y="177"/>
                  </a:lnTo>
                  <a:lnTo>
                    <a:pt x="1321" y="158"/>
                  </a:lnTo>
                  <a:lnTo>
                    <a:pt x="1296" y="134"/>
                  </a:lnTo>
                  <a:lnTo>
                    <a:pt x="1288" y="134"/>
                  </a:lnTo>
                  <a:lnTo>
                    <a:pt x="1268" y="134"/>
                  </a:lnTo>
                  <a:lnTo>
                    <a:pt x="1248" y="151"/>
                  </a:lnTo>
                  <a:lnTo>
                    <a:pt x="1213" y="159"/>
                  </a:lnTo>
                  <a:lnTo>
                    <a:pt x="1178" y="148"/>
                  </a:lnTo>
                  <a:lnTo>
                    <a:pt x="1144" y="134"/>
                  </a:lnTo>
                  <a:lnTo>
                    <a:pt x="1123" y="134"/>
                  </a:lnTo>
                  <a:lnTo>
                    <a:pt x="1095" y="143"/>
                  </a:lnTo>
                  <a:lnTo>
                    <a:pt x="1074" y="159"/>
                  </a:lnTo>
                  <a:lnTo>
                    <a:pt x="1074" y="169"/>
                  </a:lnTo>
                  <a:lnTo>
                    <a:pt x="1074" y="147"/>
                  </a:lnTo>
                  <a:lnTo>
                    <a:pt x="1074" y="134"/>
                  </a:lnTo>
                  <a:lnTo>
                    <a:pt x="1067" y="121"/>
                  </a:lnTo>
                  <a:lnTo>
                    <a:pt x="1044" y="108"/>
                  </a:lnTo>
                  <a:lnTo>
                    <a:pt x="1027" y="108"/>
                  </a:lnTo>
                  <a:lnTo>
                    <a:pt x="1010" y="116"/>
                  </a:lnTo>
                  <a:lnTo>
                    <a:pt x="999" y="116"/>
                  </a:lnTo>
                  <a:lnTo>
                    <a:pt x="948" y="116"/>
                  </a:lnTo>
                  <a:lnTo>
                    <a:pt x="924" y="97"/>
                  </a:lnTo>
                  <a:lnTo>
                    <a:pt x="913" y="80"/>
                  </a:lnTo>
                  <a:lnTo>
                    <a:pt x="913" y="64"/>
                  </a:lnTo>
                  <a:lnTo>
                    <a:pt x="876" y="54"/>
                  </a:lnTo>
                  <a:lnTo>
                    <a:pt x="852" y="62"/>
                  </a:lnTo>
                  <a:lnTo>
                    <a:pt x="834" y="41"/>
                  </a:lnTo>
                  <a:lnTo>
                    <a:pt x="826" y="33"/>
                  </a:lnTo>
                  <a:lnTo>
                    <a:pt x="816" y="43"/>
                  </a:lnTo>
                  <a:lnTo>
                    <a:pt x="816" y="55"/>
                  </a:lnTo>
                  <a:lnTo>
                    <a:pt x="799" y="58"/>
                  </a:lnTo>
                  <a:lnTo>
                    <a:pt x="786" y="44"/>
                  </a:lnTo>
                  <a:lnTo>
                    <a:pt x="786" y="33"/>
                  </a:lnTo>
                  <a:lnTo>
                    <a:pt x="794" y="33"/>
                  </a:lnTo>
                  <a:lnTo>
                    <a:pt x="786" y="18"/>
                  </a:lnTo>
                  <a:lnTo>
                    <a:pt x="765" y="0"/>
                  </a:lnTo>
                  <a:lnTo>
                    <a:pt x="730" y="18"/>
                  </a:lnTo>
                  <a:lnTo>
                    <a:pt x="720" y="43"/>
                  </a:lnTo>
                  <a:lnTo>
                    <a:pt x="644" y="39"/>
                  </a:lnTo>
                  <a:lnTo>
                    <a:pt x="630" y="51"/>
                  </a:lnTo>
                  <a:lnTo>
                    <a:pt x="613" y="62"/>
                  </a:lnTo>
                  <a:lnTo>
                    <a:pt x="593" y="84"/>
                  </a:lnTo>
                  <a:lnTo>
                    <a:pt x="544" y="93"/>
                  </a:lnTo>
                  <a:lnTo>
                    <a:pt x="515" y="118"/>
                  </a:lnTo>
                  <a:lnTo>
                    <a:pt x="500" y="129"/>
                  </a:lnTo>
                  <a:lnTo>
                    <a:pt x="484" y="133"/>
                  </a:lnTo>
                  <a:lnTo>
                    <a:pt x="484" y="169"/>
                  </a:lnTo>
                  <a:lnTo>
                    <a:pt x="473" y="193"/>
                  </a:lnTo>
                  <a:lnTo>
                    <a:pt x="459" y="205"/>
                  </a:lnTo>
                  <a:lnTo>
                    <a:pt x="418" y="219"/>
                  </a:lnTo>
                  <a:lnTo>
                    <a:pt x="396" y="219"/>
                  </a:lnTo>
                  <a:lnTo>
                    <a:pt x="382" y="219"/>
                  </a:lnTo>
                  <a:lnTo>
                    <a:pt x="364" y="219"/>
                  </a:lnTo>
                  <a:lnTo>
                    <a:pt x="346" y="209"/>
                  </a:lnTo>
                  <a:lnTo>
                    <a:pt x="335" y="208"/>
                  </a:lnTo>
                  <a:lnTo>
                    <a:pt x="326" y="232"/>
                  </a:lnTo>
                  <a:lnTo>
                    <a:pt x="326" y="252"/>
                  </a:lnTo>
                  <a:lnTo>
                    <a:pt x="305" y="252"/>
                  </a:lnTo>
                  <a:lnTo>
                    <a:pt x="305" y="264"/>
                  </a:lnTo>
                  <a:lnTo>
                    <a:pt x="294" y="264"/>
                  </a:lnTo>
                  <a:lnTo>
                    <a:pt x="359" y="334"/>
                  </a:lnTo>
                  <a:lnTo>
                    <a:pt x="394" y="369"/>
                  </a:lnTo>
                  <a:lnTo>
                    <a:pt x="396" y="437"/>
                  </a:lnTo>
                  <a:lnTo>
                    <a:pt x="462" y="458"/>
                  </a:lnTo>
                  <a:lnTo>
                    <a:pt x="468" y="479"/>
                  </a:lnTo>
                  <a:lnTo>
                    <a:pt x="468" y="497"/>
                  </a:lnTo>
                  <a:lnTo>
                    <a:pt x="480" y="509"/>
                  </a:lnTo>
                  <a:lnTo>
                    <a:pt x="480" y="509"/>
                  </a:lnTo>
                  <a:lnTo>
                    <a:pt x="487" y="513"/>
                  </a:lnTo>
                  <a:lnTo>
                    <a:pt x="500" y="518"/>
                  </a:lnTo>
                  <a:lnTo>
                    <a:pt x="500" y="518"/>
                  </a:lnTo>
                  <a:lnTo>
                    <a:pt x="514" y="523"/>
                  </a:lnTo>
                  <a:lnTo>
                    <a:pt x="522" y="527"/>
                  </a:lnTo>
                  <a:lnTo>
                    <a:pt x="500" y="541"/>
                  </a:lnTo>
                  <a:lnTo>
                    <a:pt x="480" y="559"/>
                  </a:lnTo>
                  <a:lnTo>
                    <a:pt x="452" y="572"/>
                  </a:lnTo>
                  <a:lnTo>
                    <a:pt x="418" y="562"/>
                  </a:lnTo>
                  <a:lnTo>
                    <a:pt x="389" y="563"/>
                  </a:lnTo>
                  <a:lnTo>
                    <a:pt x="376" y="551"/>
                  </a:lnTo>
                  <a:lnTo>
                    <a:pt x="361" y="538"/>
                  </a:lnTo>
                  <a:lnTo>
                    <a:pt x="364" y="530"/>
                  </a:lnTo>
                  <a:lnTo>
                    <a:pt x="369" y="509"/>
                  </a:lnTo>
                  <a:lnTo>
                    <a:pt x="355" y="498"/>
                  </a:lnTo>
                  <a:lnTo>
                    <a:pt x="323" y="499"/>
                  </a:lnTo>
                  <a:lnTo>
                    <a:pt x="294" y="501"/>
                  </a:lnTo>
                  <a:lnTo>
                    <a:pt x="280" y="506"/>
                  </a:lnTo>
                  <a:lnTo>
                    <a:pt x="280" y="515"/>
                  </a:lnTo>
                  <a:lnTo>
                    <a:pt x="261" y="520"/>
                  </a:lnTo>
                  <a:lnTo>
                    <a:pt x="253" y="515"/>
                  </a:lnTo>
                  <a:lnTo>
                    <a:pt x="215" y="537"/>
                  </a:lnTo>
                  <a:lnTo>
                    <a:pt x="190" y="541"/>
                  </a:lnTo>
                  <a:lnTo>
                    <a:pt x="172" y="541"/>
                  </a:lnTo>
                  <a:lnTo>
                    <a:pt x="156" y="554"/>
                  </a:lnTo>
                  <a:lnTo>
                    <a:pt x="162" y="563"/>
                  </a:lnTo>
                  <a:lnTo>
                    <a:pt x="182" y="583"/>
                  </a:lnTo>
                  <a:lnTo>
                    <a:pt x="204" y="597"/>
                  </a:lnTo>
                  <a:lnTo>
                    <a:pt x="235" y="611"/>
                  </a:lnTo>
                  <a:lnTo>
                    <a:pt x="222" y="619"/>
                  </a:lnTo>
                  <a:lnTo>
                    <a:pt x="197" y="630"/>
                  </a:lnTo>
                  <a:lnTo>
                    <a:pt x="204" y="676"/>
                  </a:lnTo>
                  <a:lnTo>
                    <a:pt x="221" y="698"/>
                  </a:lnTo>
                  <a:lnTo>
                    <a:pt x="253" y="713"/>
                  </a:lnTo>
                  <a:lnTo>
                    <a:pt x="285" y="722"/>
                  </a:lnTo>
                  <a:lnTo>
                    <a:pt x="326" y="722"/>
                  </a:lnTo>
                  <a:lnTo>
                    <a:pt x="366" y="722"/>
                  </a:lnTo>
                  <a:lnTo>
                    <a:pt x="380" y="748"/>
                  </a:lnTo>
                  <a:lnTo>
                    <a:pt x="394" y="748"/>
                  </a:lnTo>
                  <a:lnTo>
                    <a:pt x="405" y="731"/>
                  </a:lnTo>
                  <a:lnTo>
                    <a:pt x="416" y="722"/>
                  </a:lnTo>
                  <a:lnTo>
                    <a:pt x="432" y="716"/>
                  </a:lnTo>
                  <a:lnTo>
                    <a:pt x="447" y="716"/>
                  </a:lnTo>
                  <a:lnTo>
                    <a:pt x="473" y="723"/>
                  </a:lnTo>
                  <a:lnTo>
                    <a:pt x="479" y="748"/>
                  </a:lnTo>
                  <a:lnTo>
                    <a:pt x="459" y="769"/>
                  </a:lnTo>
                  <a:lnTo>
                    <a:pt x="440" y="769"/>
                  </a:lnTo>
                  <a:lnTo>
                    <a:pt x="451" y="805"/>
                  </a:lnTo>
                  <a:lnTo>
                    <a:pt x="461" y="830"/>
                  </a:lnTo>
                  <a:lnTo>
                    <a:pt x="452" y="860"/>
                  </a:lnTo>
                  <a:lnTo>
                    <a:pt x="440" y="860"/>
                  </a:lnTo>
                  <a:lnTo>
                    <a:pt x="426" y="873"/>
                  </a:lnTo>
                  <a:lnTo>
                    <a:pt x="408" y="873"/>
                  </a:lnTo>
                  <a:lnTo>
                    <a:pt x="400" y="873"/>
                  </a:lnTo>
                  <a:lnTo>
                    <a:pt x="384" y="873"/>
                  </a:lnTo>
                  <a:lnTo>
                    <a:pt x="379" y="862"/>
                  </a:lnTo>
                  <a:lnTo>
                    <a:pt x="369" y="873"/>
                  </a:lnTo>
                  <a:lnTo>
                    <a:pt x="365" y="883"/>
                  </a:lnTo>
                  <a:lnTo>
                    <a:pt x="354" y="883"/>
                  </a:lnTo>
                  <a:lnTo>
                    <a:pt x="337" y="902"/>
                  </a:lnTo>
                  <a:lnTo>
                    <a:pt x="328" y="902"/>
                  </a:lnTo>
                  <a:lnTo>
                    <a:pt x="312" y="902"/>
                  </a:lnTo>
                  <a:lnTo>
                    <a:pt x="301" y="902"/>
                  </a:lnTo>
                  <a:lnTo>
                    <a:pt x="287" y="883"/>
                  </a:lnTo>
                  <a:lnTo>
                    <a:pt x="271" y="877"/>
                  </a:lnTo>
                  <a:lnTo>
                    <a:pt x="255" y="880"/>
                  </a:lnTo>
                  <a:lnTo>
                    <a:pt x="232" y="902"/>
                  </a:lnTo>
                  <a:lnTo>
                    <a:pt x="225" y="926"/>
                  </a:lnTo>
                  <a:lnTo>
                    <a:pt x="208" y="952"/>
                  </a:lnTo>
                  <a:lnTo>
                    <a:pt x="180" y="967"/>
                  </a:lnTo>
                  <a:lnTo>
                    <a:pt x="156" y="995"/>
                  </a:lnTo>
                  <a:lnTo>
                    <a:pt x="143" y="1019"/>
                  </a:lnTo>
                  <a:lnTo>
                    <a:pt x="131" y="1028"/>
                  </a:lnTo>
                  <a:lnTo>
                    <a:pt x="131" y="1037"/>
                  </a:lnTo>
                  <a:lnTo>
                    <a:pt x="142" y="1064"/>
                  </a:lnTo>
                  <a:lnTo>
                    <a:pt x="150" y="1087"/>
                  </a:lnTo>
                  <a:lnTo>
                    <a:pt x="161" y="1105"/>
                  </a:lnTo>
                  <a:lnTo>
                    <a:pt x="187" y="1121"/>
                  </a:lnTo>
                  <a:lnTo>
                    <a:pt x="203" y="1121"/>
                  </a:lnTo>
                  <a:lnTo>
                    <a:pt x="224" y="1121"/>
                  </a:lnTo>
                  <a:lnTo>
                    <a:pt x="232" y="1121"/>
                  </a:lnTo>
                  <a:lnTo>
                    <a:pt x="244" y="1138"/>
                  </a:lnTo>
                  <a:lnTo>
                    <a:pt x="233" y="1159"/>
                  </a:lnTo>
                  <a:lnTo>
                    <a:pt x="211" y="1143"/>
                  </a:lnTo>
                  <a:lnTo>
                    <a:pt x="190" y="1143"/>
                  </a:lnTo>
                  <a:lnTo>
                    <a:pt x="171" y="1143"/>
                  </a:lnTo>
                  <a:lnTo>
                    <a:pt x="153" y="1159"/>
                  </a:lnTo>
                  <a:lnTo>
                    <a:pt x="157" y="1191"/>
                  </a:lnTo>
                  <a:lnTo>
                    <a:pt x="161" y="1205"/>
                  </a:lnTo>
                  <a:lnTo>
                    <a:pt x="172" y="1218"/>
                  </a:lnTo>
                  <a:lnTo>
                    <a:pt x="190" y="1231"/>
                  </a:lnTo>
                  <a:lnTo>
                    <a:pt x="203" y="1243"/>
                  </a:lnTo>
                  <a:lnTo>
                    <a:pt x="222" y="1255"/>
                  </a:lnTo>
                  <a:lnTo>
                    <a:pt x="229" y="1255"/>
                  </a:lnTo>
                  <a:lnTo>
                    <a:pt x="243" y="1266"/>
                  </a:lnTo>
                  <a:lnTo>
                    <a:pt x="260" y="1266"/>
                  </a:lnTo>
                  <a:lnTo>
                    <a:pt x="271" y="1257"/>
                  </a:lnTo>
                  <a:lnTo>
                    <a:pt x="290" y="1236"/>
                  </a:lnTo>
                  <a:lnTo>
                    <a:pt x="301" y="1227"/>
                  </a:lnTo>
                  <a:lnTo>
                    <a:pt x="308" y="1266"/>
                  </a:lnTo>
                  <a:lnTo>
                    <a:pt x="315" y="1304"/>
                  </a:lnTo>
                  <a:lnTo>
                    <a:pt x="316" y="1327"/>
                  </a:lnTo>
                  <a:lnTo>
                    <a:pt x="301" y="1348"/>
                  </a:lnTo>
                  <a:lnTo>
                    <a:pt x="297" y="1366"/>
                  </a:lnTo>
                  <a:lnTo>
                    <a:pt x="292" y="1427"/>
                  </a:lnTo>
                  <a:lnTo>
                    <a:pt x="319" y="1427"/>
                  </a:lnTo>
                  <a:lnTo>
                    <a:pt x="339" y="1427"/>
                  </a:lnTo>
                  <a:lnTo>
                    <a:pt x="371" y="1400"/>
                  </a:lnTo>
                  <a:lnTo>
                    <a:pt x="380" y="1400"/>
                  </a:lnTo>
                  <a:lnTo>
                    <a:pt x="418" y="1427"/>
                  </a:lnTo>
                  <a:lnTo>
                    <a:pt x="441" y="1447"/>
                  </a:lnTo>
                  <a:lnTo>
                    <a:pt x="457" y="1467"/>
                  </a:lnTo>
                  <a:lnTo>
                    <a:pt x="461" y="1479"/>
                  </a:lnTo>
                  <a:lnTo>
                    <a:pt x="473" y="1464"/>
                  </a:lnTo>
                  <a:lnTo>
                    <a:pt x="480" y="1436"/>
                  </a:lnTo>
                  <a:lnTo>
                    <a:pt x="498" y="1420"/>
                  </a:lnTo>
                  <a:lnTo>
                    <a:pt x="519" y="1417"/>
                  </a:lnTo>
                  <a:lnTo>
                    <a:pt x="498" y="1441"/>
                  </a:lnTo>
                  <a:lnTo>
                    <a:pt x="505" y="1450"/>
                  </a:lnTo>
                  <a:lnTo>
                    <a:pt x="530" y="1452"/>
                  </a:lnTo>
                  <a:lnTo>
                    <a:pt x="544" y="1452"/>
                  </a:lnTo>
                  <a:lnTo>
                    <a:pt x="566" y="1449"/>
                  </a:lnTo>
                  <a:lnTo>
                    <a:pt x="577" y="1449"/>
                  </a:lnTo>
                  <a:lnTo>
                    <a:pt x="555" y="1479"/>
                  </a:lnTo>
                  <a:lnTo>
                    <a:pt x="552" y="1492"/>
                  </a:lnTo>
                  <a:lnTo>
                    <a:pt x="543" y="1520"/>
                  </a:lnTo>
                  <a:lnTo>
                    <a:pt x="536" y="1557"/>
                  </a:lnTo>
                  <a:lnTo>
                    <a:pt x="530" y="1589"/>
                  </a:lnTo>
                  <a:lnTo>
                    <a:pt x="508" y="1602"/>
                  </a:lnTo>
                  <a:lnTo>
                    <a:pt x="475" y="1625"/>
                  </a:lnTo>
                  <a:lnTo>
                    <a:pt x="457" y="1650"/>
                  </a:lnTo>
                  <a:lnTo>
                    <a:pt x="437" y="1667"/>
                  </a:lnTo>
                  <a:lnTo>
                    <a:pt x="389" y="1676"/>
                  </a:lnTo>
                  <a:lnTo>
                    <a:pt x="366" y="1689"/>
                  </a:lnTo>
                  <a:lnTo>
                    <a:pt x="343" y="1711"/>
                  </a:lnTo>
                  <a:lnTo>
                    <a:pt x="322" y="1740"/>
                  </a:lnTo>
                  <a:lnTo>
                    <a:pt x="305" y="1754"/>
                  </a:lnTo>
                  <a:lnTo>
                    <a:pt x="286" y="1738"/>
                  </a:lnTo>
                  <a:lnTo>
                    <a:pt x="262" y="1738"/>
                  </a:lnTo>
                  <a:lnTo>
                    <a:pt x="221" y="1740"/>
                  </a:lnTo>
                  <a:lnTo>
                    <a:pt x="193" y="1754"/>
                  </a:lnTo>
                  <a:lnTo>
                    <a:pt x="180" y="1778"/>
                  </a:lnTo>
                  <a:lnTo>
                    <a:pt x="164" y="1790"/>
                  </a:lnTo>
                  <a:lnTo>
                    <a:pt x="131" y="1800"/>
                  </a:lnTo>
                  <a:lnTo>
                    <a:pt x="111" y="1812"/>
                  </a:lnTo>
                  <a:lnTo>
                    <a:pt x="86" y="1812"/>
                  </a:lnTo>
                  <a:lnTo>
                    <a:pt x="28" y="1812"/>
                  </a:lnTo>
                  <a:lnTo>
                    <a:pt x="0" y="1847"/>
                  </a:lnTo>
                  <a:lnTo>
                    <a:pt x="0" y="1865"/>
                  </a:lnTo>
                  <a:lnTo>
                    <a:pt x="46" y="1865"/>
                  </a:lnTo>
                  <a:lnTo>
                    <a:pt x="97" y="1865"/>
                  </a:lnTo>
                  <a:lnTo>
                    <a:pt x="125" y="1840"/>
                  </a:lnTo>
                  <a:lnTo>
                    <a:pt x="149" y="1833"/>
                  </a:lnTo>
                  <a:lnTo>
                    <a:pt x="168" y="1836"/>
                  </a:lnTo>
                  <a:lnTo>
                    <a:pt x="168" y="1836"/>
                  </a:lnTo>
                  <a:lnTo>
                    <a:pt x="172" y="1836"/>
                  </a:lnTo>
                  <a:lnTo>
                    <a:pt x="176" y="1837"/>
                  </a:lnTo>
                  <a:lnTo>
                    <a:pt x="179" y="1840"/>
                  </a:lnTo>
                  <a:lnTo>
                    <a:pt x="179" y="1840"/>
                  </a:lnTo>
                  <a:lnTo>
                    <a:pt x="180" y="1844"/>
                  </a:lnTo>
                  <a:lnTo>
                    <a:pt x="205" y="1846"/>
                  </a:lnTo>
                  <a:lnTo>
                    <a:pt x="208" y="1832"/>
                  </a:lnTo>
                  <a:lnTo>
                    <a:pt x="235" y="1832"/>
                  </a:lnTo>
                  <a:lnTo>
                    <a:pt x="233" y="1793"/>
                  </a:lnTo>
                  <a:lnTo>
                    <a:pt x="240" y="1782"/>
                  </a:lnTo>
                  <a:lnTo>
                    <a:pt x="257" y="1812"/>
                  </a:lnTo>
                  <a:lnTo>
                    <a:pt x="280" y="1821"/>
                  </a:lnTo>
                  <a:lnTo>
                    <a:pt x="305" y="1835"/>
                  </a:lnTo>
                  <a:lnTo>
                    <a:pt x="314" y="1832"/>
                  </a:lnTo>
                  <a:lnTo>
                    <a:pt x="307" y="1804"/>
                  </a:lnTo>
                  <a:lnTo>
                    <a:pt x="339" y="1786"/>
                  </a:lnTo>
                  <a:lnTo>
                    <a:pt x="364" y="1779"/>
                  </a:lnTo>
                  <a:lnTo>
                    <a:pt x="386" y="1779"/>
                  </a:lnTo>
                  <a:lnTo>
                    <a:pt x="416" y="1771"/>
                  </a:lnTo>
                  <a:lnTo>
                    <a:pt x="439" y="1763"/>
                  </a:lnTo>
                  <a:lnTo>
                    <a:pt x="448" y="1738"/>
                  </a:lnTo>
                  <a:lnTo>
                    <a:pt x="462" y="1724"/>
                  </a:lnTo>
                  <a:lnTo>
                    <a:pt x="482" y="1708"/>
                  </a:lnTo>
                  <a:lnTo>
                    <a:pt x="498" y="1699"/>
                  </a:lnTo>
                  <a:lnTo>
                    <a:pt x="540" y="1688"/>
                  </a:lnTo>
                  <a:lnTo>
                    <a:pt x="570" y="1665"/>
                  </a:lnTo>
                  <a:lnTo>
                    <a:pt x="604" y="1654"/>
                  </a:lnTo>
                  <a:lnTo>
                    <a:pt x="609" y="1615"/>
                  </a:lnTo>
                  <a:lnTo>
                    <a:pt x="694" y="1574"/>
                  </a:lnTo>
                  <a:lnTo>
                    <a:pt x="736" y="1545"/>
                  </a:lnTo>
                  <a:lnTo>
                    <a:pt x="761" y="1510"/>
                  </a:lnTo>
                  <a:lnTo>
                    <a:pt x="786" y="1496"/>
                  </a:lnTo>
                  <a:lnTo>
                    <a:pt x="801" y="1474"/>
                  </a:lnTo>
                  <a:lnTo>
                    <a:pt x="795" y="1446"/>
                  </a:lnTo>
                  <a:lnTo>
                    <a:pt x="762" y="1436"/>
                  </a:lnTo>
                  <a:lnTo>
                    <a:pt x="767" y="1411"/>
                  </a:lnTo>
                  <a:lnTo>
                    <a:pt x="788" y="1388"/>
                  </a:lnTo>
                  <a:lnTo>
                    <a:pt x="809" y="1371"/>
                  </a:lnTo>
                  <a:lnTo>
                    <a:pt x="840" y="1356"/>
                  </a:lnTo>
                  <a:lnTo>
                    <a:pt x="854" y="1343"/>
                  </a:lnTo>
                  <a:lnTo>
                    <a:pt x="856" y="1328"/>
                  </a:lnTo>
                  <a:lnTo>
                    <a:pt x="849" y="1307"/>
                  </a:lnTo>
                  <a:lnTo>
                    <a:pt x="852" y="1299"/>
                  </a:lnTo>
                  <a:lnTo>
                    <a:pt x="867" y="1299"/>
                  </a:lnTo>
                  <a:lnTo>
                    <a:pt x="874" y="1274"/>
                  </a:lnTo>
                  <a:lnTo>
                    <a:pt x="885" y="1250"/>
                  </a:lnTo>
                  <a:lnTo>
                    <a:pt x="915" y="1224"/>
                  </a:lnTo>
                  <a:lnTo>
                    <a:pt x="945" y="1203"/>
                  </a:lnTo>
                  <a:lnTo>
                    <a:pt x="977" y="1189"/>
                  </a:lnTo>
                  <a:lnTo>
                    <a:pt x="1019" y="1205"/>
                  </a:lnTo>
                  <a:lnTo>
                    <a:pt x="1041" y="1210"/>
                  </a:lnTo>
                  <a:lnTo>
                    <a:pt x="1053" y="1230"/>
                  </a:lnTo>
                  <a:lnTo>
                    <a:pt x="971" y="1218"/>
                  </a:lnTo>
                  <a:lnTo>
                    <a:pt x="947" y="1248"/>
                  </a:lnTo>
                  <a:lnTo>
                    <a:pt x="934" y="1296"/>
                  </a:lnTo>
                  <a:lnTo>
                    <a:pt x="923" y="1325"/>
                  </a:lnTo>
                  <a:lnTo>
                    <a:pt x="903" y="1360"/>
                  </a:lnTo>
                  <a:lnTo>
                    <a:pt x="908" y="1374"/>
                  </a:lnTo>
                  <a:lnTo>
                    <a:pt x="934" y="1374"/>
                  </a:lnTo>
                  <a:lnTo>
                    <a:pt x="915" y="1396"/>
                  </a:lnTo>
                  <a:lnTo>
                    <a:pt x="892" y="1406"/>
                  </a:lnTo>
                  <a:lnTo>
                    <a:pt x="895" y="1417"/>
                  </a:lnTo>
                  <a:lnTo>
                    <a:pt x="905" y="1429"/>
                  </a:lnTo>
                  <a:lnTo>
                    <a:pt x="924" y="1422"/>
                  </a:lnTo>
                  <a:lnTo>
                    <a:pt x="956" y="1416"/>
                  </a:lnTo>
                  <a:lnTo>
                    <a:pt x="990" y="1391"/>
                  </a:lnTo>
                  <a:lnTo>
                    <a:pt x="995" y="1381"/>
                  </a:lnTo>
                  <a:lnTo>
                    <a:pt x="1031" y="1367"/>
                  </a:lnTo>
                  <a:lnTo>
                    <a:pt x="1039" y="1335"/>
                  </a:lnTo>
                  <a:lnTo>
                    <a:pt x="1070" y="1336"/>
                  </a:lnTo>
                  <a:lnTo>
                    <a:pt x="1091" y="1335"/>
                  </a:lnTo>
                  <a:lnTo>
                    <a:pt x="1116" y="1314"/>
                  </a:lnTo>
                  <a:lnTo>
                    <a:pt x="1123" y="1274"/>
                  </a:lnTo>
                  <a:lnTo>
                    <a:pt x="1105" y="1255"/>
                  </a:lnTo>
                  <a:lnTo>
                    <a:pt x="1114" y="1223"/>
                  </a:lnTo>
                  <a:lnTo>
                    <a:pt x="1127" y="1210"/>
                  </a:lnTo>
                  <a:lnTo>
                    <a:pt x="1155" y="1214"/>
                  </a:lnTo>
                  <a:lnTo>
                    <a:pt x="1188" y="1214"/>
                  </a:lnTo>
                  <a:lnTo>
                    <a:pt x="1195" y="1210"/>
                  </a:lnTo>
                  <a:lnTo>
                    <a:pt x="1212" y="1199"/>
                  </a:lnTo>
                  <a:lnTo>
                    <a:pt x="1213" y="1231"/>
                  </a:lnTo>
                  <a:lnTo>
                    <a:pt x="1230" y="1241"/>
                  </a:lnTo>
                  <a:lnTo>
                    <a:pt x="1241" y="1241"/>
                  </a:lnTo>
                  <a:lnTo>
                    <a:pt x="1225" y="1256"/>
                  </a:lnTo>
                  <a:lnTo>
                    <a:pt x="1207" y="1277"/>
                  </a:lnTo>
                  <a:lnTo>
                    <a:pt x="1178" y="1306"/>
                  </a:lnTo>
                  <a:lnTo>
                    <a:pt x="1155" y="1320"/>
                  </a:lnTo>
                  <a:lnTo>
                    <a:pt x="1178" y="1328"/>
                  </a:lnTo>
                  <a:lnTo>
                    <a:pt x="1188" y="1317"/>
                  </a:lnTo>
                  <a:lnTo>
                    <a:pt x="1207" y="1296"/>
                  </a:lnTo>
                  <a:lnTo>
                    <a:pt x="1225" y="1286"/>
                  </a:lnTo>
                  <a:lnTo>
                    <a:pt x="1248" y="1270"/>
                  </a:lnTo>
                  <a:lnTo>
                    <a:pt x="1262" y="1270"/>
                  </a:lnTo>
                  <a:lnTo>
                    <a:pt x="1282" y="1270"/>
                  </a:lnTo>
                  <a:lnTo>
                    <a:pt x="1302" y="1278"/>
                  </a:lnTo>
                  <a:lnTo>
                    <a:pt x="1324" y="1295"/>
                  </a:lnTo>
                  <a:lnTo>
                    <a:pt x="1339" y="1286"/>
                  </a:lnTo>
                  <a:lnTo>
                    <a:pt x="1331" y="1324"/>
                  </a:lnTo>
                  <a:lnTo>
                    <a:pt x="1370" y="1313"/>
                  </a:lnTo>
                  <a:lnTo>
                    <a:pt x="1434" y="1299"/>
                  </a:lnTo>
                  <a:lnTo>
                    <a:pt x="1492" y="1304"/>
                  </a:lnTo>
                  <a:lnTo>
                    <a:pt x="1525" y="1314"/>
                  </a:lnTo>
                  <a:lnTo>
                    <a:pt x="1554" y="1317"/>
                  </a:lnTo>
                  <a:lnTo>
                    <a:pt x="1610" y="1318"/>
                  </a:lnTo>
                  <a:lnTo>
                    <a:pt x="1622" y="1307"/>
                  </a:lnTo>
                  <a:lnTo>
                    <a:pt x="1622" y="1341"/>
                  </a:lnTo>
                  <a:lnTo>
                    <a:pt x="1649" y="1370"/>
                  </a:lnTo>
                  <a:lnTo>
                    <a:pt x="1693" y="1377"/>
                  </a:lnTo>
                  <a:lnTo>
                    <a:pt x="1710" y="1371"/>
                  </a:lnTo>
                  <a:lnTo>
                    <a:pt x="1742" y="1411"/>
                  </a:lnTo>
                  <a:lnTo>
                    <a:pt x="1793" y="1459"/>
                  </a:lnTo>
                  <a:lnTo>
                    <a:pt x="1817" y="1468"/>
                  </a:lnTo>
                  <a:lnTo>
                    <a:pt x="1829" y="1447"/>
                  </a:lnTo>
                  <a:lnTo>
                    <a:pt x="1829" y="1479"/>
                  </a:lnTo>
                  <a:lnTo>
                    <a:pt x="1872" y="1532"/>
                  </a:lnTo>
                  <a:lnTo>
                    <a:pt x="1892" y="1547"/>
                  </a:lnTo>
                  <a:lnTo>
                    <a:pt x="1904" y="1581"/>
                  </a:lnTo>
                  <a:lnTo>
                    <a:pt x="1914" y="1585"/>
                  </a:lnTo>
                  <a:lnTo>
                    <a:pt x="1923" y="1554"/>
                  </a:lnTo>
                  <a:lnTo>
                    <a:pt x="1958" y="1602"/>
                  </a:lnTo>
                  <a:lnTo>
                    <a:pt x="1985" y="1658"/>
                  </a:lnTo>
                  <a:lnTo>
                    <a:pt x="2004" y="1660"/>
                  </a:lnTo>
                  <a:lnTo>
                    <a:pt x="1985" y="1613"/>
                  </a:lnTo>
                  <a:lnTo>
                    <a:pt x="1979" y="1575"/>
                  </a:lnTo>
                  <a:lnTo>
                    <a:pt x="1982" y="1564"/>
                  </a:lnTo>
                  <a:lnTo>
                    <a:pt x="1994" y="1554"/>
                  </a:lnTo>
                  <a:lnTo>
                    <a:pt x="2014" y="1532"/>
                  </a:lnTo>
                  <a:lnTo>
                    <a:pt x="2025" y="1510"/>
                  </a:lnTo>
                  <a:lnTo>
                    <a:pt x="2033" y="1503"/>
                  </a:lnTo>
                  <a:lnTo>
                    <a:pt x="2048" y="1535"/>
                  </a:lnTo>
                  <a:lnTo>
                    <a:pt x="2033" y="1554"/>
                  </a:lnTo>
                  <a:lnTo>
                    <a:pt x="2033" y="1554"/>
                  </a:lnTo>
                  <a:lnTo>
                    <a:pt x="2030" y="1560"/>
                  </a:lnTo>
                  <a:lnTo>
                    <a:pt x="2026" y="1564"/>
                  </a:lnTo>
                  <a:lnTo>
                    <a:pt x="2022" y="1567"/>
                  </a:lnTo>
                  <a:lnTo>
                    <a:pt x="2022" y="1567"/>
                  </a:lnTo>
                  <a:lnTo>
                    <a:pt x="2012" y="1574"/>
                  </a:lnTo>
                  <a:lnTo>
                    <a:pt x="2007" y="1577"/>
                  </a:lnTo>
                  <a:lnTo>
                    <a:pt x="2007" y="1577"/>
                  </a:lnTo>
                  <a:lnTo>
                    <a:pt x="2008" y="1581"/>
                  </a:lnTo>
                  <a:lnTo>
                    <a:pt x="2010" y="1592"/>
                  </a:lnTo>
                  <a:lnTo>
                    <a:pt x="2010" y="1592"/>
                  </a:lnTo>
                  <a:lnTo>
                    <a:pt x="2012" y="1603"/>
                  </a:lnTo>
                  <a:lnTo>
                    <a:pt x="2015" y="1607"/>
                  </a:lnTo>
                  <a:lnTo>
                    <a:pt x="2015" y="1607"/>
                  </a:lnTo>
                  <a:lnTo>
                    <a:pt x="2018" y="1611"/>
                  </a:lnTo>
                  <a:lnTo>
                    <a:pt x="2019" y="1615"/>
                  </a:lnTo>
                  <a:lnTo>
                    <a:pt x="2021" y="1622"/>
                  </a:lnTo>
                  <a:lnTo>
                    <a:pt x="2021" y="1622"/>
                  </a:lnTo>
                  <a:lnTo>
                    <a:pt x="2022" y="1646"/>
                  </a:lnTo>
                  <a:lnTo>
                    <a:pt x="2022" y="1646"/>
                  </a:lnTo>
                  <a:lnTo>
                    <a:pt x="2025" y="1651"/>
                  </a:lnTo>
                  <a:lnTo>
                    <a:pt x="2026" y="1657"/>
                  </a:lnTo>
                  <a:lnTo>
                    <a:pt x="2026" y="1661"/>
                  </a:lnTo>
                  <a:lnTo>
                    <a:pt x="2026" y="1661"/>
                  </a:lnTo>
                  <a:lnTo>
                    <a:pt x="2028" y="1671"/>
                  </a:lnTo>
                  <a:lnTo>
                    <a:pt x="2028" y="1676"/>
                  </a:lnTo>
                  <a:lnTo>
                    <a:pt x="2036" y="1667"/>
                  </a:lnTo>
                  <a:lnTo>
                    <a:pt x="2048" y="1656"/>
                  </a:lnTo>
                  <a:lnTo>
                    <a:pt x="2048" y="1628"/>
                  </a:lnTo>
                  <a:lnTo>
                    <a:pt x="2048" y="1618"/>
                  </a:lnTo>
                  <a:lnTo>
                    <a:pt x="2058" y="1608"/>
                  </a:lnTo>
                  <a:lnTo>
                    <a:pt x="2084" y="1613"/>
                  </a:lnTo>
                  <a:lnTo>
                    <a:pt x="2066" y="1640"/>
                  </a:lnTo>
                  <a:lnTo>
                    <a:pt x="2064" y="1654"/>
                  </a:lnTo>
                  <a:lnTo>
                    <a:pt x="2068" y="1665"/>
                  </a:lnTo>
                  <a:lnTo>
                    <a:pt x="2084" y="1685"/>
                  </a:lnTo>
                  <a:lnTo>
                    <a:pt x="2073" y="1711"/>
                  </a:lnTo>
                  <a:lnTo>
                    <a:pt x="2104" y="1701"/>
                  </a:lnTo>
                  <a:lnTo>
                    <a:pt x="2114" y="1726"/>
                  </a:lnTo>
                  <a:lnTo>
                    <a:pt x="2087" y="1733"/>
                  </a:lnTo>
                  <a:lnTo>
                    <a:pt x="2079" y="1758"/>
                  </a:lnTo>
                  <a:lnTo>
                    <a:pt x="2094" y="1758"/>
                  </a:lnTo>
                  <a:lnTo>
                    <a:pt x="2114" y="1751"/>
                  </a:lnTo>
                  <a:lnTo>
                    <a:pt x="2132" y="1778"/>
                  </a:lnTo>
                  <a:lnTo>
                    <a:pt x="2158" y="1803"/>
                  </a:lnTo>
                  <a:lnTo>
                    <a:pt x="2172" y="1804"/>
                  </a:lnTo>
                  <a:lnTo>
                    <a:pt x="2180" y="1789"/>
                  </a:lnTo>
                  <a:lnTo>
                    <a:pt x="2180" y="1764"/>
                  </a:lnTo>
                  <a:lnTo>
                    <a:pt x="2189" y="1789"/>
                  </a:lnTo>
                  <a:lnTo>
                    <a:pt x="2204" y="1785"/>
                  </a:lnTo>
                  <a:lnTo>
                    <a:pt x="2204" y="1772"/>
                  </a:lnTo>
                  <a:lnTo>
                    <a:pt x="2195" y="1740"/>
                  </a:lnTo>
                  <a:lnTo>
                    <a:pt x="2186" y="1726"/>
                  </a:lnTo>
                  <a:lnTo>
                    <a:pt x="2173" y="1713"/>
                  </a:lnTo>
                  <a:lnTo>
                    <a:pt x="2170" y="1701"/>
                  </a:lnTo>
                  <a:lnTo>
                    <a:pt x="2152" y="1682"/>
                  </a:lnTo>
                  <a:lnTo>
                    <a:pt x="2121" y="1660"/>
                  </a:lnTo>
                  <a:lnTo>
                    <a:pt x="2114" y="1654"/>
                  </a:lnTo>
                  <a:lnTo>
                    <a:pt x="2100" y="1638"/>
                  </a:lnTo>
                  <a:lnTo>
                    <a:pt x="2134" y="1636"/>
                  </a:lnTo>
                  <a:lnTo>
                    <a:pt x="2172" y="1664"/>
                  </a:lnTo>
                  <a:lnTo>
                    <a:pt x="2182" y="1679"/>
                  </a:lnTo>
                  <a:lnTo>
                    <a:pt x="2193" y="1692"/>
                  </a:lnTo>
                  <a:lnTo>
                    <a:pt x="2204" y="1715"/>
                  </a:lnTo>
                  <a:lnTo>
                    <a:pt x="2204" y="1733"/>
                  </a:lnTo>
                  <a:lnTo>
                    <a:pt x="2233" y="1740"/>
                  </a:lnTo>
                  <a:lnTo>
                    <a:pt x="2245" y="1750"/>
                  </a:lnTo>
                  <a:lnTo>
                    <a:pt x="2255" y="1749"/>
                  </a:lnTo>
                  <a:lnTo>
                    <a:pt x="2241" y="1722"/>
                  </a:lnTo>
                  <a:lnTo>
                    <a:pt x="2255" y="1715"/>
                  </a:lnTo>
                  <a:lnTo>
                    <a:pt x="2270" y="1739"/>
                  </a:lnTo>
                  <a:lnTo>
                    <a:pt x="2281" y="1753"/>
                  </a:lnTo>
                  <a:lnTo>
                    <a:pt x="2302" y="1740"/>
                  </a:lnTo>
                  <a:lnTo>
                    <a:pt x="2302" y="1701"/>
                  </a:lnTo>
                  <a:lnTo>
                    <a:pt x="2302" y="1679"/>
                  </a:lnTo>
                  <a:lnTo>
                    <a:pt x="2302" y="1661"/>
                  </a:lnTo>
                  <a:lnTo>
                    <a:pt x="2294" y="1618"/>
                  </a:lnTo>
                  <a:lnTo>
                    <a:pt x="2294" y="1604"/>
                  </a:lnTo>
                  <a:lnTo>
                    <a:pt x="2269" y="1588"/>
                  </a:lnTo>
                  <a:lnTo>
                    <a:pt x="2212" y="1567"/>
                  </a:lnTo>
                  <a:lnTo>
                    <a:pt x="2182" y="1564"/>
                  </a:lnTo>
                  <a:lnTo>
                    <a:pt x="2152" y="1561"/>
                  </a:lnTo>
                  <a:lnTo>
                    <a:pt x="2107" y="1495"/>
                  </a:lnTo>
                  <a:lnTo>
                    <a:pt x="2033" y="1420"/>
                  </a:lnTo>
                  <a:lnTo>
                    <a:pt x="1996" y="1377"/>
                  </a:lnTo>
                  <a:lnTo>
                    <a:pt x="1944" y="1327"/>
                  </a:lnTo>
                  <a:lnTo>
                    <a:pt x="1893" y="1288"/>
                  </a:lnTo>
                  <a:lnTo>
                    <a:pt x="1851" y="1271"/>
                  </a:lnTo>
                  <a:lnTo>
                    <a:pt x="1826" y="1285"/>
                  </a:lnTo>
                  <a:lnTo>
                    <a:pt x="1806" y="1307"/>
                  </a:lnTo>
                  <a:lnTo>
                    <a:pt x="1786" y="1354"/>
                  </a:lnTo>
                  <a:lnTo>
                    <a:pt x="1758" y="1379"/>
                  </a:lnTo>
                  <a:lnTo>
                    <a:pt x="1707" y="1323"/>
                  </a:lnTo>
                  <a:lnTo>
                    <a:pt x="1645" y="1282"/>
                  </a:lnTo>
                  <a:lnTo>
                    <a:pt x="1631" y="1263"/>
                  </a:lnTo>
                  <a:lnTo>
                    <a:pt x="1631" y="1246"/>
                  </a:lnTo>
                  <a:lnTo>
                    <a:pt x="1593" y="1248"/>
                  </a:lnTo>
                  <a:lnTo>
                    <a:pt x="1585" y="1274"/>
                  </a:lnTo>
                  <a:lnTo>
                    <a:pt x="1540" y="1274"/>
                  </a:lnTo>
                  <a:lnTo>
                    <a:pt x="1524" y="1248"/>
                  </a:lnTo>
                  <a:lnTo>
                    <a:pt x="1461" y="755"/>
                  </a:lnTo>
                  <a:lnTo>
                    <a:pt x="1404" y="343"/>
                  </a:lnTo>
                  <a:lnTo>
                    <a:pt x="1384" y="183"/>
                  </a:lnTo>
                  <a:close/>
                </a:path>
              </a:pathLst>
            </a:custGeom>
            <a:solidFill>
              <a:schemeClr val="accent4"/>
            </a:solid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8" name="Freeform 57"/>
            <p:cNvSpPr>
              <a:spLocks/>
            </p:cNvSpPr>
            <p:nvPr/>
          </p:nvSpPr>
          <p:spPr bwMode="auto">
            <a:xfrm>
              <a:off x="2782888" y="3762375"/>
              <a:ext cx="101600" cy="125412"/>
            </a:xfrm>
            <a:custGeom>
              <a:avLst/>
              <a:gdLst/>
              <a:ahLst/>
              <a:cxnLst>
                <a:cxn ang="0">
                  <a:pos x="0" y="236"/>
                </a:cxn>
                <a:cxn ang="0">
                  <a:pos x="44" y="236"/>
                </a:cxn>
                <a:cxn ang="0">
                  <a:pos x="51" y="215"/>
                </a:cxn>
                <a:cxn ang="0">
                  <a:pos x="51" y="207"/>
                </a:cxn>
                <a:cxn ang="0">
                  <a:pos x="61" y="189"/>
                </a:cxn>
                <a:cxn ang="0">
                  <a:pos x="76" y="169"/>
                </a:cxn>
                <a:cxn ang="0">
                  <a:pos x="82" y="160"/>
                </a:cxn>
                <a:cxn ang="0">
                  <a:pos x="85" y="155"/>
                </a:cxn>
                <a:cxn ang="0">
                  <a:pos x="98" y="176"/>
                </a:cxn>
                <a:cxn ang="0">
                  <a:pos x="112" y="165"/>
                </a:cxn>
                <a:cxn ang="0">
                  <a:pos x="112" y="160"/>
                </a:cxn>
                <a:cxn ang="0">
                  <a:pos x="112" y="143"/>
                </a:cxn>
                <a:cxn ang="0">
                  <a:pos x="125" y="132"/>
                </a:cxn>
                <a:cxn ang="0">
                  <a:pos x="129" y="132"/>
                </a:cxn>
                <a:cxn ang="0">
                  <a:pos x="146" y="125"/>
                </a:cxn>
                <a:cxn ang="0">
                  <a:pos x="154" y="125"/>
                </a:cxn>
                <a:cxn ang="0">
                  <a:pos x="165" y="117"/>
                </a:cxn>
                <a:cxn ang="0">
                  <a:pos x="165" y="108"/>
                </a:cxn>
                <a:cxn ang="0">
                  <a:pos x="147" y="79"/>
                </a:cxn>
                <a:cxn ang="0">
                  <a:pos x="140" y="79"/>
                </a:cxn>
                <a:cxn ang="0">
                  <a:pos x="136" y="79"/>
                </a:cxn>
                <a:cxn ang="0">
                  <a:pos x="136" y="64"/>
                </a:cxn>
                <a:cxn ang="0">
                  <a:pos x="137" y="58"/>
                </a:cxn>
                <a:cxn ang="0">
                  <a:pos x="157" y="44"/>
                </a:cxn>
                <a:cxn ang="0">
                  <a:pos x="165" y="44"/>
                </a:cxn>
                <a:cxn ang="0">
                  <a:pos x="191" y="39"/>
                </a:cxn>
                <a:cxn ang="0">
                  <a:pos x="161" y="14"/>
                </a:cxn>
                <a:cxn ang="0">
                  <a:pos x="143" y="0"/>
                </a:cxn>
                <a:cxn ang="0">
                  <a:pos x="123" y="14"/>
                </a:cxn>
                <a:cxn ang="0">
                  <a:pos x="104" y="35"/>
                </a:cxn>
                <a:cxn ang="0">
                  <a:pos x="105" y="44"/>
                </a:cxn>
                <a:cxn ang="0">
                  <a:pos x="111" y="60"/>
                </a:cxn>
                <a:cxn ang="0">
                  <a:pos x="112" y="69"/>
                </a:cxn>
                <a:cxn ang="0">
                  <a:pos x="112" y="76"/>
                </a:cxn>
                <a:cxn ang="0">
                  <a:pos x="105" y="83"/>
                </a:cxn>
                <a:cxn ang="0">
                  <a:pos x="96" y="87"/>
                </a:cxn>
                <a:cxn ang="0">
                  <a:pos x="78" y="76"/>
                </a:cxn>
                <a:cxn ang="0">
                  <a:pos x="61" y="79"/>
                </a:cxn>
                <a:cxn ang="0">
                  <a:pos x="72" y="99"/>
                </a:cxn>
                <a:cxn ang="0">
                  <a:pos x="76" y="118"/>
                </a:cxn>
                <a:cxn ang="0">
                  <a:pos x="75" y="139"/>
                </a:cxn>
                <a:cxn ang="0">
                  <a:pos x="65" y="118"/>
                </a:cxn>
                <a:cxn ang="0">
                  <a:pos x="51" y="103"/>
                </a:cxn>
                <a:cxn ang="0">
                  <a:pos x="43" y="99"/>
                </a:cxn>
                <a:cxn ang="0">
                  <a:pos x="28" y="110"/>
                </a:cxn>
                <a:cxn ang="0">
                  <a:pos x="25" y="118"/>
                </a:cxn>
                <a:cxn ang="0">
                  <a:pos x="11" y="129"/>
                </a:cxn>
                <a:cxn ang="0">
                  <a:pos x="14" y="164"/>
                </a:cxn>
                <a:cxn ang="0">
                  <a:pos x="19" y="169"/>
                </a:cxn>
                <a:cxn ang="0">
                  <a:pos x="26" y="176"/>
                </a:cxn>
                <a:cxn ang="0">
                  <a:pos x="33" y="182"/>
                </a:cxn>
                <a:cxn ang="0">
                  <a:pos x="43" y="186"/>
                </a:cxn>
                <a:cxn ang="0">
                  <a:pos x="44" y="200"/>
                </a:cxn>
                <a:cxn ang="0">
                  <a:pos x="42" y="214"/>
                </a:cxn>
                <a:cxn ang="0">
                  <a:pos x="35" y="223"/>
                </a:cxn>
                <a:cxn ang="0">
                  <a:pos x="0" y="236"/>
                </a:cxn>
              </a:cxnLst>
              <a:rect l="0" t="0" r="r" b="b"/>
              <a:pathLst>
                <a:path w="191" h="236">
                  <a:moveTo>
                    <a:pt x="0" y="236"/>
                  </a:moveTo>
                  <a:lnTo>
                    <a:pt x="44" y="236"/>
                  </a:lnTo>
                  <a:lnTo>
                    <a:pt x="51" y="215"/>
                  </a:lnTo>
                  <a:lnTo>
                    <a:pt x="51" y="207"/>
                  </a:lnTo>
                  <a:lnTo>
                    <a:pt x="61" y="189"/>
                  </a:lnTo>
                  <a:lnTo>
                    <a:pt x="76" y="169"/>
                  </a:lnTo>
                  <a:lnTo>
                    <a:pt x="82" y="160"/>
                  </a:lnTo>
                  <a:lnTo>
                    <a:pt x="85" y="155"/>
                  </a:lnTo>
                  <a:lnTo>
                    <a:pt x="98" y="176"/>
                  </a:lnTo>
                  <a:lnTo>
                    <a:pt x="112" y="165"/>
                  </a:lnTo>
                  <a:lnTo>
                    <a:pt x="112" y="160"/>
                  </a:lnTo>
                  <a:lnTo>
                    <a:pt x="112" y="143"/>
                  </a:lnTo>
                  <a:lnTo>
                    <a:pt x="125" y="132"/>
                  </a:lnTo>
                  <a:lnTo>
                    <a:pt x="129" y="132"/>
                  </a:lnTo>
                  <a:lnTo>
                    <a:pt x="146" y="125"/>
                  </a:lnTo>
                  <a:lnTo>
                    <a:pt x="154" y="125"/>
                  </a:lnTo>
                  <a:lnTo>
                    <a:pt x="165" y="117"/>
                  </a:lnTo>
                  <a:lnTo>
                    <a:pt x="165" y="108"/>
                  </a:lnTo>
                  <a:lnTo>
                    <a:pt x="147" y="79"/>
                  </a:lnTo>
                  <a:lnTo>
                    <a:pt x="140" y="79"/>
                  </a:lnTo>
                  <a:lnTo>
                    <a:pt x="136" y="79"/>
                  </a:lnTo>
                  <a:lnTo>
                    <a:pt x="136" y="64"/>
                  </a:lnTo>
                  <a:lnTo>
                    <a:pt x="137" y="58"/>
                  </a:lnTo>
                  <a:lnTo>
                    <a:pt x="157" y="44"/>
                  </a:lnTo>
                  <a:lnTo>
                    <a:pt x="165" y="44"/>
                  </a:lnTo>
                  <a:lnTo>
                    <a:pt x="191" y="39"/>
                  </a:lnTo>
                  <a:lnTo>
                    <a:pt x="161" y="14"/>
                  </a:lnTo>
                  <a:lnTo>
                    <a:pt x="143" y="0"/>
                  </a:lnTo>
                  <a:lnTo>
                    <a:pt x="123" y="14"/>
                  </a:lnTo>
                  <a:lnTo>
                    <a:pt x="104" y="35"/>
                  </a:lnTo>
                  <a:lnTo>
                    <a:pt x="105" y="44"/>
                  </a:lnTo>
                  <a:lnTo>
                    <a:pt x="111" y="60"/>
                  </a:lnTo>
                  <a:lnTo>
                    <a:pt x="112" y="69"/>
                  </a:lnTo>
                  <a:lnTo>
                    <a:pt x="112" y="76"/>
                  </a:lnTo>
                  <a:lnTo>
                    <a:pt x="105" y="83"/>
                  </a:lnTo>
                  <a:lnTo>
                    <a:pt x="96" y="87"/>
                  </a:lnTo>
                  <a:lnTo>
                    <a:pt x="78" y="76"/>
                  </a:lnTo>
                  <a:lnTo>
                    <a:pt x="61" y="79"/>
                  </a:lnTo>
                  <a:lnTo>
                    <a:pt x="72" y="99"/>
                  </a:lnTo>
                  <a:lnTo>
                    <a:pt x="76" y="118"/>
                  </a:lnTo>
                  <a:lnTo>
                    <a:pt x="75" y="139"/>
                  </a:lnTo>
                  <a:lnTo>
                    <a:pt x="65" y="118"/>
                  </a:lnTo>
                  <a:lnTo>
                    <a:pt x="51" y="103"/>
                  </a:lnTo>
                  <a:lnTo>
                    <a:pt x="43" y="99"/>
                  </a:lnTo>
                  <a:lnTo>
                    <a:pt x="28" y="110"/>
                  </a:lnTo>
                  <a:lnTo>
                    <a:pt x="25" y="118"/>
                  </a:lnTo>
                  <a:lnTo>
                    <a:pt x="11" y="129"/>
                  </a:lnTo>
                  <a:lnTo>
                    <a:pt x="14" y="164"/>
                  </a:lnTo>
                  <a:lnTo>
                    <a:pt x="19" y="169"/>
                  </a:lnTo>
                  <a:lnTo>
                    <a:pt x="26" y="176"/>
                  </a:lnTo>
                  <a:lnTo>
                    <a:pt x="33" y="182"/>
                  </a:lnTo>
                  <a:lnTo>
                    <a:pt x="43" y="186"/>
                  </a:lnTo>
                  <a:lnTo>
                    <a:pt x="44" y="200"/>
                  </a:lnTo>
                  <a:lnTo>
                    <a:pt x="42" y="214"/>
                  </a:lnTo>
                  <a:lnTo>
                    <a:pt x="35" y="223"/>
                  </a:lnTo>
                  <a:lnTo>
                    <a:pt x="0" y="236"/>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59" name="Freeform 58"/>
            <p:cNvSpPr>
              <a:spLocks/>
            </p:cNvSpPr>
            <p:nvPr/>
          </p:nvSpPr>
          <p:spPr bwMode="auto">
            <a:xfrm>
              <a:off x="2419350" y="3582988"/>
              <a:ext cx="46037" cy="38100"/>
            </a:xfrm>
            <a:custGeom>
              <a:avLst/>
              <a:gdLst/>
              <a:ahLst/>
              <a:cxnLst>
                <a:cxn ang="0">
                  <a:pos x="0" y="29"/>
                </a:cxn>
                <a:cxn ang="0">
                  <a:pos x="24" y="52"/>
                </a:cxn>
                <a:cxn ang="0">
                  <a:pos x="49" y="70"/>
                </a:cxn>
                <a:cxn ang="0">
                  <a:pos x="64" y="70"/>
                </a:cxn>
                <a:cxn ang="0">
                  <a:pos x="78" y="70"/>
                </a:cxn>
                <a:cxn ang="0">
                  <a:pos x="86" y="50"/>
                </a:cxn>
                <a:cxn ang="0">
                  <a:pos x="86" y="39"/>
                </a:cxn>
                <a:cxn ang="0">
                  <a:pos x="67" y="0"/>
                </a:cxn>
                <a:cxn ang="0">
                  <a:pos x="57" y="0"/>
                </a:cxn>
                <a:cxn ang="0">
                  <a:pos x="43" y="11"/>
                </a:cxn>
                <a:cxn ang="0">
                  <a:pos x="24" y="11"/>
                </a:cxn>
                <a:cxn ang="0">
                  <a:pos x="0" y="29"/>
                </a:cxn>
              </a:cxnLst>
              <a:rect l="0" t="0" r="r" b="b"/>
              <a:pathLst>
                <a:path w="86" h="70">
                  <a:moveTo>
                    <a:pt x="0" y="29"/>
                  </a:moveTo>
                  <a:lnTo>
                    <a:pt x="24" y="52"/>
                  </a:lnTo>
                  <a:lnTo>
                    <a:pt x="49" y="70"/>
                  </a:lnTo>
                  <a:lnTo>
                    <a:pt x="64" y="70"/>
                  </a:lnTo>
                  <a:lnTo>
                    <a:pt x="78" y="70"/>
                  </a:lnTo>
                  <a:lnTo>
                    <a:pt x="86" y="50"/>
                  </a:lnTo>
                  <a:lnTo>
                    <a:pt x="86" y="39"/>
                  </a:lnTo>
                  <a:lnTo>
                    <a:pt x="67" y="0"/>
                  </a:lnTo>
                  <a:lnTo>
                    <a:pt x="57" y="0"/>
                  </a:lnTo>
                  <a:lnTo>
                    <a:pt x="43" y="11"/>
                  </a:lnTo>
                  <a:lnTo>
                    <a:pt x="24" y="11"/>
                  </a:lnTo>
                  <a:lnTo>
                    <a:pt x="0" y="29"/>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60" name="Freeform 59"/>
            <p:cNvSpPr>
              <a:spLocks/>
            </p:cNvSpPr>
            <p:nvPr/>
          </p:nvSpPr>
          <p:spPr bwMode="auto">
            <a:xfrm>
              <a:off x="2359025" y="3336925"/>
              <a:ext cx="73025" cy="68262"/>
            </a:xfrm>
            <a:custGeom>
              <a:avLst/>
              <a:gdLst/>
              <a:ahLst/>
              <a:cxnLst>
                <a:cxn ang="0">
                  <a:pos x="101" y="118"/>
                </a:cxn>
                <a:cxn ang="0">
                  <a:pos x="126" y="118"/>
                </a:cxn>
                <a:cxn ang="0">
                  <a:pos x="139" y="118"/>
                </a:cxn>
                <a:cxn ang="0">
                  <a:pos x="119" y="85"/>
                </a:cxn>
                <a:cxn ang="0">
                  <a:pos x="101" y="67"/>
                </a:cxn>
                <a:cxn ang="0">
                  <a:pos x="87" y="55"/>
                </a:cxn>
                <a:cxn ang="0">
                  <a:pos x="87" y="43"/>
                </a:cxn>
                <a:cxn ang="0">
                  <a:pos x="77" y="35"/>
                </a:cxn>
                <a:cxn ang="0">
                  <a:pos x="51" y="35"/>
                </a:cxn>
                <a:cxn ang="0">
                  <a:pos x="26" y="26"/>
                </a:cxn>
                <a:cxn ang="0">
                  <a:pos x="19" y="17"/>
                </a:cxn>
                <a:cxn ang="0">
                  <a:pos x="14" y="0"/>
                </a:cxn>
                <a:cxn ang="0">
                  <a:pos x="1" y="18"/>
                </a:cxn>
                <a:cxn ang="0">
                  <a:pos x="1" y="18"/>
                </a:cxn>
                <a:cxn ang="0">
                  <a:pos x="0" y="26"/>
                </a:cxn>
                <a:cxn ang="0">
                  <a:pos x="0" y="32"/>
                </a:cxn>
                <a:cxn ang="0">
                  <a:pos x="1" y="35"/>
                </a:cxn>
                <a:cxn ang="0">
                  <a:pos x="1" y="35"/>
                </a:cxn>
                <a:cxn ang="0">
                  <a:pos x="4" y="40"/>
                </a:cxn>
                <a:cxn ang="0">
                  <a:pos x="5" y="47"/>
                </a:cxn>
                <a:cxn ang="0">
                  <a:pos x="5" y="47"/>
                </a:cxn>
                <a:cxn ang="0">
                  <a:pos x="8" y="54"/>
                </a:cxn>
                <a:cxn ang="0">
                  <a:pos x="8" y="54"/>
                </a:cxn>
                <a:cxn ang="0">
                  <a:pos x="9" y="57"/>
                </a:cxn>
                <a:cxn ang="0">
                  <a:pos x="9" y="57"/>
                </a:cxn>
                <a:cxn ang="0">
                  <a:pos x="5" y="58"/>
                </a:cxn>
                <a:cxn ang="0">
                  <a:pos x="5" y="58"/>
                </a:cxn>
                <a:cxn ang="0">
                  <a:pos x="7" y="58"/>
                </a:cxn>
                <a:cxn ang="0">
                  <a:pos x="14" y="60"/>
                </a:cxn>
                <a:cxn ang="0">
                  <a:pos x="14" y="60"/>
                </a:cxn>
                <a:cxn ang="0">
                  <a:pos x="29" y="61"/>
                </a:cxn>
                <a:cxn ang="0">
                  <a:pos x="29" y="61"/>
                </a:cxn>
                <a:cxn ang="0">
                  <a:pos x="30" y="60"/>
                </a:cxn>
                <a:cxn ang="0">
                  <a:pos x="30" y="60"/>
                </a:cxn>
                <a:cxn ang="0">
                  <a:pos x="33" y="60"/>
                </a:cxn>
                <a:cxn ang="0">
                  <a:pos x="33" y="60"/>
                </a:cxn>
                <a:cxn ang="0">
                  <a:pos x="44" y="62"/>
                </a:cxn>
                <a:cxn ang="0">
                  <a:pos x="50" y="62"/>
                </a:cxn>
                <a:cxn ang="0">
                  <a:pos x="53" y="62"/>
                </a:cxn>
                <a:cxn ang="0">
                  <a:pos x="61" y="69"/>
                </a:cxn>
                <a:cxn ang="0">
                  <a:pos x="66" y="79"/>
                </a:cxn>
                <a:cxn ang="0">
                  <a:pos x="75" y="108"/>
                </a:cxn>
                <a:cxn ang="0">
                  <a:pos x="93" y="128"/>
                </a:cxn>
                <a:cxn ang="0">
                  <a:pos x="101" y="118"/>
                </a:cxn>
              </a:cxnLst>
              <a:rect l="0" t="0" r="r" b="b"/>
              <a:pathLst>
                <a:path w="139" h="128">
                  <a:moveTo>
                    <a:pt x="101" y="118"/>
                  </a:moveTo>
                  <a:lnTo>
                    <a:pt x="126" y="118"/>
                  </a:lnTo>
                  <a:lnTo>
                    <a:pt x="139" y="118"/>
                  </a:lnTo>
                  <a:lnTo>
                    <a:pt x="119" y="85"/>
                  </a:lnTo>
                  <a:lnTo>
                    <a:pt x="101" y="67"/>
                  </a:lnTo>
                  <a:lnTo>
                    <a:pt x="87" y="55"/>
                  </a:lnTo>
                  <a:lnTo>
                    <a:pt x="87" y="43"/>
                  </a:lnTo>
                  <a:lnTo>
                    <a:pt x="77" y="35"/>
                  </a:lnTo>
                  <a:lnTo>
                    <a:pt x="51" y="35"/>
                  </a:lnTo>
                  <a:lnTo>
                    <a:pt x="26" y="26"/>
                  </a:lnTo>
                  <a:lnTo>
                    <a:pt x="19" y="17"/>
                  </a:lnTo>
                  <a:lnTo>
                    <a:pt x="14" y="0"/>
                  </a:lnTo>
                  <a:lnTo>
                    <a:pt x="1" y="18"/>
                  </a:lnTo>
                  <a:lnTo>
                    <a:pt x="1" y="18"/>
                  </a:lnTo>
                  <a:lnTo>
                    <a:pt x="0" y="26"/>
                  </a:lnTo>
                  <a:lnTo>
                    <a:pt x="0" y="32"/>
                  </a:lnTo>
                  <a:lnTo>
                    <a:pt x="1" y="35"/>
                  </a:lnTo>
                  <a:lnTo>
                    <a:pt x="1" y="35"/>
                  </a:lnTo>
                  <a:lnTo>
                    <a:pt x="4" y="40"/>
                  </a:lnTo>
                  <a:lnTo>
                    <a:pt x="5" y="47"/>
                  </a:lnTo>
                  <a:lnTo>
                    <a:pt x="5" y="47"/>
                  </a:lnTo>
                  <a:lnTo>
                    <a:pt x="8" y="54"/>
                  </a:lnTo>
                  <a:lnTo>
                    <a:pt x="8" y="54"/>
                  </a:lnTo>
                  <a:lnTo>
                    <a:pt x="9" y="57"/>
                  </a:lnTo>
                  <a:lnTo>
                    <a:pt x="9" y="57"/>
                  </a:lnTo>
                  <a:lnTo>
                    <a:pt x="5" y="58"/>
                  </a:lnTo>
                  <a:lnTo>
                    <a:pt x="5" y="58"/>
                  </a:lnTo>
                  <a:lnTo>
                    <a:pt x="7" y="58"/>
                  </a:lnTo>
                  <a:lnTo>
                    <a:pt x="14" y="60"/>
                  </a:lnTo>
                  <a:lnTo>
                    <a:pt x="14" y="60"/>
                  </a:lnTo>
                  <a:lnTo>
                    <a:pt x="29" y="61"/>
                  </a:lnTo>
                  <a:lnTo>
                    <a:pt x="29" y="61"/>
                  </a:lnTo>
                  <a:lnTo>
                    <a:pt x="30" y="60"/>
                  </a:lnTo>
                  <a:lnTo>
                    <a:pt x="30" y="60"/>
                  </a:lnTo>
                  <a:lnTo>
                    <a:pt x="33" y="60"/>
                  </a:lnTo>
                  <a:lnTo>
                    <a:pt x="33" y="60"/>
                  </a:lnTo>
                  <a:lnTo>
                    <a:pt x="44" y="62"/>
                  </a:lnTo>
                  <a:lnTo>
                    <a:pt x="50" y="62"/>
                  </a:lnTo>
                  <a:lnTo>
                    <a:pt x="53" y="62"/>
                  </a:lnTo>
                  <a:lnTo>
                    <a:pt x="61" y="69"/>
                  </a:lnTo>
                  <a:lnTo>
                    <a:pt x="66" y="79"/>
                  </a:lnTo>
                  <a:lnTo>
                    <a:pt x="75" y="108"/>
                  </a:lnTo>
                  <a:lnTo>
                    <a:pt x="93" y="128"/>
                  </a:lnTo>
                  <a:lnTo>
                    <a:pt x="101" y="118"/>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61" name="Freeform 60"/>
            <p:cNvSpPr>
              <a:spLocks/>
            </p:cNvSpPr>
            <p:nvPr/>
          </p:nvSpPr>
          <p:spPr bwMode="auto">
            <a:xfrm>
              <a:off x="3822700" y="3432175"/>
              <a:ext cx="63500" cy="49212"/>
            </a:xfrm>
            <a:custGeom>
              <a:avLst/>
              <a:gdLst/>
              <a:ahLst/>
              <a:cxnLst>
                <a:cxn ang="0">
                  <a:pos x="0" y="56"/>
                </a:cxn>
                <a:cxn ang="0">
                  <a:pos x="26" y="73"/>
                </a:cxn>
                <a:cxn ang="0">
                  <a:pos x="34" y="73"/>
                </a:cxn>
                <a:cxn ang="0">
                  <a:pos x="59" y="92"/>
                </a:cxn>
                <a:cxn ang="0">
                  <a:pos x="70" y="92"/>
                </a:cxn>
                <a:cxn ang="0">
                  <a:pos x="83" y="92"/>
                </a:cxn>
                <a:cxn ang="0">
                  <a:pos x="98" y="92"/>
                </a:cxn>
                <a:cxn ang="0">
                  <a:pos x="109" y="74"/>
                </a:cxn>
                <a:cxn ang="0">
                  <a:pos x="109" y="66"/>
                </a:cxn>
                <a:cxn ang="0">
                  <a:pos x="120" y="56"/>
                </a:cxn>
                <a:cxn ang="0">
                  <a:pos x="120" y="36"/>
                </a:cxn>
                <a:cxn ang="0">
                  <a:pos x="120" y="30"/>
                </a:cxn>
                <a:cxn ang="0">
                  <a:pos x="102" y="0"/>
                </a:cxn>
                <a:cxn ang="0">
                  <a:pos x="83" y="0"/>
                </a:cxn>
                <a:cxn ang="0">
                  <a:pos x="44" y="0"/>
                </a:cxn>
                <a:cxn ang="0">
                  <a:pos x="29" y="0"/>
                </a:cxn>
                <a:cxn ang="0">
                  <a:pos x="0" y="14"/>
                </a:cxn>
                <a:cxn ang="0">
                  <a:pos x="0" y="25"/>
                </a:cxn>
                <a:cxn ang="0">
                  <a:pos x="0" y="56"/>
                </a:cxn>
              </a:cxnLst>
              <a:rect l="0" t="0" r="r" b="b"/>
              <a:pathLst>
                <a:path w="120" h="92">
                  <a:moveTo>
                    <a:pt x="0" y="56"/>
                  </a:moveTo>
                  <a:lnTo>
                    <a:pt x="26" y="73"/>
                  </a:lnTo>
                  <a:lnTo>
                    <a:pt x="34" y="73"/>
                  </a:lnTo>
                  <a:lnTo>
                    <a:pt x="59" y="92"/>
                  </a:lnTo>
                  <a:lnTo>
                    <a:pt x="70" y="92"/>
                  </a:lnTo>
                  <a:lnTo>
                    <a:pt x="83" y="92"/>
                  </a:lnTo>
                  <a:lnTo>
                    <a:pt x="98" y="92"/>
                  </a:lnTo>
                  <a:lnTo>
                    <a:pt x="109" y="74"/>
                  </a:lnTo>
                  <a:lnTo>
                    <a:pt x="109" y="66"/>
                  </a:lnTo>
                  <a:lnTo>
                    <a:pt x="120" y="56"/>
                  </a:lnTo>
                  <a:lnTo>
                    <a:pt x="120" y="36"/>
                  </a:lnTo>
                  <a:lnTo>
                    <a:pt x="120" y="30"/>
                  </a:lnTo>
                  <a:lnTo>
                    <a:pt x="102" y="0"/>
                  </a:lnTo>
                  <a:lnTo>
                    <a:pt x="83" y="0"/>
                  </a:lnTo>
                  <a:lnTo>
                    <a:pt x="44" y="0"/>
                  </a:lnTo>
                  <a:lnTo>
                    <a:pt x="29" y="0"/>
                  </a:lnTo>
                  <a:lnTo>
                    <a:pt x="0" y="14"/>
                  </a:lnTo>
                  <a:lnTo>
                    <a:pt x="0" y="25"/>
                  </a:lnTo>
                  <a:lnTo>
                    <a:pt x="0" y="56"/>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62" name="Freeform 61"/>
            <p:cNvSpPr>
              <a:spLocks/>
            </p:cNvSpPr>
            <p:nvPr/>
          </p:nvSpPr>
          <p:spPr bwMode="auto">
            <a:xfrm>
              <a:off x="3738563" y="3460750"/>
              <a:ext cx="22225" cy="34925"/>
            </a:xfrm>
            <a:custGeom>
              <a:avLst/>
              <a:gdLst/>
              <a:ahLst/>
              <a:cxnLst>
                <a:cxn ang="0">
                  <a:pos x="25" y="68"/>
                </a:cxn>
                <a:cxn ang="0">
                  <a:pos x="25" y="51"/>
                </a:cxn>
                <a:cxn ang="0">
                  <a:pos x="33" y="39"/>
                </a:cxn>
                <a:cxn ang="0">
                  <a:pos x="44" y="27"/>
                </a:cxn>
                <a:cxn ang="0">
                  <a:pos x="44" y="13"/>
                </a:cxn>
                <a:cxn ang="0">
                  <a:pos x="44" y="0"/>
                </a:cxn>
                <a:cxn ang="0">
                  <a:pos x="25" y="14"/>
                </a:cxn>
                <a:cxn ang="0">
                  <a:pos x="0" y="39"/>
                </a:cxn>
                <a:cxn ang="0">
                  <a:pos x="0" y="51"/>
                </a:cxn>
                <a:cxn ang="0">
                  <a:pos x="0" y="63"/>
                </a:cxn>
                <a:cxn ang="0">
                  <a:pos x="25" y="68"/>
                </a:cxn>
              </a:cxnLst>
              <a:rect l="0" t="0" r="r" b="b"/>
              <a:pathLst>
                <a:path w="44" h="68">
                  <a:moveTo>
                    <a:pt x="25" y="68"/>
                  </a:moveTo>
                  <a:lnTo>
                    <a:pt x="25" y="51"/>
                  </a:lnTo>
                  <a:lnTo>
                    <a:pt x="33" y="39"/>
                  </a:lnTo>
                  <a:lnTo>
                    <a:pt x="44" y="27"/>
                  </a:lnTo>
                  <a:lnTo>
                    <a:pt x="44" y="13"/>
                  </a:lnTo>
                  <a:lnTo>
                    <a:pt x="44" y="0"/>
                  </a:lnTo>
                  <a:lnTo>
                    <a:pt x="25" y="14"/>
                  </a:lnTo>
                  <a:lnTo>
                    <a:pt x="0" y="39"/>
                  </a:lnTo>
                  <a:lnTo>
                    <a:pt x="0" y="51"/>
                  </a:lnTo>
                  <a:lnTo>
                    <a:pt x="0" y="63"/>
                  </a:lnTo>
                  <a:lnTo>
                    <a:pt x="25" y="68"/>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63" name="Freeform 62"/>
            <p:cNvSpPr>
              <a:spLocks/>
            </p:cNvSpPr>
            <p:nvPr/>
          </p:nvSpPr>
          <p:spPr bwMode="auto">
            <a:xfrm>
              <a:off x="4021138" y="3516313"/>
              <a:ext cx="77787" cy="58737"/>
            </a:xfrm>
            <a:custGeom>
              <a:avLst/>
              <a:gdLst/>
              <a:ahLst/>
              <a:cxnLst>
                <a:cxn ang="0">
                  <a:pos x="0" y="21"/>
                </a:cxn>
                <a:cxn ang="0">
                  <a:pos x="17" y="21"/>
                </a:cxn>
                <a:cxn ang="0">
                  <a:pos x="32" y="21"/>
                </a:cxn>
                <a:cxn ang="0">
                  <a:pos x="32" y="8"/>
                </a:cxn>
                <a:cxn ang="0">
                  <a:pos x="54" y="0"/>
                </a:cxn>
                <a:cxn ang="0">
                  <a:pos x="74" y="0"/>
                </a:cxn>
                <a:cxn ang="0">
                  <a:pos x="85" y="0"/>
                </a:cxn>
                <a:cxn ang="0">
                  <a:pos x="96" y="10"/>
                </a:cxn>
                <a:cxn ang="0">
                  <a:pos x="106" y="21"/>
                </a:cxn>
                <a:cxn ang="0">
                  <a:pos x="118" y="44"/>
                </a:cxn>
                <a:cxn ang="0">
                  <a:pos x="136" y="44"/>
                </a:cxn>
                <a:cxn ang="0">
                  <a:pos x="149" y="74"/>
                </a:cxn>
                <a:cxn ang="0">
                  <a:pos x="149" y="96"/>
                </a:cxn>
                <a:cxn ang="0">
                  <a:pos x="149" y="111"/>
                </a:cxn>
                <a:cxn ang="0">
                  <a:pos x="131" y="111"/>
                </a:cxn>
                <a:cxn ang="0">
                  <a:pos x="115" y="94"/>
                </a:cxn>
                <a:cxn ang="0">
                  <a:pos x="101" y="82"/>
                </a:cxn>
                <a:cxn ang="0">
                  <a:pos x="74" y="94"/>
                </a:cxn>
                <a:cxn ang="0">
                  <a:pos x="57" y="103"/>
                </a:cxn>
                <a:cxn ang="0">
                  <a:pos x="38" y="89"/>
                </a:cxn>
                <a:cxn ang="0">
                  <a:pos x="27" y="76"/>
                </a:cxn>
                <a:cxn ang="0">
                  <a:pos x="0" y="56"/>
                </a:cxn>
                <a:cxn ang="0">
                  <a:pos x="0" y="43"/>
                </a:cxn>
                <a:cxn ang="0">
                  <a:pos x="0" y="21"/>
                </a:cxn>
              </a:cxnLst>
              <a:rect l="0" t="0" r="r" b="b"/>
              <a:pathLst>
                <a:path w="149" h="111">
                  <a:moveTo>
                    <a:pt x="0" y="21"/>
                  </a:moveTo>
                  <a:lnTo>
                    <a:pt x="17" y="21"/>
                  </a:lnTo>
                  <a:lnTo>
                    <a:pt x="32" y="21"/>
                  </a:lnTo>
                  <a:lnTo>
                    <a:pt x="32" y="8"/>
                  </a:lnTo>
                  <a:lnTo>
                    <a:pt x="54" y="0"/>
                  </a:lnTo>
                  <a:lnTo>
                    <a:pt x="74" y="0"/>
                  </a:lnTo>
                  <a:lnTo>
                    <a:pt x="85" y="0"/>
                  </a:lnTo>
                  <a:lnTo>
                    <a:pt x="96" y="10"/>
                  </a:lnTo>
                  <a:lnTo>
                    <a:pt x="106" y="21"/>
                  </a:lnTo>
                  <a:lnTo>
                    <a:pt x="118" y="44"/>
                  </a:lnTo>
                  <a:lnTo>
                    <a:pt x="136" y="44"/>
                  </a:lnTo>
                  <a:lnTo>
                    <a:pt x="149" y="74"/>
                  </a:lnTo>
                  <a:lnTo>
                    <a:pt x="149" y="96"/>
                  </a:lnTo>
                  <a:lnTo>
                    <a:pt x="149" y="111"/>
                  </a:lnTo>
                  <a:lnTo>
                    <a:pt x="131" y="111"/>
                  </a:lnTo>
                  <a:lnTo>
                    <a:pt x="115" y="94"/>
                  </a:lnTo>
                  <a:lnTo>
                    <a:pt x="101" y="82"/>
                  </a:lnTo>
                  <a:lnTo>
                    <a:pt x="74" y="94"/>
                  </a:lnTo>
                  <a:lnTo>
                    <a:pt x="57" y="103"/>
                  </a:lnTo>
                  <a:lnTo>
                    <a:pt x="38" y="89"/>
                  </a:lnTo>
                  <a:lnTo>
                    <a:pt x="27" y="76"/>
                  </a:lnTo>
                  <a:lnTo>
                    <a:pt x="0" y="56"/>
                  </a:lnTo>
                  <a:lnTo>
                    <a:pt x="0" y="43"/>
                  </a:lnTo>
                  <a:lnTo>
                    <a:pt x="0" y="21"/>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64" name="Freeform 63"/>
            <p:cNvSpPr>
              <a:spLocks/>
            </p:cNvSpPr>
            <p:nvPr/>
          </p:nvSpPr>
          <p:spPr bwMode="auto">
            <a:xfrm>
              <a:off x="4165600" y="3589338"/>
              <a:ext cx="74612" cy="22225"/>
            </a:xfrm>
            <a:custGeom>
              <a:avLst/>
              <a:gdLst/>
              <a:ahLst/>
              <a:cxnLst>
                <a:cxn ang="0">
                  <a:pos x="22" y="33"/>
                </a:cxn>
                <a:cxn ang="0">
                  <a:pos x="36" y="33"/>
                </a:cxn>
                <a:cxn ang="0">
                  <a:pos x="52" y="33"/>
                </a:cxn>
                <a:cxn ang="0">
                  <a:pos x="62" y="33"/>
                </a:cxn>
                <a:cxn ang="0">
                  <a:pos x="77" y="33"/>
                </a:cxn>
                <a:cxn ang="0">
                  <a:pos x="88" y="33"/>
                </a:cxn>
                <a:cxn ang="0">
                  <a:pos x="99" y="33"/>
                </a:cxn>
                <a:cxn ang="0">
                  <a:pos x="99" y="43"/>
                </a:cxn>
                <a:cxn ang="0">
                  <a:pos x="111" y="38"/>
                </a:cxn>
                <a:cxn ang="0">
                  <a:pos x="140" y="19"/>
                </a:cxn>
                <a:cxn ang="0">
                  <a:pos x="80" y="19"/>
                </a:cxn>
                <a:cxn ang="0">
                  <a:pos x="68" y="0"/>
                </a:cxn>
                <a:cxn ang="0">
                  <a:pos x="47" y="0"/>
                </a:cxn>
                <a:cxn ang="0">
                  <a:pos x="7" y="0"/>
                </a:cxn>
                <a:cxn ang="0">
                  <a:pos x="0" y="0"/>
                </a:cxn>
                <a:cxn ang="0">
                  <a:pos x="0" y="11"/>
                </a:cxn>
                <a:cxn ang="0">
                  <a:pos x="0" y="21"/>
                </a:cxn>
                <a:cxn ang="0">
                  <a:pos x="0" y="29"/>
                </a:cxn>
                <a:cxn ang="0">
                  <a:pos x="22" y="33"/>
                </a:cxn>
              </a:cxnLst>
              <a:rect l="0" t="0" r="r" b="b"/>
              <a:pathLst>
                <a:path w="140" h="43">
                  <a:moveTo>
                    <a:pt x="22" y="33"/>
                  </a:moveTo>
                  <a:lnTo>
                    <a:pt x="36" y="33"/>
                  </a:lnTo>
                  <a:lnTo>
                    <a:pt x="52" y="33"/>
                  </a:lnTo>
                  <a:lnTo>
                    <a:pt x="62" y="33"/>
                  </a:lnTo>
                  <a:lnTo>
                    <a:pt x="77" y="33"/>
                  </a:lnTo>
                  <a:lnTo>
                    <a:pt x="88" y="33"/>
                  </a:lnTo>
                  <a:lnTo>
                    <a:pt x="99" y="33"/>
                  </a:lnTo>
                  <a:lnTo>
                    <a:pt x="99" y="43"/>
                  </a:lnTo>
                  <a:lnTo>
                    <a:pt x="111" y="38"/>
                  </a:lnTo>
                  <a:lnTo>
                    <a:pt x="140" y="19"/>
                  </a:lnTo>
                  <a:lnTo>
                    <a:pt x="80" y="19"/>
                  </a:lnTo>
                  <a:lnTo>
                    <a:pt x="68" y="0"/>
                  </a:lnTo>
                  <a:lnTo>
                    <a:pt x="47" y="0"/>
                  </a:lnTo>
                  <a:lnTo>
                    <a:pt x="7" y="0"/>
                  </a:lnTo>
                  <a:lnTo>
                    <a:pt x="0" y="0"/>
                  </a:lnTo>
                  <a:lnTo>
                    <a:pt x="0" y="11"/>
                  </a:lnTo>
                  <a:lnTo>
                    <a:pt x="0" y="21"/>
                  </a:lnTo>
                  <a:lnTo>
                    <a:pt x="0" y="29"/>
                  </a:lnTo>
                  <a:lnTo>
                    <a:pt x="22" y="33"/>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65" name="Freeform 64"/>
            <p:cNvSpPr>
              <a:spLocks/>
            </p:cNvSpPr>
            <p:nvPr/>
          </p:nvSpPr>
          <p:spPr bwMode="auto">
            <a:xfrm>
              <a:off x="4195763" y="3625850"/>
              <a:ext cx="25400" cy="30162"/>
            </a:xfrm>
            <a:custGeom>
              <a:avLst/>
              <a:gdLst/>
              <a:ahLst/>
              <a:cxnLst>
                <a:cxn ang="0">
                  <a:pos x="28" y="57"/>
                </a:cxn>
                <a:cxn ang="0">
                  <a:pos x="48" y="43"/>
                </a:cxn>
                <a:cxn ang="0">
                  <a:pos x="48" y="31"/>
                </a:cxn>
                <a:cxn ang="0">
                  <a:pos x="38" y="16"/>
                </a:cxn>
                <a:cxn ang="0">
                  <a:pos x="28" y="0"/>
                </a:cxn>
                <a:cxn ang="0">
                  <a:pos x="13" y="0"/>
                </a:cxn>
                <a:cxn ang="0">
                  <a:pos x="0" y="0"/>
                </a:cxn>
                <a:cxn ang="0">
                  <a:pos x="0" y="7"/>
                </a:cxn>
                <a:cxn ang="0">
                  <a:pos x="0" y="17"/>
                </a:cxn>
                <a:cxn ang="0">
                  <a:pos x="13" y="28"/>
                </a:cxn>
                <a:cxn ang="0">
                  <a:pos x="13" y="48"/>
                </a:cxn>
                <a:cxn ang="0">
                  <a:pos x="28" y="57"/>
                </a:cxn>
              </a:cxnLst>
              <a:rect l="0" t="0" r="r" b="b"/>
              <a:pathLst>
                <a:path w="48" h="57">
                  <a:moveTo>
                    <a:pt x="28" y="57"/>
                  </a:moveTo>
                  <a:lnTo>
                    <a:pt x="48" y="43"/>
                  </a:lnTo>
                  <a:lnTo>
                    <a:pt x="48" y="31"/>
                  </a:lnTo>
                  <a:lnTo>
                    <a:pt x="38" y="16"/>
                  </a:lnTo>
                  <a:lnTo>
                    <a:pt x="28" y="0"/>
                  </a:lnTo>
                  <a:lnTo>
                    <a:pt x="13" y="0"/>
                  </a:lnTo>
                  <a:lnTo>
                    <a:pt x="0" y="0"/>
                  </a:lnTo>
                  <a:lnTo>
                    <a:pt x="0" y="7"/>
                  </a:lnTo>
                  <a:lnTo>
                    <a:pt x="0" y="17"/>
                  </a:lnTo>
                  <a:lnTo>
                    <a:pt x="13" y="28"/>
                  </a:lnTo>
                  <a:lnTo>
                    <a:pt x="13" y="48"/>
                  </a:lnTo>
                  <a:lnTo>
                    <a:pt x="28" y="57"/>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66" name="Freeform 65"/>
            <p:cNvSpPr>
              <a:spLocks/>
            </p:cNvSpPr>
            <p:nvPr/>
          </p:nvSpPr>
          <p:spPr bwMode="auto">
            <a:xfrm>
              <a:off x="4248150" y="3611563"/>
              <a:ext cx="92075" cy="63500"/>
            </a:xfrm>
            <a:custGeom>
              <a:avLst/>
              <a:gdLst/>
              <a:ahLst/>
              <a:cxnLst>
                <a:cxn ang="0">
                  <a:pos x="68" y="121"/>
                </a:cxn>
                <a:cxn ang="0">
                  <a:pos x="84" y="121"/>
                </a:cxn>
                <a:cxn ang="0">
                  <a:pos x="123" y="121"/>
                </a:cxn>
                <a:cxn ang="0">
                  <a:pos x="123" y="112"/>
                </a:cxn>
                <a:cxn ang="0">
                  <a:pos x="142" y="112"/>
                </a:cxn>
                <a:cxn ang="0">
                  <a:pos x="157" y="112"/>
                </a:cxn>
                <a:cxn ang="0">
                  <a:pos x="175" y="94"/>
                </a:cxn>
                <a:cxn ang="0">
                  <a:pos x="175" y="65"/>
                </a:cxn>
                <a:cxn ang="0">
                  <a:pos x="136" y="43"/>
                </a:cxn>
                <a:cxn ang="0">
                  <a:pos x="111" y="26"/>
                </a:cxn>
                <a:cxn ang="0">
                  <a:pos x="95" y="26"/>
                </a:cxn>
                <a:cxn ang="0">
                  <a:pos x="68" y="26"/>
                </a:cxn>
                <a:cxn ang="0">
                  <a:pos x="68" y="33"/>
                </a:cxn>
                <a:cxn ang="0">
                  <a:pos x="49" y="26"/>
                </a:cxn>
                <a:cxn ang="0">
                  <a:pos x="36" y="17"/>
                </a:cxn>
                <a:cxn ang="0">
                  <a:pos x="18" y="0"/>
                </a:cxn>
                <a:cxn ang="0">
                  <a:pos x="0" y="0"/>
                </a:cxn>
                <a:cxn ang="0">
                  <a:pos x="0" y="13"/>
                </a:cxn>
                <a:cxn ang="0">
                  <a:pos x="0" y="26"/>
                </a:cxn>
                <a:cxn ang="0">
                  <a:pos x="0" y="39"/>
                </a:cxn>
                <a:cxn ang="0">
                  <a:pos x="0" y="54"/>
                </a:cxn>
                <a:cxn ang="0">
                  <a:pos x="23" y="60"/>
                </a:cxn>
                <a:cxn ang="0">
                  <a:pos x="53" y="60"/>
                </a:cxn>
                <a:cxn ang="0">
                  <a:pos x="49" y="83"/>
                </a:cxn>
                <a:cxn ang="0">
                  <a:pos x="52" y="107"/>
                </a:cxn>
                <a:cxn ang="0">
                  <a:pos x="60" y="121"/>
                </a:cxn>
                <a:cxn ang="0">
                  <a:pos x="68" y="121"/>
                </a:cxn>
              </a:cxnLst>
              <a:rect l="0" t="0" r="r" b="b"/>
              <a:pathLst>
                <a:path w="175" h="121">
                  <a:moveTo>
                    <a:pt x="68" y="121"/>
                  </a:moveTo>
                  <a:lnTo>
                    <a:pt x="84" y="121"/>
                  </a:lnTo>
                  <a:lnTo>
                    <a:pt x="123" y="121"/>
                  </a:lnTo>
                  <a:lnTo>
                    <a:pt x="123" y="112"/>
                  </a:lnTo>
                  <a:lnTo>
                    <a:pt x="142" y="112"/>
                  </a:lnTo>
                  <a:lnTo>
                    <a:pt x="157" y="112"/>
                  </a:lnTo>
                  <a:lnTo>
                    <a:pt x="175" y="94"/>
                  </a:lnTo>
                  <a:lnTo>
                    <a:pt x="175" y="65"/>
                  </a:lnTo>
                  <a:lnTo>
                    <a:pt x="136" y="43"/>
                  </a:lnTo>
                  <a:lnTo>
                    <a:pt x="111" y="26"/>
                  </a:lnTo>
                  <a:lnTo>
                    <a:pt x="95" y="26"/>
                  </a:lnTo>
                  <a:lnTo>
                    <a:pt x="68" y="26"/>
                  </a:lnTo>
                  <a:lnTo>
                    <a:pt x="68" y="33"/>
                  </a:lnTo>
                  <a:lnTo>
                    <a:pt x="49" y="26"/>
                  </a:lnTo>
                  <a:lnTo>
                    <a:pt x="36" y="17"/>
                  </a:lnTo>
                  <a:lnTo>
                    <a:pt x="18" y="0"/>
                  </a:lnTo>
                  <a:lnTo>
                    <a:pt x="0" y="0"/>
                  </a:lnTo>
                  <a:lnTo>
                    <a:pt x="0" y="13"/>
                  </a:lnTo>
                  <a:lnTo>
                    <a:pt x="0" y="26"/>
                  </a:lnTo>
                  <a:lnTo>
                    <a:pt x="0" y="39"/>
                  </a:lnTo>
                  <a:lnTo>
                    <a:pt x="0" y="54"/>
                  </a:lnTo>
                  <a:lnTo>
                    <a:pt x="23" y="60"/>
                  </a:lnTo>
                  <a:lnTo>
                    <a:pt x="53" y="60"/>
                  </a:lnTo>
                  <a:lnTo>
                    <a:pt x="49" y="83"/>
                  </a:lnTo>
                  <a:lnTo>
                    <a:pt x="52" y="107"/>
                  </a:lnTo>
                  <a:lnTo>
                    <a:pt x="60" y="121"/>
                  </a:lnTo>
                  <a:lnTo>
                    <a:pt x="68" y="121"/>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sp>
          <p:nvSpPr>
            <p:cNvPr id="67" name="Freeform 66"/>
            <p:cNvSpPr>
              <a:spLocks/>
            </p:cNvSpPr>
            <p:nvPr/>
          </p:nvSpPr>
          <p:spPr bwMode="auto">
            <a:xfrm>
              <a:off x="4332288" y="3727450"/>
              <a:ext cx="184150" cy="198437"/>
            </a:xfrm>
            <a:custGeom>
              <a:avLst/>
              <a:gdLst/>
              <a:ahLst/>
              <a:cxnLst>
                <a:cxn ang="0">
                  <a:pos x="57" y="61"/>
                </a:cxn>
                <a:cxn ang="0">
                  <a:pos x="47" y="23"/>
                </a:cxn>
                <a:cxn ang="0">
                  <a:pos x="47" y="11"/>
                </a:cxn>
                <a:cxn ang="0">
                  <a:pos x="47" y="0"/>
                </a:cxn>
                <a:cxn ang="0">
                  <a:pos x="57" y="0"/>
                </a:cxn>
                <a:cxn ang="0">
                  <a:pos x="76" y="0"/>
                </a:cxn>
                <a:cxn ang="0">
                  <a:pos x="104" y="18"/>
                </a:cxn>
                <a:cxn ang="0">
                  <a:pos x="128" y="41"/>
                </a:cxn>
                <a:cxn ang="0">
                  <a:pos x="128" y="41"/>
                </a:cxn>
                <a:cxn ang="0">
                  <a:pos x="133" y="42"/>
                </a:cxn>
                <a:cxn ang="0">
                  <a:pos x="144" y="43"/>
                </a:cxn>
                <a:cxn ang="0">
                  <a:pos x="144" y="43"/>
                </a:cxn>
                <a:cxn ang="0">
                  <a:pos x="160" y="43"/>
                </a:cxn>
                <a:cxn ang="0">
                  <a:pos x="160" y="43"/>
                </a:cxn>
                <a:cxn ang="0">
                  <a:pos x="183" y="43"/>
                </a:cxn>
                <a:cxn ang="0">
                  <a:pos x="229" y="61"/>
                </a:cxn>
                <a:cxn ang="0">
                  <a:pos x="255" y="88"/>
                </a:cxn>
                <a:cxn ang="0">
                  <a:pos x="255" y="107"/>
                </a:cxn>
                <a:cxn ang="0">
                  <a:pos x="265" y="149"/>
                </a:cxn>
                <a:cxn ang="0">
                  <a:pos x="278" y="149"/>
                </a:cxn>
                <a:cxn ang="0">
                  <a:pos x="287" y="149"/>
                </a:cxn>
                <a:cxn ang="0">
                  <a:pos x="287" y="174"/>
                </a:cxn>
                <a:cxn ang="0">
                  <a:pos x="301" y="174"/>
                </a:cxn>
                <a:cxn ang="0">
                  <a:pos x="319" y="192"/>
                </a:cxn>
                <a:cxn ang="0">
                  <a:pos x="346" y="192"/>
                </a:cxn>
                <a:cxn ang="0">
                  <a:pos x="319" y="227"/>
                </a:cxn>
                <a:cxn ang="0">
                  <a:pos x="302" y="238"/>
                </a:cxn>
                <a:cxn ang="0">
                  <a:pos x="278" y="275"/>
                </a:cxn>
                <a:cxn ang="0">
                  <a:pos x="250" y="286"/>
                </a:cxn>
                <a:cxn ang="0">
                  <a:pos x="197" y="286"/>
                </a:cxn>
                <a:cxn ang="0">
                  <a:pos x="186" y="302"/>
                </a:cxn>
                <a:cxn ang="0">
                  <a:pos x="150" y="302"/>
                </a:cxn>
                <a:cxn ang="0">
                  <a:pos x="139" y="333"/>
                </a:cxn>
                <a:cxn ang="0">
                  <a:pos x="133" y="354"/>
                </a:cxn>
                <a:cxn ang="0">
                  <a:pos x="123" y="365"/>
                </a:cxn>
                <a:cxn ang="0">
                  <a:pos x="115" y="375"/>
                </a:cxn>
                <a:cxn ang="0">
                  <a:pos x="100" y="375"/>
                </a:cxn>
                <a:cxn ang="0">
                  <a:pos x="87" y="353"/>
                </a:cxn>
                <a:cxn ang="0">
                  <a:pos x="55" y="336"/>
                </a:cxn>
                <a:cxn ang="0">
                  <a:pos x="36" y="321"/>
                </a:cxn>
                <a:cxn ang="0">
                  <a:pos x="36" y="310"/>
                </a:cxn>
                <a:cxn ang="0">
                  <a:pos x="36" y="296"/>
                </a:cxn>
                <a:cxn ang="0">
                  <a:pos x="36" y="279"/>
                </a:cxn>
                <a:cxn ang="0">
                  <a:pos x="36" y="265"/>
                </a:cxn>
                <a:cxn ang="0">
                  <a:pos x="36" y="231"/>
                </a:cxn>
                <a:cxn ang="0">
                  <a:pos x="36" y="221"/>
                </a:cxn>
                <a:cxn ang="0">
                  <a:pos x="36" y="200"/>
                </a:cxn>
                <a:cxn ang="0">
                  <a:pos x="15" y="164"/>
                </a:cxn>
                <a:cxn ang="0">
                  <a:pos x="0" y="153"/>
                </a:cxn>
                <a:cxn ang="0">
                  <a:pos x="0" y="135"/>
                </a:cxn>
                <a:cxn ang="0">
                  <a:pos x="0" y="127"/>
                </a:cxn>
                <a:cxn ang="0">
                  <a:pos x="15" y="111"/>
                </a:cxn>
                <a:cxn ang="0">
                  <a:pos x="36" y="103"/>
                </a:cxn>
                <a:cxn ang="0">
                  <a:pos x="57" y="88"/>
                </a:cxn>
                <a:cxn ang="0">
                  <a:pos x="57" y="61"/>
                </a:cxn>
              </a:cxnLst>
              <a:rect l="0" t="0" r="r" b="b"/>
              <a:pathLst>
                <a:path w="346" h="375">
                  <a:moveTo>
                    <a:pt x="57" y="61"/>
                  </a:moveTo>
                  <a:lnTo>
                    <a:pt x="47" y="23"/>
                  </a:lnTo>
                  <a:lnTo>
                    <a:pt x="47" y="11"/>
                  </a:lnTo>
                  <a:lnTo>
                    <a:pt x="47" y="0"/>
                  </a:lnTo>
                  <a:lnTo>
                    <a:pt x="57" y="0"/>
                  </a:lnTo>
                  <a:lnTo>
                    <a:pt x="76" y="0"/>
                  </a:lnTo>
                  <a:lnTo>
                    <a:pt x="104" y="18"/>
                  </a:lnTo>
                  <a:lnTo>
                    <a:pt x="128" y="41"/>
                  </a:lnTo>
                  <a:lnTo>
                    <a:pt x="128" y="41"/>
                  </a:lnTo>
                  <a:lnTo>
                    <a:pt x="133" y="42"/>
                  </a:lnTo>
                  <a:lnTo>
                    <a:pt x="144" y="43"/>
                  </a:lnTo>
                  <a:lnTo>
                    <a:pt x="144" y="43"/>
                  </a:lnTo>
                  <a:lnTo>
                    <a:pt x="160" y="43"/>
                  </a:lnTo>
                  <a:lnTo>
                    <a:pt x="160" y="43"/>
                  </a:lnTo>
                  <a:lnTo>
                    <a:pt x="183" y="43"/>
                  </a:lnTo>
                  <a:lnTo>
                    <a:pt x="229" y="61"/>
                  </a:lnTo>
                  <a:lnTo>
                    <a:pt x="255" y="88"/>
                  </a:lnTo>
                  <a:lnTo>
                    <a:pt x="255" y="107"/>
                  </a:lnTo>
                  <a:lnTo>
                    <a:pt x="265" y="149"/>
                  </a:lnTo>
                  <a:lnTo>
                    <a:pt x="278" y="149"/>
                  </a:lnTo>
                  <a:lnTo>
                    <a:pt x="287" y="149"/>
                  </a:lnTo>
                  <a:lnTo>
                    <a:pt x="287" y="174"/>
                  </a:lnTo>
                  <a:lnTo>
                    <a:pt x="301" y="174"/>
                  </a:lnTo>
                  <a:lnTo>
                    <a:pt x="319" y="192"/>
                  </a:lnTo>
                  <a:lnTo>
                    <a:pt x="346" y="192"/>
                  </a:lnTo>
                  <a:lnTo>
                    <a:pt x="319" y="227"/>
                  </a:lnTo>
                  <a:lnTo>
                    <a:pt x="302" y="238"/>
                  </a:lnTo>
                  <a:lnTo>
                    <a:pt x="278" y="275"/>
                  </a:lnTo>
                  <a:lnTo>
                    <a:pt x="250" y="286"/>
                  </a:lnTo>
                  <a:lnTo>
                    <a:pt x="197" y="286"/>
                  </a:lnTo>
                  <a:lnTo>
                    <a:pt x="186" y="302"/>
                  </a:lnTo>
                  <a:lnTo>
                    <a:pt x="150" y="302"/>
                  </a:lnTo>
                  <a:lnTo>
                    <a:pt x="139" y="333"/>
                  </a:lnTo>
                  <a:lnTo>
                    <a:pt x="133" y="354"/>
                  </a:lnTo>
                  <a:lnTo>
                    <a:pt x="123" y="365"/>
                  </a:lnTo>
                  <a:lnTo>
                    <a:pt x="115" y="375"/>
                  </a:lnTo>
                  <a:lnTo>
                    <a:pt x="100" y="375"/>
                  </a:lnTo>
                  <a:lnTo>
                    <a:pt x="87" y="353"/>
                  </a:lnTo>
                  <a:lnTo>
                    <a:pt x="55" y="336"/>
                  </a:lnTo>
                  <a:lnTo>
                    <a:pt x="36" y="321"/>
                  </a:lnTo>
                  <a:lnTo>
                    <a:pt x="36" y="310"/>
                  </a:lnTo>
                  <a:lnTo>
                    <a:pt x="36" y="296"/>
                  </a:lnTo>
                  <a:lnTo>
                    <a:pt x="36" y="279"/>
                  </a:lnTo>
                  <a:lnTo>
                    <a:pt x="36" y="265"/>
                  </a:lnTo>
                  <a:lnTo>
                    <a:pt x="36" y="231"/>
                  </a:lnTo>
                  <a:lnTo>
                    <a:pt x="36" y="221"/>
                  </a:lnTo>
                  <a:lnTo>
                    <a:pt x="36" y="200"/>
                  </a:lnTo>
                  <a:lnTo>
                    <a:pt x="15" y="164"/>
                  </a:lnTo>
                  <a:lnTo>
                    <a:pt x="0" y="153"/>
                  </a:lnTo>
                  <a:lnTo>
                    <a:pt x="0" y="135"/>
                  </a:lnTo>
                  <a:lnTo>
                    <a:pt x="0" y="127"/>
                  </a:lnTo>
                  <a:lnTo>
                    <a:pt x="15" y="111"/>
                  </a:lnTo>
                  <a:lnTo>
                    <a:pt x="36" y="103"/>
                  </a:lnTo>
                  <a:lnTo>
                    <a:pt x="57" y="88"/>
                  </a:lnTo>
                  <a:lnTo>
                    <a:pt x="57" y="61"/>
                  </a:lnTo>
                  <a:close/>
                </a:path>
              </a:pathLst>
            </a:custGeom>
            <a:grpFill/>
            <a:ln w="6350">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ar-SA" sz="3200"/>
            </a:p>
          </p:txBody>
        </p:sp>
      </p:grpSp>
      <p:sp>
        <p:nvSpPr>
          <p:cNvPr id="91" name="TextBox 90"/>
          <p:cNvSpPr txBox="1"/>
          <p:nvPr/>
        </p:nvSpPr>
        <p:spPr>
          <a:xfrm>
            <a:off x="6715676" y="2570206"/>
            <a:ext cx="4988807" cy="1089529"/>
          </a:xfrm>
          <a:prstGeom prst="rect">
            <a:avLst/>
          </a:prstGeom>
          <a:noFill/>
        </p:spPr>
        <p:txBody>
          <a:bodyPr wrap="square" rtlCol="0">
            <a:spAutoFit/>
          </a:bodyPr>
          <a:lstStyle/>
          <a:p>
            <a:pPr>
              <a:lnSpc>
                <a:spcPct val="90000"/>
              </a:lnSpc>
            </a:pPr>
            <a:r>
              <a:rPr lang="en-US" sz="2400" dirty="0">
                <a:solidFill>
                  <a:schemeClr val="accent1"/>
                </a:solidFill>
                <a:latin typeface="+mj-lt"/>
              </a:rPr>
              <a:t>Your </a:t>
            </a:r>
            <a:r>
              <a:rPr lang="en-US" sz="2400" b="1" dirty="0">
                <a:solidFill>
                  <a:schemeClr val="accent1"/>
                </a:solidFill>
                <a:latin typeface="+mj-lt"/>
              </a:rPr>
              <a:t>beautiful heading </a:t>
            </a:r>
            <a:r>
              <a:rPr lang="en-US" sz="2400" dirty="0">
                <a:solidFill>
                  <a:schemeClr val="accent1"/>
                </a:solidFill>
                <a:latin typeface="+mj-lt"/>
              </a:rPr>
              <a:t>goes here, replace this text with your own words.</a:t>
            </a:r>
          </a:p>
        </p:txBody>
      </p:sp>
      <p:sp>
        <p:nvSpPr>
          <p:cNvPr id="92" name="Rectangle 91"/>
          <p:cNvSpPr/>
          <p:nvPr/>
        </p:nvSpPr>
        <p:spPr>
          <a:xfrm>
            <a:off x="6715676" y="3674862"/>
            <a:ext cx="4864539" cy="1521057"/>
          </a:xfrm>
          <a:prstGeom prst="rect">
            <a:avLst/>
          </a:prstGeom>
        </p:spPr>
        <p:txBody>
          <a:bodyPr wrap="square">
            <a:spAutoFit/>
          </a:bodyPr>
          <a:lstStyle/>
          <a:p>
            <a:pPr>
              <a:lnSpc>
                <a:spcPct val="150000"/>
              </a:lnSpc>
            </a:pPr>
            <a:r>
              <a:rPr lang="en-US" sz="1600" dirty="0">
                <a:latin typeface="+mj-lt"/>
              </a:rPr>
              <a:t>Hashtag fashion axe </a:t>
            </a:r>
            <a:r>
              <a:rPr lang="en-US" sz="1600" dirty="0" err="1">
                <a:latin typeface="+mj-lt"/>
              </a:rPr>
              <a:t>fingerstache</a:t>
            </a:r>
            <a:r>
              <a:rPr lang="en-US" sz="1600" dirty="0">
                <a:latin typeface="+mj-lt"/>
              </a:rPr>
              <a:t>, everyday carry </a:t>
            </a:r>
            <a:r>
              <a:rPr lang="en-US" sz="1600" dirty="0" err="1">
                <a:latin typeface="+mj-lt"/>
              </a:rPr>
              <a:t>shoreditch</a:t>
            </a:r>
            <a:r>
              <a:rPr lang="en-US" sz="1600" dirty="0">
                <a:latin typeface="+mj-lt"/>
              </a:rPr>
              <a:t> </a:t>
            </a:r>
            <a:r>
              <a:rPr lang="en-US" sz="1600" dirty="0" err="1">
                <a:latin typeface="+mj-lt"/>
              </a:rPr>
              <a:t>pinterest</a:t>
            </a:r>
            <a:r>
              <a:rPr lang="en-US" sz="1600" dirty="0">
                <a:latin typeface="+mj-lt"/>
              </a:rPr>
              <a:t> umami authentic </a:t>
            </a:r>
            <a:r>
              <a:rPr lang="en-US" sz="1600" dirty="0" err="1">
                <a:latin typeface="+mj-lt"/>
              </a:rPr>
              <a:t>brooklyn</a:t>
            </a:r>
            <a:r>
              <a:rPr lang="en-US" sz="1600" dirty="0">
                <a:latin typeface="+mj-lt"/>
              </a:rPr>
              <a:t> YOLO heirloom </a:t>
            </a:r>
            <a:r>
              <a:rPr lang="en-US" sz="1600" dirty="0" err="1">
                <a:latin typeface="+mj-lt"/>
              </a:rPr>
              <a:t>keytar</a:t>
            </a:r>
            <a:r>
              <a:rPr lang="en-US" sz="1600" dirty="0">
                <a:latin typeface="+mj-lt"/>
              </a:rPr>
              <a:t> waistcoat </a:t>
            </a:r>
            <a:r>
              <a:rPr lang="en-US" sz="1600" dirty="0" err="1">
                <a:latin typeface="+mj-lt"/>
              </a:rPr>
              <a:t>kickstarter</a:t>
            </a:r>
            <a:r>
              <a:rPr lang="en-US" sz="1600" dirty="0">
                <a:latin typeface="+mj-lt"/>
              </a:rPr>
              <a:t>. Kitsch authentic offal.</a:t>
            </a:r>
          </a:p>
        </p:txBody>
      </p:sp>
    </p:spTree>
    <p:extLst>
      <p:ext uri="{BB962C8B-B14F-4D97-AF65-F5344CB8AC3E}">
        <p14:creationId xmlns:p14="http://schemas.microsoft.com/office/powerpoint/2010/main" val="15450263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1" name="Text Placeholder 610"/>
          <p:cNvSpPr>
            <a:spLocks noGrp="1"/>
          </p:cNvSpPr>
          <p:nvPr>
            <p:ph type="body" sz="quarter" idx="13"/>
          </p:nvPr>
        </p:nvSpPr>
        <p:spPr/>
        <p:txBody>
          <a:bodyPr/>
          <a:lstStyle/>
          <a:p>
            <a:r>
              <a:rPr lang="en-US" dirty="0"/>
              <a:t>Example working Icon Set</a:t>
            </a:r>
          </a:p>
        </p:txBody>
      </p:sp>
      <p:grpSp>
        <p:nvGrpSpPr>
          <p:cNvPr id="65" name="Group 63"/>
          <p:cNvGrpSpPr>
            <a:grpSpLocks noChangeAspect="1"/>
          </p:cNvGrpSpPr>
          <p:nvPr/>
        </p:nvGrpSpPr>
        <p:grpSpPr bwMode="auto">
          <a:xfrm>
            <a:off x="4901758" y="1860791"/>
            <a:ext cx="457200" cy="457200"/>
            <a:chOff x="-1051" y="1093"/>
            <a:chExt cx="3101" cy="3101"/>
          </a:xfrm>
          <a:solidFill>
            <a:schemeClr val="accent1"/>
          </a:solidFill>
        </p:grpSpPr>
        <p:sp>
          <p:nvSpPr>
            <p:cNvPr id="67" name="Freeform 64"/>
            <p:cNvSpPr>
              <a:spLocks noEditPoints="1"/>
            </p:cNvSpPr>
            <p:nvPr/>
          </p:nvSpPr>
          <p:spPr bwMode="auto">
            <a:xfrm>
              <a:off x="-784" y="1093"/>
              <a:ext cx="2561" cy="818"/>
            </a:xfrm>
            <a:custGeom>
              <a:avLst/>
              <a:gdLst>
                <a:gd name="T0" fmla="*/ 1208 w 1353"/>
                <a:gd name="T1" fmla="*/ 1 h 432"/>
                <a:gd name="T2" fmla="*/ 1202 w 1353"/>
                <a:gd name="T3" fmla="*/ 0 h 432"/>
                <a:gd name="T4" fmla="*/ 160 w 1353"/>
                <a:gd name="T5" fmla="*/ 0 h 432"/>
                <a:gd name="T6" fmla="*/ 0 w 1353"/>
                <a:gd name="T7" fmla="*/ 160 h 432"/>
                <a:gd name="T8" fmla="*/ 0 w 1353"/>
                <a:gd name="T9" fmla="*/ 353 h 432"/>
                <a:gd name="T10" fmla="*/ 32 w 1353"/>
                <a:gd name="T11" fmla="*/ 385 h 432"/>
                <a:gd name="T12" fmla="*/ 64 w 1353"/>
                <a:gd name="T13" fmla="*/ 353 h 432"/>
                <a:gd name="T14" fmla="*/ 64 w 1353"/>
                <a:gd name="T15" fmla="*/ 160 h 432"/>
                <a:gd name="T16" fmla="*/ 160 w 1353"/>
                <a:gd name="T17" fmla="*/ 64 h 432"/>
                <a:gd name="T18" fmla="*/ 1062 w 1353"/>
                <a:gd name="T19" fmla="*/ 64 h 432"/>
                <a:gd name="T20" fmla="*/ 1030 w 1353"/>
                <a:gd name="T21" fmla="*/ 160 h 432"/>
                <a:gd name="T22" fmla="*/ 1030 w 1353"/>
                <a:gd name="T23" fmla="*/ 400 h 432"/>
                <a:gd name="T24" fmla="*/ 1062 w 1353"/>
                <a:gd name="T25" fmla="*/ 432 h 432"/>
                <a:gd name="T26" fmla="*/ 1094 w 1353"/>
                <a:gd name="T27" fmla="*/ 400 h 432"/>
                <a:gd name="T28" fmla="*/ 1094 w 1353"/>
                <a:gd name="T29" fmla="*/ 160 h 432"/>
                <a:gd name="T30" fmla="*/ 1190 w 1353"/>
                <a:gd name="T31" fmla="*/ 64 h 432"/>
                <a:gd name="T32" fmla="*/ 1193 w 1353"/>
                <a:gd name="T33" fmla="*/ 64 h 432"/>
                <a:gd name="T34" fmla="*/ 1289 w 1353"/>
                <a:gd name="T35" fmla="*/ 160 h 432"/>
                <a:gd name="T36" fmla="*/ 1289 w 1353"/>
                <a:gd name="T37" fmla="*/ 294 h 432"/>
                <a:gd name="T38" fmla="*/ 1192 w 1353"/>
                <a:gd name="T39" fmla="*/ 294 h 432"/>
                <a:gd name="T40" fmla="*/ 1160 w 1353"/>
                <a:gd name="T41" fmla="*/ 326 h 432"/>
                <a:gd name="T42" fmla="*/ 1192 w 1353"/>
                <a:gd name="T43" fmla="*/ 358 h 432"/>
                <a:gd name="T44" fmla="*/ 1321 w 1353"/>
                <a:gd name="T45" fmla="*/ 358 h 432"/>
                <a:gd name="T46" fmla="*/ 1353 w 1353"/>
                <a:gd name="T47" fmla="*/ 326 h 432"/>
                <a:gd name="T48" fmla="*/ 1353 w 1353"/>
                <a:gd name="T49" fmla="*/ 160 h 432"/>
                <a:gd name="T50" fmla="*/ 1208 w 1353"/>
                <a:gd name="T51" fmla="*/ 1 h 432"/>
                <a:gd name="T52" fmla="*/ 1208 w 1353"/>
                <a:gd name="T53" fmla="*/ 1 h 432"/>
                <a:gd name="T54" fmla="*/ 1208 w 1353"/>
                <a:gd name="T55" fmla="*/ 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53" h="432">
                  <a:moveTo>
                    <a:pt x="1208" y="1"/>
                  </a:moveTo>
                  <a:cubicBezTo>
                    <a:pt x="1206" y="0"/>
                    <a:pt x="1204" y="0"/>
                    <a:pt x="1202" y="0"/>
                  </a:cubicBezTo>
                  <a:cubicBezTo>
                    <a:pt x="160" y="0"/>
                    <a:pt x="160" y="0"/>
                    <a:pt x="160" y="0"/>
                  </a:cubicBezTo>
                  <a:cubicBezTo>
                    <a:pt x="72" y="0"/>
                    <a:pt x="0" y="72"/>
                    <a:pt x="0" y="160"/>
                  </a:cubicBezTo>
                  <a:cubicBezTo>
                    <a:pt x="0" y="353"/>
                    <a:pt x="0" y="353"/>
                    <a:pt x="0" y="353"/>
                  </a:cubicBezTo>
                  <a:cubicBezTo>
                    <a:pt x="0" y="371"/>
                    <a:pt x="14" y="385"/>
                    <a:pt x="32" y="385"/>
                  </a:cubicBezTo>
                  <a:cubicBezTo>
                    <a:pt x="49" y="385"/>
                    <a:pt x="64" y="371"/>
                    <a:pt x="64" y="353"/>
                  </a:cubicBezTo>
                  <a:cubicBezTo>
                    <a:pt x="64" y="160"/>
                    <a:pt x="64" y="160"/>
                    <a:pt x="64" y="160"/>
                  </a:cubicBezTo>
                  <a:cubicBezTo>
                    <a:pt x="64" y="107"/>
                    <a:pt x="107" y="64"/>
                    <a:pt x="160" y="64"/>
                  </a:cubicBezTo>
                  <a:cubicBezTo>
                    <a:pt x="1062" y="64"/>
                    <a:pt x="1062" y="64"/>
                    <a:pt x="1062" y="64"/>
                  </a:cubicBezTo>
                  <a:cubicBezTo>
                    <a:pt x="1042" y="91"/>
                    <a:pt x="1030" y="124"/>
                    <a:pt x="1030" y="160"/>
                  </a:cubicBezTo>
                  <a:cubicBezTo>
                    <a:pt x="1030" y="400"/>
                    <a:pt x="1030" y="400"/>
                    <a:pt x="1030" y="400"/>
                  </a:cubicBezTo>
                  <a:cubicBezTo>
                    <a:pt x="1030" y="417"/>
                    <a:pt x="1045" y="432"/>
                    <a:pt x="1062" y="432"/>
                  </a:cubicBezTo>
                  <a:cubicBezTo>
                    <a:pt x="1080" y="432"/>
                    <a:pt x="1094" y="417"/>
                    <a:pt x="1094" y="400"/>
                  </a:cubicBezTo>
                  <a:cubicBezTo>
                    <a:pt x="1094" y="160"/>
                    <a:pt x="1094" y="160"/>
                    <a:pt x="1094" y="160"/>
                  </a:cubicBezTo>
                  <a:cubicBezTo>
                    <a:pt x="1094" y="107"/>
                    <a:pt x="1137" y="64"/>
                    <a:pt x="1190" y="64"/>
                  </a:cubicBezTo>
                  <a:cubicBezTo>
                    <a:pt x="1193" y="64"/>
                    <a:pt x="1193" y="64"/>
                    <a:pt x="1193" y="64"/>
                  </a:cubicBezTo>
                  <a:cubicBezTo>
                    <a:pt x="1246" y="64"/>
                    <a:pt x="1289" y="107"/>
                    <a:pt x="1289" y="160"/>
                  </a:cubicBezTo>
                  <a:cubicBezTo>
                    <a:pt x="1289" y="294"/>
                    <a:pt x="1289" y="294"/>
                    <a:pt x="1289" y="294"/>
                  </a:cubicBezTo>
                  <a:cubicBezTo>
                    <a:pt x="1192" y="294"/>
                    <a:pt x="1192" y="294"/>
                    <a:pt x="1192" y="294"/>
                  </a:cubicBezTo>
                  <a:cubicBezTo>
                    <a:pt x="1174" y="294"/>
                    <a:pt x="1160" y="309"/>
                    <a:pt x="1160" y="326"/>
                  </a:cubicBezTo>
                  <a:cubicBezTo>
                    <a:pt x="1160" y="344"/>
                    <a:pt x="1174" y="358"/>
                    <a:pt x="1192" y="358"/>
                  </a:cubicBezTo>
                  <a:cubicBezTo>
                    <a:pt x="1321" y="358"/>
                    <a:pt x="1321" y="358"/>
                    <a:pt x="1321" y="358"/>
                  </a:cubicBezTo>
                  <a:cubicBezTo>
                    <a:pt x="1339" y="358"/>
                    <a:pt x="1353" y="344"/>
                    <a:pt x="1353" y="326"/>
                  </a:cubicBezTo>
                  <a:cubicBezTo>
                    <a:pt x="1353" y="160"/>
                    <a:pt x="1353" y="160"/>
                    <a:pt x="1353" y="160"/>
                  </a:cubicBezTo>
                  <a:cubicBezTo>
                    <a:pt x="1353" y="77"/>
                    <a:pt x="1290" y="8"/>
                    <a:pt x="1208" y="1"/>
                  </a:cubicBezTo>
                  <a:close/>
                  <a:moveTo>
                    <a:pt x="1208" y="1"/>
                  </a:moveTo>
                  <a:cubicBezTo>
                    <a:pt x="1208" y="1"/>
                    <a:pt x="1208" y="1"/>
                    <a:pt x="120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5"/>
            <p:cNvSpPr>
              <a:spLocks noEditPoints="1"/>
            </p:cNvSpPr>
            <p:nvPr/>
          </p:nvSpPr>
          <p:spPr bwMode="auto">
            <a:xfrm>
              <a:off x="-784" y="1936"/>
              <a:ext cx="121" cy="121"/>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6"/>
            <p:cNvSpPr>
              <a:spLocks noEditPoints="1"/>
            </p:cNvSpPr>
            <p:nvPr/>
          </p:nvSpPr>
          <p:spPr bwMode="auto">
            <a:xfrm>
              <a:off x="-1051" y="1936"/>
              <a:ext cx="3101" cy="2258"/>
            </a:xfrm>
            <a:custGeom>
              <a:avLst/>
              <a:gdLst>
                <a:gd name="T0" fmla="*/ 1529 w 1638"/>
                <a:gd name="T1" fmla="*/ 455 h 1193"/>
                <a:gd name="T2" fmla="*/ 1074 w 1638"/>
                <a:gd name="T3" fmla="*/ 0 h 1193"/>
                <a:gd name="T4" fmla="*/ 1013 w 1638"/>
                <a:gd name="T5" fmla="*/ 32 h 1193"/>
                <a:gd name="T6" fmla="*/ 778 w 1638"/>
                <a:gd name="T7" fmla="*/ 478 h 1193"/>
                <a:gd name="T8" fmla="*/ 887 w 1638"/>
                <a:gd name="T9" fmla="*/ 627 h 1193"/>
                <a:gd name="T10" fmla="*/ 1010 w 1638"/>
                <a:gd name="T11" fmla="*/ 578 h 1193"/>
                <a:gd name="T12" fmla="*/ 1071 w 1638"/>
                <a:gd name="T13" fmla="*/ 657 h 1193"/>
                <a:gd name="T14" fmla="*/ 973 w 1638"/>
                <a:gd name="T15" fmla="*/ 842 h 1193"/>
                <a:gd name="T16" fmla="*/ 848 w 1638"/>
                <a:gd name="T17" fmla="*/ 1110 h 1193"/>
                <a:gd name="T18" fmla="*/ 205 w 1638"/>
                <a:gd name="T19" fmla="*/ 1129 h 1193"/>
                <a:gd name="T20" fmla="*/ 758 w 1638"/>
                <a:gd name="T21" fmla="*/ 1021 h 1193"/>
                <a:gd name="T22" fmla="*/ 758 w 1638"/>
                <a:gd name="T23" fmla="*/ 957 h 1193"/>
                <a:gd name="T24" fmla="*/ 205 w 1638"/>
                <a:gd name="T25" fmla="*/ 145 h 1193"/>
                <a:gd name="T26" fmla="*/ 141 w 1638"/>
                <a:gd name="T27" fmla="*/ 145 h 1193"/>
                <a:gd name="T28" fmla="*/ 32 w 1638"/>
                <a:gd name="T29" fmla="*/ 957 h 1193"/>
                <a:gd name="T30" fmla="*/ 205 w 1638"/>
                <a:gd name="T31" fmla="*/ 1193 h 1193"/>
                <a:gd name="T32" fmla="*/ 1638 w 1638"/>
                <a:gd name="T33" fmla="*/ 1161 h 1193"/>
                <a:gd name="T34" fmla="*/ 1529 w 1638"/>
                <a:gd name="T35" fmla="*/ 973 h 1193"/>
                <a:gd name="T36" fmla="*/ 1135 w 1638"/>
                <a:gd name="T37" fmla="*/ 657 h 1193"/>
                <a:gd name="T38" fmla="*/ 1170 w 1638"/>
                <a:gd name="T39" fmla="*/ 560 h 1193"/>
                <a:gd name="T40" fmla="*/ 1248 w 1638"/>
                <a:gd name="T41" fmla="*/ 412 h 1193"/>
                <a:gd name="T42" fmla="*/ 1184 w 1638"/>
                <a:gd name="T43" fmla="*/ 412 h 1193"/>
                <a:gd name="T44" fmla="*/ 1139 w 1638"/>
                <a:gd name="T45" fmla="*/ 503 h 1193"/>
                <a:gd name="T46" fmla="*/ 1000 w 1638"/>
                <a:gd name="T47" fmla="*/ 514 h 1193"/>
                <a:gd name="T48" fmla="*/ 914 w 1638"/>
                <a:gd name="T49" fmla="*/ 563 h 1193"/>
                <a:gd name="T50" fmla="*/ 1070 w 1638"/>
                <a:gd name="T51" fmla="*/ 202 h 1193"/>
                <a:gd name="T52" fmla="*/ 1077 w 1638"/>
                <a:gd name="T53" fmla="*/ 64 h 1193"/>
                <a:gd name="T54" fmla="*/ 1187 w 1638"/>
                <a:gd name="T55" fmla="*/ 177 h 1193"/>
                <a:gd name="T56" fmla="*/ 1465 w 1638"/>
                <a:gd name="T57" fmla="*/ 455 h 1193"/>
                <a:gd name="T58" fmla="*/ 1402 w 1638"/>
                <a:gd name="T59" fmla="*/ 969 h 1193"/>
                <a:gd name="T60" fmla="*/ 1370 w 1638"/>
                <a:gd name="T61" fmla="*/ 758 h 1193"/>
                <a:gd name="T62" fmla="*/ 1338 w 1638"/>
                <a:gd name="T63" fmla="*/ 969 h 1193"/>
                <a:gd name="T64" fmla="*/ 1037 w 1638"/>
                <a:gd name="T65" fmla="*/ 859 h 1193"/>
                <a:gd name="T66" fmla="*/ 912 w 1638"/>
                <a:gd name="T67" fmla="*/ 1129 h 1193"/>
                <a:gd name="T68" fmla="*/ 989 w 1638"/>
                <a:gd name="T69" fmla="*/ 1033 h 1193"/>
                <a:gd name="T70" fmla="*/ 1574 w 1638"/>
                <a:gd name="T71" fmla="*/ 1110 h 1193"/>
                <a:gd name="T72" fmla="*/ 1037 w 1638"/>
                <a:gd name="T73" fmla="*/ 1129 h 1193"/>
                <a:gd name="T74" fmla="*/ 1037 w 1638"/>
                <a:gd name="T75" fmla="*/ 1129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8" h="1193">
                  <a:moveTo>
                    <a:pt x="1529" y="973"/>
                  </a:moveTo>
                  <a:cubicBezTo>
                    <a:pt x="1529" y="455"/>
                    <a:pt x="1529" y="455"/>
                    <a:pt x="1529" y="455"/>
                  </a:cubicBezTo>
                  <a:cubicBezTo>
                    <a:pt x="1529" y="276"/>
                    <a:pt x="1391" y="129"/>
                    <a:pt x="1216" y="114"/>
                  </a:cubicBezTo>
                  <a:cubicBezTo>
                    <a:pt x="1202" y="49"/>
                    <a:pt x="1143" y="0"/>
                    <a:pt x="1074" y="0"/>
                  </a:cubicBezTo>
                  <a:cubicBezTo>
                    <a:pt x="1045" y="0"/>
                    <a:pt x="1045" y="0"/>
                    <a:pt x="1045" y="0"/>
                  </a:cubicBezTo>
                  <a:cubicBezTo>
                    <a:pt x="1027" y="0"/>
                    <a:pt x="1013" y="15"/>
                    <a:pt x="1013" y="32"/>
                  </a:cubicBezTo>
                  <a:cubicBezTo>
                    <a:pt x="1013" y="172"/>
                    <a:pt x="1013" y="172"/>
                    <a:pt x="1013" y="172"/>
                  </a:cubicBezTo>
                  <a:cubicBezTo>
                    <a:pt x="778" y="478"/>
                    <a:pt x="778" y="478"/>
                    <a:pt x="778" y="478"/>
                  </a:cubicBezTo>
                  <a:cubicBezTo>
                    <a:pt x="768" y="491"/>
                    <a:pt x="769" y="509"/>
                    <a:pt x="780" y="520"/>
                  </a:cubicBezTo>
                  <a:cubicBezTo>
                    <a:pt x="887" y="627"/>
                    <a:pt x="887" y="627"/>
                    <a:pt x="887" y="627"/>
                  </a:cubicBezTo>
                  <a:cubicBezTo>
                    <a:pt x="898" y="638"/>
                    <a:pt x="914" y="639"/>
                    <a:pt x="927" y="631"/>
                  </a:cubicBezTo>
                  <a:cubicBezTo>
                    <a:pt x="1010" y="578"/>
                    <a:pt x="1010" y="578"/>
                    <a:pt x="1010" y="578"/>
                  </a:cubicBezTo>
                  <a:cubicBezTo>
                    <a:pt x="1071" y="578"/>
                    <a:pt x="1071" y="578"/>
                    <a:pt x="1071" y="578"/>
                  </a:cubicBezTo>
                  <a:cubicBezTo>
                    <a:pt x="1071" y="657"/>
                    <a:pt x="1071" y="657"/>
                    <a:pt x="1071" y="657"/>
                  </a:cubicBezTo>
                  <a:cubicBezTo>
                    <a:pt x="1071" y="721"/>
                    <a:pt x="1040" y="780"/>
                    <a:pt x="987" y="816"/>
                  </a:cubicBezTo>
                  <a:cubicBezTo>
                    <a:pt x="978" y="822"/>
                    <a:pt x="973" y="832"/>
                    <a:pt x="973" y="842"/>
                  </a:cubicBezTo>
                  <a:cubicBezTo>
                    <a:pt x="973" y="970"/>
                    <a:pt x="973" y="970"/>
                    <a:pt x="973" y="970"/>
                  </a:cubicBezTo>
                  <a:cubicBezTo>
                    <a:pt x="903" y="978"/>
                    <a:pt x="848" y="1038"/>
                    <a:pt x="848" y="1110"/>
                  </a:cubicBezTo>
                  <a:cubicBezTo>
                    <a:pt x="848" y="1129"/>
                    <a:pt x="848" y="1129"/>
                    <a:pt x="848" y="1129"/>
                  </a:cubicBezTo>
                  <a:cubicBezTo>
                    <a:pt x="205" y="1129"/>
                    <a:pt x="205" y="1129"/>
                    <a:pt x="205" y="1129"/>
                  </a:cubicBezTo>
                  <a:cubicBezTo>
                    <a:pt x="138" y="1129"/>
                    <a:pt x="82" y="1083"/>
                    <a:pt x="68" y="1021"/>
                  </a:cubicBezTo>
                  <a:cubicBezTo>
                    <a:pt x="758" y="1021"/>
                    <a:pt x="758" y="1021"/>
                    <a:pt x="758" y="1021"/>
                  </a:cubicBezTo>
                  <a:cubicBezTo>
                    <a:pt x="775" y="1021"/>
                    <a:pt x="790" y="1006"/>
                    <a:pt x="790" y="989"/>
                  </a:cubicBezTo>
                  <a:cubicBezTo>
                    <a:pt x="790" y="971"/>
                    <a:pt x="775" y="957"/>
                    <a:pt x="758" y="957"/>
                  </a:cubicBezTo>
                  <a:cubicBezTo>
                    <a:pt x="205" y="957"/>
                    <a:pt x="205" y="957"/>
                    <a:pt x="205" y="957"/>
                  </a:cubicBezTo>
                  <a:cubicBezTo>
                    <a:pt x="205" y="145"/>
                    <a:pt x="205" y="145"/>
                    <a:pt x="205" y="145"/>
                  </a:cubicBezTo>
                  <a:cubicBezTo>
                    <a:pt x="205" y="127"/>
                    <a:pt x="190" y="113"/>
                    <a:pt x="173" y="113"/>
                  </a:cubicBezTo>
                  <a:cubicBezTo>
                    <a:pt x="155" y="113"/>
                    <a:pt x="141" y="127"/>
                    <a:pt x="141" y="145"/>
                  </a:cubicBezTo>
                  <a:cubicBezTo>
                    <a:pt x="141" y="957"/>
                    <a:pt x="141" y="957"/>
                    <a:pt x="141" y="957"/>
                  </a:cubicBezTo>
                  <a:cubicBezTo>
                    <a:pt x="32" y="957"/>
                    <a:pt x="32" y="957"/>
                    <a:pt x="32" y="957"/>
                  </a:cubicBezTo>
                  <a:cubicBezTo>
                    <a:pt x="14" y="957"/>
                    <a:pt x="0" y="971"/>
                    <a:pt x="0" y="989"/>
                  </a:cubicBezTo>
                  <a:cubicBezTo>
                    <a:pt x="0" y="1102"/>
                    <a:pt x="92" y="1193"/>
                    <a:pt x="205" y="1193"/>
                  </a:cubicBezTo>
                  <a:cubicBezTo>
                    <a:pt x="1606" y="1193"/>
                    <a:pt x="1606" y="1193"/>
                    <a:pt x="1606" y="1193"/>
                  </a:cubicBezTo>
                  <a:cubicBezTo>
                    <a:pt x="1624" y="1193"/>
                    <a:pt x="1638" y="1179"/>
                    <a:pt x="1638" y="1161"/>
                  </a:cubicBezTo>
                  <a:cubicBezTo>
                    <a:pt x="1638" y="1110"/>
                    <a:pt x="1638" y="1110"/>
                    <a:pt x="1638" y="1110"/>
                  </a:cubicBezTo>
                  <a:cubicBezTo>
                    <a:pt x="1638" y="1043"/>
                    <a:pt x="1592" y="987"/>
                    <a:pt x="1529" y="973"/>
                  </a:cubicBezTo>
                  <a:close/>
                  <a:moveTo>
                    <a:pt x="1037" y="859"/>
                  </a:moveTo>
                  <a:cubicBezTo>
                    <a:pt x="1099" y="810"/>
                    <a:pt x="1135" y="736"/>
                    <a:pt x="1135" y="657"/>
                  </a:cubicBezTo>
                  <a:cubicBezTo>
                    <a:pt x="1135" y="573"/>
                    <a:pt x="1135" y="573"/>
                    <a:pt x="1135" y="573"/>
                  </a:cubicBezTo>
                  <a:cubicBezTo>
                    <a:pt x="1147" y="570"/>
                    <a:pt x="1159" y="565"/>
                    <a:pt x="1170" y="560"/>
                  </a:cubicBezTo>
                  <a:cubicBezTo>
                    <a:pt x="1218" y="533"/>
                    <a:pt x="1248" y="483"/>
                    <a:pt x="1248" y="428"/>
                  </a:cubicBezTo>
                  <a:cubicBezTo>
                    <a:pt x="1248" y="412"/>
                    <a:pt x="1248" y="412"/>
                    <a:pt x="1248" y="412"/>
                  </a:cubicBezTo>
                  <a:cubicBezTo>
                    <a:pt x="1248" y="394"/>
                    <a:pt x="1234" y="380"/>
                    <a:pt x="1216" y="380"/>
                  </a:cubicBezTo>
                  <a:cubicBezTo>
                    <a:pt x="1198" y="380"/>
                    <a:pt x="1184" y="394"/>
                    <a:pt x="1184" y="412"/>
                  </a:cubicBezTo>
                  <a:cubicBezTo>
                    <a:pt x="1184" y="428"/>
                    <a:pt x="1184" y="428"/>
                    <a:pt x="1184" y="428"/>
                  </a:cubicBezTo>
                  <a:cubicBezTo>
                    <a:pt x="1184" y="459"/>
                    <a:pt x="1167" y="488"/>
                    <a:pt x="1139" y="503"/>
                  </a:cubicBezTo>
                  <a:cubicBezTo>
                    <a:pt x="1127" y="510"/>
                    <a:pt x="1112" y="514"/>
                    <a:pt x="1098" y="514"/>
                  </a:cubicBezTo>
                  <a:cubicBezTo>
                    <a:pt x="1000" y="514"/>
                    <a:pt x="1000" y="514"/>
                    <a:pt x="1000" y="514"/>
                  </a:cubicBezTo>
                  <a:cubicBezTo>
                    <a:pt x="994" y="514"/>
                    <a:pt x="988" y="516"/>
                    <a:pt x="983" y="519"/>
                  </a:cubicBezTo>
                  <a:cubicBezTo>
                    <a:pt x="914" y="563"/>
                    <a:pt x="914" y="563"/>
                    <a:pt x="914" y="563"/>
                  </a:cubicBezTo>
                  <a:cubicBezTo>
                    <a:pt x="845" y="495"/>
                    <a:pt x="845" y="495"/>
                    <a:pt x="845" y="495"/>
                  </a:cubicBezTo>
                  <a:cubicBezTo>
                    <a:pt x="1070" y="202"/>
                    <a:pt x="1070" y="202"/>
                    <a:pt x="1070" y="202"/>
                  </a:cubicBezTo>
                  <a:cubicBezTo>
                    <a:pt x="1074" y="196"/>
                    <a:pt x="1077" y="189"/>
                    <a:pt x="1077" y="182"/>
                  </a:cubicBezTo>
                  <a:cubicBezTo>
                    <a:pt x="1077" y="64"/>
                    <a:pt x="1077" y="64"/>
                    <a:pt x="1077" y="64"/>
                  </a:cubicBezTo>
                  <a:cubicBezTo>
                    <a:pt x="1120" y="66"/>
                    <a:pt x="1155" y="101"/>
                    <a:pt x="1155" y="145"/>
                  </a:cubicBezTo>
                  <a:cubicBezTo>
                    <a:pt x="1155" y="163"/>
                    <a:pt x="1169" y="177"/>
                    <a:pt x="1187" y="177"/>
                  </a:cubicBezTo>
                  <a:cubicBezTo>
                    <a:pt x="1188" y="177"/>
                    <a:pt x="1189" y="177"/>
                    <a:pt x="1191" y="177"/>
                  </a:cubicBezTo>
                  <a:cubicBezTo>
                    <a:pt x="1343" y="179"/>
                    <a:pt x="1465" y="303"/>
                    <a:pt x="1465" y="455"/>
                  </a:cubicBezTo>
                  <a:cubicBezTo>
                    <a:pt x="1465" y="969"/>
                    <a:pt x="1465" y="969"/>
                    <a:pt x="1465" y="969"/>
                  </a:cubicBezTo>
                  <a:cubicBezTo>
                    <a:pt x="1402" y="969"/>
                    <a:pt x="1402" y="969"/>
                    <a:pt x="1402" y="969"/>
                  </a:cubicBezTo>
                  <a:cubicBezTo>
                    <a:pt x="1402" y="790"/>
                    <a:pt x="1402" y="790"/>
                    <a:pt x="1402" y="790"/>
                  </a:cubicBezTo>
                  <a:cubicBezTo>
                    <a:pt x="1402" y="773"/>
                    <a:pt x="1387" y="758"/>
                    <a:pt x="1370" y="758"/>
                  </a:cubicBezTo>
                  <a:cubicBezTo>
                    <a:pt x="1352" y="758"/>
                    <a:pt x="1338" y="773"/>
                    <a:pt x="1338" y="790"/>
                  </a:cubicBezTo>
                  <a:cubicBezTo>
                    <a:pt x="1338" y="969"/>
                    <a:pt x="1338" y="969"/>
                    <a:pt x="1338" y="969"/>
                  </a:cubicBezTo>
                  <a:cubicBezTo>
                    <a:pt x="1037" y="969"/>
                    <a:pt x="1037" y="969"/>
                    <a:pt x="1037" y="969"/>
                  </a:cubicBezTo>
                  <a:lnTo>
                    <a:pt x="1037" y="859"/>
                  </a:lnTo>
                  <a:close/>
                  <a:moveTo>
                    <a:pt x="1037" y="1129"/>
                  </a:moveTo>
                  <a:cubicBezTo>
                    <a:pt x="912" y="1129"/>
                    <a:pt x="912" y="1129"/>
                    <a:pt x="912" y="1129"/>
                  </a:cubicBezTo>
                  <a:cubicBezTo>
                    <a:pt x="912" y="1110"/>
                    <a:pt x="912" y="1110"/>
                    <a:pt x="912" y="1110"/>
                  </a:cubicBezTo>
                  <a:cubicBezTo>
                    <a:pt x="912" y="1068"/>
                    <a:pt x="947" y="1033"/>
                    <a:pt x="989" y="1033"/>
                  </a:cubicBezTo>
                  <a:cubicBezTo>
                    <a:pt x="1497" y="1033"/>
                    <a:pt x="1497" y="1033"/>
                    <a:pt x="1497" y="1033"/>
                  </a:cubicBezTo>
                  <a:cubicBezTo>
                    <a:pt x="1540" y="1033"/>
                    <a:pt x="1574" y="1068"/>
                    <a:pt x="1574" y="1110"/>
                  </a:cubicBezTo>
                  <a:cubicBezTo>
                    <a:pt x="1574" y="1129"/>
                    <a:pt x="1574" y="1129"/>
                    <a:pt x="1574" y="1129"/>
                  </a:cubicBezTo>
                  <a:lnTo>
                    <a:pt x="1037" y="1129"/>
                  </a:lnTo>
                  <a:close/>
                  <a:moveTo>
                    <a:pt x="1037" y="1129"/>
                  </a:moveTo>
                  <a:cubicBezTo>
                    <a:pt x="1037" y="1129"/>
                    <a:pt x="1037" y="1129"/>
                    <a:pt x="1037" y="11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7"/>
            <p:cNvSpPr>
              <a:spLocks noEditPoints="1"/>
            </p:cNvSpPr>
            <p:nvPr/>
          </p:nvSpPr>
          <p:spPr bwMode="auto">
            <a:xfrm>
              <a:off x="976" y="2503"/>
              <a:ext cx="122" cy="122"/>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8"/>
            <p:cNvSpPr>
              <a:spLocks noEditPoints="1"/>
            </p:cNvSpPr>
            <p:nvPr/>
          </p:nvSpPr>
          <p:spPr bwMode="auto">
            <a:xfrm>
              <a:off x="-494" y="1421"/>
              <a:ext cx="412" cy="410"/>
            </a:xfrm>
            <a:custGeom>
              <a:avLst/>
              <a:gdLst>
                <a:gd name="T0" fmla="*/ 186 w 218"/>
                <a:gd name="T1" fmla="*/ 0 h 217"/>
                <a:gd name="T2" fmla="*/ 32 w 218"/>
                <a:gd name="T3" fmla="*/ 0 h 217"/>
                <a:gd name="T4" fmla="*/ 0 w 218"/>
                <a:gd name="T5" fmla="*/ 32 h 217"/>
                <a:gd name="T6" fmla="*/ 0 w 218"/>
                <a:gd name="T7" fmla="*/ 185 h 217"/>
                <a:gd name="T8" fmla="*/ 32 w 218"/>
                <a:gd name="T9" fmla="*/ 217 h 217"/>
                <a:gd name="T10" fmla="*/ 186 w 218"/>
                <a:gd name="T11" fmla="*/ 217 h 217"/>
                <a:gd name="T12" fmla="*/ 218 w 218"/>
                <a:gd name="T13" fmla="*/ 185 h 217"/>
                <a:gd name="T14" fmla="*/ 218 w 218"/>
                <a:gd name="T15" fmla="*/ 32 h 217"/>
                <a:gd name="T16" fmla="*/ 186 w 218"/>
                <a:gd name="T17" fmla="*/ 0 h 217"/>
                <a:gd name="T18" fmla="*/ 154 w 218"/>
                <a:gd name="T19" fmla="*/ 153 h 217"/>
                <a:gd name="T20" fmla="*/ 64 w 218"/>
                <a:gd name="T21" fmla="*/ 153 h 217"/>
                <a:gd name="T22" fmla="*/ 64 w 218"/>
                <a:gd name="T23" fmla="*/ 64 h 217"/>
                <a:gd name="T24" fmla="*/ 154 w 218"/>
                <a:gd name="T25" fmla="*/ 64 h 217"/>
                <a:gd name="T26" fmla="*/ 154 w 218"/>
                <a:gd name="T27" fmla="*/ 153 h 217"/>
                <a:gd name="T28" fmla="*/ 154 w 218"/>
                <a:gd name="T29" fmla="*/ 153 h 217"/>
                <a:gd name="T30" fmla="*/ 154 w 218"/>
                <a:gd name="T31" fmla="*/ 15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 h="217">
                  <a:moveTo>
                    <a:pt x="186" y="0"/>
                  </a:moveTo>
                  <a:cubicBezTo>
                    <a:pt x="32" y="0"/>
                    <a:pt x="32" y="0"/>
                    <a:pt x="32" y="0"/>
                  </a:cubicBezTo>
                  <a:cubicBezTo>
                    <a:pt x="15" y="0"/>
                    <a:pt x="0" y="14"/>
                    <a:pt x="0" y="32"/>
                  </a:cubicBezTo>
                  <a:cubicBezTo>
                    <a:pt x="0" y="185"/>
                    <a:pt x="0" y="185"/>
                    <a:pt x="0" y="185"/>
                  </a:cubicBezTo>
                  <a:cubicBezTo>
                    <a:pt x="0" y="203"/>
                    <a:pt x="15" y="217"/>
                    <a:pt x="32" y="217"/>
                  </a:cubicBezTo>
                  <a:cubicBezTo>
                    <a:pt x="186" y="217"/>
                    <a:pt x="186" y="217"/>
                    <a:pt x="186" y="217"/>
                  </a:cubicBezTo>
                  <a:cubicBezTo>
                    <a:pt x="204" y="217"/>
                    <a:pt x="218" y="203"/>
                    <a:pt x="218" y="185"/>
                  </a:cubicBezTo>
                  <a:cubicBezTo>
                    <a:pt x="218" y="32"/>
                    <a:pt x="218" y="32"/>
                    <a:pt x="218" y="32"/>
                  </a:cubicBezTo>
                  <a:cubicBezTo>
                    <a:pt x="218" y="14"/>
                    <a:pt x="204" y="0"/>
                    <a:pt x="186" y="0"/>
                  </a:cubicBezTo>
                  <a:close/>
                  <a:moveTo>
                    <a:pt x="154" y="153"/>
                  </a:moveTo>
                  <a:cubicBezTo>
                    <a:pt x="64" y="153"/>
                    <a:pt x="64" y="153"/>
                    <a:pt x="64" y="153"/>
                  </a:cubicBezTo>
                  <a:cubicBezTo>
                    <a:pt x="64" y="64"/>
                    <a:pt x="64" y="64"/>
                    <a:pt x="64" y="64"/>
                  </a:cubicBezTo>
                  <a:cubicBezTo>
                    <a:pt x="154" y="64"/>
                    <a:pt x="154" y="64"/>
                    <a:pt x="154" y="64"/>
                  </a:cubicBezTo>
                  <a:lnTo>
                    <a:pt x="154" y="153"/>
                  </a:lnTo>
                  <a:close/>
                  <a:moveTo>
                    <a:pt x="154" y="153"/>
                  </a:moveTo>
                  <a:cubicBezTo>
                    <a:pt x="154" y="153"/>
                    <a:pt x="154" y="153"/>
                    <a:pt x="154" y="1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9"/>
            <p:cNvSpPr>
              <a:spLocks noEditPoints="1"/>
            </p:cNvSpPr>
            <p:nvPr/>
          </p:nvSpPr>
          <p:spPr bwMode="auto">
            <a:xfrm>
              <a:off x="41" y="1566"/>
              <a:ext cx="617" cy="122"/>
            </a:xfrm>
            <a:custGeom>
              <a:avLst/>
              <a:gdLst>
                <a:gd name="T0" fmla="*/ 294 w 326"/>
                <a:gd name="T1" fmla="*/ 0 h 64"/>
                <a:gd name="T2" fmla="*/ 32 w 326"/>
                <a:gd name="T3" fmla="*/ 0 h 64"/>
                <a:gd name="T4" fmla="*/ 0 w 326"/>
                <a:gd name="T5" fmla="*/ 32 h 64"/>
                <a:gd name="T6" fmla="*/ 32 w 326"/>
                <a:gd name="T7" fmla="*/ 64 h 64"/>
                <a:gd name="T8" fmla="*/ 294 w 326"/>
                <a:gd name="T9" fmla="*/ 64 h 64"/>
                <a:gd name="T10" fmla="*/ 326 w 326"/>
                <a:gd name="T11" fmla="*/ 32 h 64"/>
                <a:gd name="T12" fmla="*/ 294 w 326"/>
                <a:gd name="T13" fmla="*/ 0 h 64"/>
                <a:gd name="T14" fmla="*/ 294 w 326"/>
                <a:gd name="T15" fmla="*/ 0 h 64"/>
                <a:gd name="T16" fmla="*/ 294 w 32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64">
                  <a:moveTo>
                    <a:pt x="294" y="0"/>
                  </a:moveTo>
                  <a:cubicBezTo>
                    <a:pt x="32" y="0"/>
                    <a:pt x="32" y="0"/>
                    <a:pt x="32" y="0"/>
                  </a:cubicBezTo>
                  <a:cubicBezTo>
                    <a:pt x="14" y="0"/>
                    <a:pt x="0" y="14"/>
                    <a:pt x="0" y="32"/>
                  </a:cubicBezTo>
                  <a:cubicBezTo>
                    <a:pt x="0" y="49"/>
                    <a:pt x="14" y="64"/>
                    <a:pt x="32" y="64"/>
                  </a:cubicBezTo>
                  <a:cubicBezTo>
                    <a:pt x="294" y="64"/>
                    <a:pt x="294" y="64"/>
                    <a:pt x="294" y="64"/>
                  </a:cubicBezTo>
                  <a:cubicBezTo>
                    <a:pt x="312" y="64"/>
                    <a:pt x="326" y="49"/>
                    <a:pt x="326" y="32"/>
                  </a:cubicBezTo>
                  <a:cubicBezTo>
                    <a:pt x="326" y="14"/>
                    <a:pt x="312" y="0"/>
                    <a:pt x="294" y="0"/>
                  </a:cubicBezTo>
                  <a:close/>
                  <a:moveTo>
                    <a:pt x="294" y="0"/>
                  </a:moveTo>
                  <a:cubicBezTo>
                    <a:pt x="294" y="0"/>
                    <a:pt x="294" y="0"/>
                    <a:pt x="2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0"/>
            <p:cNvSpPr>
              <a:spLocks noEditPoints="1"/>
            </p:cNvSpPr>
            <p:nvPr/>
          </p:nvSpPr>
          <p:spPr bwMode="auto">
            <a:xfrm>
              <a:off x="-494" y="2002"/>
              <a:ext cx="412" cy="412"/>
            </a:xfrm>
            <a:custGeom>
              <a:avLst/>
              <a:gdLst>
                <a:gd name="T0" fmla="*/ 186 w 218"/>
                <a:gd name="T1" fmla="*/ 0 h 218"/>
                <a:gd name="T2" fmla="*/ 32 w 218"/>
                <a:gd name="T3" fmla="*/ 0 h 218"/>
                <a:gd name="T4" fmla="*/ 0 w 218"/>
                <a:gd name="T5" fmla="*/ 32 h 218"/>
                <a:gd name="T6" fmla="*/ 0 w 218"/>
                <a:gd name="T7" fmla="*/ 186 h 218"/>
                <a:gd name="T8" fmla="*/ 32 w 218"/>
                <a:gd name="T9" fmla="*/ 218 h 218"/>
                <a:gd name="T10" fmla="*/ 186 w 218"/>
                <a:gd name="T11" fmla="*/ 218 h 218"/>
                <a:gd name="T12" fmla="*/ 218 w 218"/>
                <a:gd name="T13" fmla="*/ 186 h 218"/>
                <a:gd name="T14" fmla="*/ 218 w 218"/>
                <a:gd name="T15" fmla="*/ 32 h 218"/>
                <a:gd name="T16" fmla="*/ 186 w 218"/>
                <a:gd name="T17" fmla="*/ 0 h 218"/>
                <a:gd name="T18" fmla="*/ 154 w 218"/>
                <a:gd name="T19" fmla="*/ 154 h 218"/>
                <a:gd name="T20" fmla="*/ 64 w 218"/>
                <a:gd name="T21" fmla="*/ 154 h 218"/>
                <a:gd name="T22" fmla="*/ 64 w 218"/>
                <a:gd name="T23" fmla="*/ 64 h 218"/>
                <a:gd name="T24" fmla="*/ 154 w 218"/>
                <a:gd name="T25" fmla="*/ 64 h 218"/>
                <a:gd name="T26" fmla="*/ 154 w 218"/>
                <a:gd name="T27" fmla="*/ 154 h 218"/>
                <a:gd name="T28" fmla="*/ 154 w 218"/>
                <a:gd name="T29" fmla="*/ 154 h 218"/>
                <a:gd name="T30" fmla="*/ 154 w 218"/>
                <a:gd name="T31" fmla="*/ 15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 h="218">
                  <a:moveTo>
                    <a:pt x="186" y="0"/>
                  </a:moveTo>
                  <a:cubicBezTo>
                    <a:pt x="32" y="0"/>
                    <a:pt x="32" y="0"/>
                    <a:pt x="32" y="0"/>
                  </a:cubicBezTo>
                  <a:cubicBezTo>
                    <a:pt x="15" y="0"/>
                    <a:pt x="0" y="14"/>
                    <a:pt x="0" y="32"/>
                  </a:cubicBezTo>
                  <a:cubicBezTo>
                    <a:pt x="0" y="186"/>
                    <a:pt x="0" y="186"/>
                    <a:pt x="0" y="186"/>
                  </a:cubicBezTo>
                  <a:cubicBezTo>
                    <a:pt x="0" y="203"/>
                    <a:pt x="15" y="218"/>
                    <a:pt x="32" y="218"/>
                  </a:cubicBezTo>
                  <a:cubicBezTo>
                    <a:pt x="186" y="218"/>
                    <a:pt x="186" y="218"/>
                    <a:pt x="186" y="218"/>
                  </a:cubicBezTo>
                  <a:cubicBezTo>
                    <a:pt x="204" y="218"/>
                    <a:pt x="218" y="203"/>
                    <a:pt x="218" y="186"/>
                  </a:cubicBezTo>
                  <a:cubicBezTo>
                    <a:pt x="218" y="32"/>
                    <a:pt x="218" y="32"/>
                    <a:pt x="218" y="32"/>
                  </a:cubicBezTo>
                  <a:cubicBezTo>
                    <a:pt x="218" y="14"/>
                    <a:pt x="204" y="0"/>
                    <a:pt x="186" y="0"/>
                  </a:cubicBezTo>
                  <a:close/>
                  <a:moveTo>
                    <a:pt x="154" y="154"/>
                  </a:moveTo>
                  <a:cubicBezTo>
                    <a:pt x="64" y="154"/>
                    <a:pt x="64" y="154"/>
                    <a:pt x="64" y="154"/>
                  </a:cubicBezTo>
                  <a:cubicBezTo>
                    <a:pt x="64" y="64"/>
                    <a:pt x="64" y="64"/>
                    <a:pt x="64" y="64"/>
                  </a:cubicBezTo>
                  <a:cubicBezTo>
                    <a:pt x="154" y="64"/>
                    <a:pt x="154" y="64"/>
                    <a:pt x="154" y="64"/>
                  </a:cubicBezTo>
                  <a:lnTo>
                    <a:pt x="154" y="154"/>
                  </a:lnTo>
                  <a:close/>
                  <a:moveTo>
                    <a:pt x="154" y="154"/>
                  </a:moveTo>
                  <a:cubicBezTo>
                    <a:pt x="154" y="154"/>
                    <a:pt x="154" y="154"/>
                    <a:pt x="154"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1"/>
            <p:cNvSpPr>
              <a:spLocks noEditPoints="1"/>
            </p:cNvSpPr>
            <p:nvPr/>
          </p:nvSpPr>
          <p:spPr bwMode="auto">
            <a:xfrm>
              <a:off x="41" y="2148"/>
              <a:ext cx="617" cy="121"/>
            </a:xfrm>
            <a:custGeom>
              <a:avLst/>
              <a:gdLst>
                <a:gd name="T0" fmla="*/ 294 w 326"/>
                <a:gd name="T1" fmla="*/ 0 h 64"/>
                <a:gd name="T2" fmla="*/ 32 w 326"/>
                <a:gd name="T3" fmla="*/ 0 h 64"/>
                <a:gd name="T4" fmla="*/ 0 w 326"/>
                <a:gd name="T5" fmla="*/ 32 h 64"/>
                <a:gd name="T6" fmla="*/ 32 w 326"/>
                <a:gd name="T7" fmla="*/ 64 h 64"/>
                <a:gd name="T8" fmla="*/ 294 w 326"/>
                <a:gd name="T9" fmla="*/ 64 h 64"/>
                <a:gd name="T10" fmla="*/ 326 w 326"/>
                <a:gd name="T11" fmla="*/ 32 h 64"/>
                <a:gd name="T12" fmla="*/ 294 w 326"/>
                <a:gd name="T13" fmla="*/ 0 h 64"/>
                <a:gd name="T14" fmla="*/ 294 w 326"/>
                <a:gd name="T15" fmla="*/ 0 h 64"/>
                <a:gd name="T16" fmla="*/ 294 w 32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64">
                  <a:moveTo>
                    <a:pt x="294" y="0"/>
                  </a:moveTo>
                  <a:cubicBezTo>
                    <a:pt x="32" y="0"/>
                    <a:pt x="32" y="0"/>
                    <a:pt x="32" y="0"/>
                  </a:cubicBezTo>
                  <a:cubicBezTo>
                    <a:pt x="14" y="0"/>
                    <a:pt x="0" y="14"/>
                    <a:pt x="0" y="32"/>
                  </a:cubicBezTo>
                  <a:cubicBezTo>
                    <a:pt x="0" y="49"/>
                    <a:pt x="14" y="64"/>
                    <a:pt x="32" y="64"/>
                  </a:cubicBezTo>
                  <a:cubicBezTo>
                    <a:pt x="294" y="64"/>
                    <a:pt x="294" y="64"/>
                    <a:pt x="294" y="64"/>
                  </a:cubicBezTo>
                  <a:cubicBezTo>
                    <a:pt x="312" y="64"/>
                    <a:pt x="326" y="49"/>
                    <a:pt x="326" y="32"/>
                  </a:cubicBezTo>
                  <a:cubicBezTo>
                    <a:pt x="326" y="14"/>
                    <a:pt x="312" y="0"/>
                    <a:pt x="294" y="0"/>
                  </a:cubicBezTo>
                  <a:close/>
                  <a:moveTo>
                    <a:pt x="294" y="0"/>
                  </a:moveTo>
                  <a:cubicBezTo>
                    <a:pt x="294" y="0"/>
                    <a:pt x="294" y="0"/>
                    <a:pt x="2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2"/>
            <p:cNvSpPr>
              <a:spLocks noEditPoints="1"/>
            </p:cNvSpPr>
            <p:nvPr/>
          </p:nvSpPr>
          <p:spPr bwMode="auto">
            <a:xfrm>
              <a:off x="-494" y="2583"/>
              <a:ext cx="412" cy="413"/>
            </a:xfrm>
            <a:custGeom>
              <a:avLst/>
              <a:gdLst>
                <a:gd name="T0" fmla="*/ 186 w 218"/>
                <a:gd name="T1" fmla="*/ 0 h 218"/>
                <a:gd name="T2" fmla="*/ 32 w 218"/>
                <a:gd name="T3" fmla="*/ 0 h 218"/>
                <a:gd name="T4" fmla="*/ 0 w 218"/>
                <a:gd name="T5" fmla="*/ 32 h 218"/>
                <a:gd name="T6" fmla="*/ 0 w 218"/>
                <a:gd name="T7" fmla="*/ 186 h 218"/>
                <a:gd name="T8" fmla="*/ 32 w 218"/>
                <a:gd name="T9" fmla="*/ 218 h 218"/>
                <a:gd name="T10" fmla="*/ 186 w 218"/>
                <a:gd name="T11" fmla="*/ 218 h 218"/>
                <a:gd name="T12" fmla="*/ 218 w 218"/>
                <a:gd name="T13" fmla="*/ 186 h 218"/>
                <a:gd name="T14" fmla="*/ 218 w 218"/>
                <a:gd name="T15" fmla="*/ 32 h 218"/>
                <a:gd name="T16" fmla="*/ 186 w 218"/>
                <a:gd name="T17" fmla="*/ 0 h 218"/>
                <a:gd name="T18" fmla="*/ 154 w 218"/>
                <a:gd name="T19" fmla="*/ 154 h 218"/>
                <a:gd name="T20" fmla="*/ 64 w 218"/>
                <a:gd name="T21" fmla="*/ 154 h 218"/>
                <a:gd name="T22" fmla="*/ 64 w 218"/>
                <a:gd name="T23" fmla="*/ 64 h 218"/>
                <a:gd name="T24" fmla="*/ 154 w 218"/>
                <a:gd name="T25" fmla="*/ 64 h 218"/>
                <a:gd name="T26" fmla="*/ 154 w 218"/>
                <a:gd name="T27" fmla="*/ 154 h 218"/>
                <a:gd name="T28" fmla="*/ 154 w 218"/>
                <a:gd name="T29" fmla="*/ 154 h 218"/>
                <a:gd name="T30" fmla="*/ 154 w 218"/>
                <a:gd name="T31" fmla="*/ 15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 h="218">
                  <a:moveTo>
                    <a:pt x="186" y="0"/>
                  </a:moveTo>
                  <a:cubicBezTo>
                    <a:pt x="32" y="0"/>
                    <a:pt x="32" y="0"/>
                    <a:pt x="32" y="0"/>
                  </a:cubicBezTo>
                  <a:cubicBezTo>
                    <a:pt x="15" y="0"/>
                    <a:pt x="0" y="15"/>
                    <a:pt x="0" y="32"/>
                  </a:cubicBezTo>
                  <a:cubicBezTo>
                    <a:pt x="0" y="186"/>
                    <a:pt x="0" y="186"/>
                    <a:pt x="0" y="186"/>
                  </a:cubicBezTo>
                  <a:cubicBezTo>
                    <a:pt x="0" y="203"/>
                    <a:pt x="15" y="218"/>
                    <a:pt x="32" y="218"/>
                  </a:cubicBezTo>
                  <a:cubicBezTo>
                    <a:pt x="186" y="218"/>
                    <a:pt x="186" y="218"/>
                    <a:pt x="186" y="218"/>
                  </a:cubicBezTo>
                  <a:cubicBezTo>
                    <a:pt x="204" y="218"/>
                    <a:pt x="218" y="203"/>
                    <a:pt x="218" y="186"/>
                  </a:cubicBezTo>
                  <a:cubicBezTo>
                    <a:pt x="218" y="32"/>
                    <a:pt x="218" y="32"/>
                    <a:pt x="218" y="32"/>
                  </a:cubicBezTo>
                  <a:cubicBezTo>
                    <a:pt x="218" y="15"/>
                    <a:pt x="204" y="0"/>
                    <a:pt x="186" y="0"/>
                  </a:cubicBezTo>
                  <a:close/>
                  <a:moveTo>
                    <a:pt x="154" y="154"/>
                  </a:moveTo>
                  <a:cubicBezTo>
                    <a:pt x="64" y="154"/>
                    <a:pt x="64" y="154"/>
                    <a:pt x="64" y="154"/>
                  </a:cubicBezTo>
                  <a:cubicBezTo>
                    <a:pt x="64" y="64"/>
                    <a:pt x="64" y="64"/>
                    <a:pt x="64" y="64"/>
                  </a:cubicBezTo>
                  <a:cubicBezTo>
                    <a:pt x="154" y="64"/>
                    <a:pt x="154" y="64"/>
                    <a:pt x="154" y="64"/>
                  </a:cubicBezTo>
                  <a:lnTo>
                    <a:pt x="154" y="154"/>
                  </a:lnTo>
                  <a:close/>
                  <a:moveTo>
                    <a:pt x="154" y="154"/>
                  </a:moveTo>
                  <a:cubicBezTo>
                    <a:pt x="154" y="154"/>
                    <a:pt x="154" y="154"/>
                    <a:pt x="154"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3"/>
            <p:cNvSpPr>
              <a:spLocks noEditPoints="1"/>
            </p:cNvSpPr>
            <p:nvPr/>
          </p:nvSpPr>
          <p:spPr bwMode="auto">
            <a:xfrm>
              <a:off x="41" y="2729"/>
              <a:ext cx="227" cy="121"/>
            </a:xfrm>
            <a:custGeom>
              <a:avLst/>
              <a:gdLst>
                <a:gd name="T0" fmla="*/ 88 w 120"/>
                <a:gd name="T1" fmla="*/ 0 h 64"/>
                <a:gd name="T2" fmla="*/ 32 w 120"/>
                <a:gd name="T3" fmla="*/ 0 h 64"/>
                <a:gd name="T4" fmla="*/ 0 w 120"/>
                <a:gd name="T5" fmla="*/ 32 h 64"/>
                <a:gd name="T6" fmla="*/ 32 w 120"/>
                <a:gd name="T7" fmla="*/ 64 h 64"/>
                <a:gd name="T8" fmla="*/ 88 w 120"/>
                <a:gd name="T9" fmla="*/ 64 h 64"/>
                <a:gd name="T10" fmla="*/ 120 w 120"/>
                <a:gd name="T11" fmla="*/ 32 h 64"/>
                <a:gd name="T12" fmla="*/ 88 w 120"/>
                <a:gd name="T13" fmla="*/ 0 h 64"/>
                <a:gd name="T14" fmla="*/ 88 w 120"/>
                <a:gd name="T15" fmla="*/ 0 h 64"/>
                <a:gd name="T16" fmla="*/ 88 w 12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64">
                  <a:moveTo>
                    <a:pt x="88" y="0"/>
                  </a:moveTo>
                  <a:cubicBezTo>
                    <a:pt x="32" y="0"/>
                    <a:pt x="32" y="0"/>
                    <a:pt x="32" y="0"/>
                  </a:cubicBezTo>
                  <a:cubicBezTo>
                    <a:pt x="14" y="0"/>
                    <a:pt x="0" y="14"/>
                    <a:pt x="0" y="32"/>
                  </a:cubicBezTo>
                  <a:cubicBezTo>
                    <a:pt x="0" y="50"/>
                    <a:pt x="14" y="64"/>
                    <a:pt x="32" y="64"/>
                  </a:cubicBezTo>
                  <a:cubicBezTo>
                    <a:pt x="88" y="64"/>
                    <a:pt x="88" y="64"/>
                    <a:pt x="88" y="64"/>
                  </a:cubicBezTo>
                  <a:cubicBezTo>
                    <a:pt x="105" y="64"/>
                    <a:pt x="120" y="50"/>
                    <a:pt x="120" y="32"/>
                  </a:cubicBezTo>
                  <a:cubicBezTo>
                    <a:pt x="120" y="14"/>
                    <a:pt x="105" y="0"/>
                    <a:pt x="88" y="0"/>
                  </a:cubicBezTo>
                  <a:close/>
                  <a:moveTo>
                    <a:pt x="88" y="0"/>
                  </a:moveTo>
                  <a:cubicBezTo>
                    <a:pt x="88" y="0"/>
                    <a:pt x="88"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4"/>
            <p:cNvSpPr>
              <a:spLocks noEditPoints="1"/>
            </p:cNvSpPr>
            <p:nvPr/>
          </p:nvSpPr>
          <p:spPr bwMode="auto">
            <a:xfrm>
              <a:off x="-494" y="3164"/>
              <a:ext cx="412" cy="413"/>
            </a:xfrm>
            <a:custGeom>
              <a:avLst/>
              <a:gdLst>
                <a:gd name="T0" fmla="*/ 186 w 218"/>
                <a:gd name="T1" fmla="*/ 0 h 218"/>
                <a:gd name="T2" fmla="*/ 32 w 218"/>
                <a:gd name="T3" fmla="*/ 0 h 218"/>
                <a:gd name="T4" fmla="*/ 0 w 218"/>
                <a:gd name="T5" fmla="*/ 32 h 218"/>
                <a:gd name="T6" fmla="*/ 0 w 218"/>
                <a:gd name="T7" fmla="*/ 186 h 218"/>
                <a:gd name="T8" fmla="*/ 32 w 218"/>
                <a:gd name="T9" fmla="*/ 218 h 218"/>
                <a:gd name="T10" fmla="*/ 186 w 218"/>
                <a:gd name="T11" fmla="*/ 218 h 218"/>
                <a:gd name="T12" fmla="*/ 218 w 218"/>
                <a:gd name="T13" fmla="*/ 186 h 218"/>
                <a:gd name="T14" fmla="*/ 218 w 218"/>
                <a:gd name="T15" fmla="*/ 32 h 218"/>
                <a:gd name="T16" fmla="*/ 186 w 218"/>
                <a:gd name="T17" fmla="*/ 0 h 218"/>
                <a:gd name="T18" fmla="*/ 154 w 218"/>
                <a:gd name="T19" fmla="*/ 154 h 218"/>
                <a:gd name="T20" fmla="*/ 64 w 218"/>
                <a:gd name="T21" fmla="*/ 154 h 218"/>
                <a:gd name="T22" fmla="*/ 64 w 218"/>
                <a:gd name="T23" fmla="*/ 64 h 218"/>
                <a:gd name="T24" fmla="*/ 154 w 218"/>
                <a:gd name="T25" fmla="*/ 64 h 218"/>
                <a:gd name="T26" fmla="*/ 154 w 218"/>
                <a:gd name="T27" fmla="*/ 154 h 218"/>
                <a:gd name="T28" fmla="*/ 154 w 218"/>
                <a:gd name="T29" fmla="*/ 154 h 218"/>
                <a:gd name="T30" fmla="*/ 154 w 218"/>
                <a:gd name="T31" fmla="*/ 15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 h="218">
                  <a:moveTo>
                    <a:pt x="186" y="0"/>
                  </a:moveTo>
                  <a:cubicBezTo>
                    <a:pt x="32" y="0"/>
                    <a:pt x="32" y="0"/>
                    <a:pt x="32" y="0"/>
                  </a:cubicBezTo>
                  <a:cubicBezTo>
                    <a:pt x="15" y="0"/>
                    <a:pt x="0" y="14"/>
                    <a:pt x="0" y="32"/>
                  </a:cubicBezTo>
                  <a:cubicBezTo>
                    <a:pt x="0" y="186"/>
                    <a:pt x="0" y="186"/>
                    <a:pt x="0" y="186"/>
                  </a:cubicBezTo>
                  <a:cubicBezTo>
                    <a:pt x="0" y="203"/>
                    <a:pt x="15" y="218"/>
                    <a:pt x="32" y="218"/>
                  </a:cubicBezTo>
                  <a:cubicBezTo>
                    <a:pt x="186" y="218"/>
                    <a:pt x="186" y="218"/>
                    <a:pt x="186" y="218"/>
                  </a:cubicBezTo>
                  <a:cubicBezTo>
                    <a:pt x="204" y="218"/>
                    <a:pt x="218" y="203"/>
                    <a:pt x="218" y="186"/>
                  </a:cubicBezTo>
                  <a:cubicBezTo>
                    <a:pt x="218" y="32"/>
                    <a:pt x="218" y="32"/>
                    <a:pt x="218" y="32"/>
                  </a:cubicBezTo>
                  <a:cubicBezTo>
                    <a:pt x="218" y="14"/>
                    <a:pt x="204" y="0"/>
                    <a:pt x="186" y="0"/>
                  </a:cubicBezTo>
                  <a:close/>
                  <a:moveTo>
                    <a:pt x="154" y="154"/>
                  </a:moveTo>
                  <a:cubicBezTo>
                    <a:pt x="64" y="154"/>
                    <a:pt x="64" y="154"/>
                    <a:pt x="64" y="154"/>
                  </a:cubicBezTo>
                  <a:cubicBezTo>
                    <a:pt x="64" y="64"/>
                    <a:pt x="64" y="64"/>
                    <a:pt x="64" y="64"/>
                  </a:cubicBezTo>
                  <a:cubicBezTo>
                    <a:pt x="154" y="64"/>
                    <a:pt x="154" y="64"/>
                    <a:pt x="154" y="64"/>
                  </a:cubicBezTo>
                  <a:lnTo>
                    <a:pt x="154" y="154"/>
                  </a:lnTo>
                  <a:close/>
                  <a:moveTo>
                    <a:pt x="154" y="154"/>
                  </a:moveTo>
                  <a:cubicBezTo>
                    <a:pt x="154" y="154"/>
                    <a:pt x="154" y="154"/>
                    <a:pt x="154"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5"/>
            <p:cNvSpPr>
              <a:spLocks noEditPoints="1"/>
            </p:cNvSpPr>
            <p:nvPr/>
          </p:nvSpPr>
          <p:spPr bwMode="auto">
            <a:xfrm>
              <a:off x="41" y="3310"/>
              <a:ext cx="521" cy="121"/>
            </a:xfrm>
            <a:custGeom>
              <a:avLst/>
              <a:gdLst>
                <a:gd name="T0" fmla="*/ 243 w 275"/>
                <a:gd name="T1" fmla="*/ 0 h 64"/>
                <a:gd name="T2" fmla="*/ 32 w 275"/>
                <a:gd name="T3" fmla="*/ 0 h 64"/>
                <a:gd name="T4" fmla="*/ 0 w 275"/>
                <a:gd name="T5" fmla="*/ 32 h 64"/>
                <a:gd name="T6" fmla="*/ 32 w 275"/>
                <a:gd name="T7" fmla="*/ 64 h 64"/>
                <a:gd name="T8" fmla="*/ 243 w 275"/>
                <a:gd name="T9" fmla="*/ 64 h 64"/>
                <a:gd name="T10" fmla="*/ 275 w 275"/>
                <a:gd name="T11" fmla="*/ 32 h 64"/>
                <a:gd name="T12" fmla="*/ 243 w 275"/>
                <a:gd name="T13" fmla="*/ 0 h 64"/>
                <a:gd name="T14" fmla="*/ 243 w 275"/>
                <a:gd name="T15" fmla="*/ 0 h 64"/>
                <a:gd name="T16" fmla="*/ 243 w 27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64">
                  <a:moveTo>
                    <a:pt x="243" y="0"/>
                  </a:moveTo>
                  <a:cubicBezTo>
                    <a:pt x="32" y="0"/>
                    <a:pt x="32" y="0"/>
                    <a:pt x="32" y="0"/>
                  </a:cubicBezTo>
                  <a:cubicBezTo>
                    <a:pt x="14" y="0"/>
                    <a:pt x="0" y="14"/>
                    <a:pt x="0" y="32"/>
                  </a:cubicBezTo>
                  <a:cubicBezTo>
                    <a:pt x="0" y="50"/>
                    <a:pt x="14" y="64"/>
                    <a:pt x="32" y="64"/>
                  </a:cubicBezTo>
                  <a:cubicBezTo>
                    <a:pt x="243" y="64"/>
                    <a:pt x="243" y="64"/>
                    <a:pt x="243" y="64"/>
                  </a:cubicBezTo>
                  <a:cubicBezTo>
                    <a:pt x="260" y="64"/>
                    <a:pt x="275" y="50"/>
                    <a:pt x="275" y="32"/>
                  </a:cubicBezTo>
                  <a:cubicBezTo>
                    <a:pt x="275" y="14"/>
                    <a:pt x="260" y="0"/>
                    <a:pt x="243" y="0"/>
                  </a:cubicBezTo>
                  <a:close/>
                  <a:moveTo>
                    <a:pt x="243" y="0"/>
                  </a:moveTo>
                  <a:cubicBezTo>
                    <a:pt x="243" y="0"/>
                    <a:pt x="243" y="0"/>
                    <a:pt x="2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6"/>
            <p:cNvSpPr>
              <a:spLocks noEditPoints="1"/>
            </p:cNvSpPr>
            <p:nvPr/>
          </p:nvSpPr>
          <p:spPr bwMode="auto">
            <a:xfrm>
              <a:off x="1482" y="3141"/>
              <a:ext cx="121" cy="122"/>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3" name="Group 120"/>
          <p:cNvGrpSpPr>
            <a:grpSpLocks noChangeAspect="1"/>
          </p:cNvGrpSpPr>
          <p:nvPr/>
        </p:nvGrpSpPr>
        <p:grpSpPr bwMode="auto">
          <a:xfrm>
            <a:off x="10046338" y="1860791"/>
            <a:ext cx="457200" cy="457200"/>
            <a:chOff x="1590" y="767"/>
            <a:chExt cx="3101" cy="3101"/>
          </a:xfrm>
          <a:solidFill>
            <a:schemeClr val="accent1"/>
          </a:solidFill>
        </p:grpSpPr>
        <p:sp>
          <p:nvSpPr>
            <p:cNvPr id="125" name="Freeform 121"/>
            <p:cNvSpPr>
              <a:spLocks noEditPoints="1"/>
            </p:cNvSpPr>
            <p:nvPr/>
          </p:nvSpPr>
          <p:spPr bwMode="auto">
            <a:xfrm>
              <a:off x="1590" y="767"/>
              <a:ext cx="3101" cy="3101"/>
            </a:xfrm>
            <a:custGeom>
              <a:avLst/>
              <a:gdLst>
                <a:gd name="T0" fmla="*/ 1629 w 1638"/>
                <a:gd name="T1" fmla="*/ 301 h 1638"/>
                <a:gd name="T2" fmla="*/ 1338 w 1638"/>
                <a:gd name="T3" fmla="*/ 9 h 1638"/>
                <a:gd name="T4" fmla="*/ 1315 w 1638"/>
                <a:gd name="T5" fmla="*/ 0 h 1638"/>
                <a:gd name="T6" fmla="*/ 365 w 1638"/>
                <a:gd name="T7" fmla="*/ 0 h 1638"/>
                <a:gd name="T8" fmla="*/ 269 w 1638"/>
                <a:gd name="T9" fmla="*/ 96 h 1638"/>
                <a:gd name="T10" fmla="*/ 269 w 1638"/>
                <a:gd name="T11" fmla="*/ 157 h 1638"/>
                <a:gd name="T12" fmla="*/ 0 w 1638"/>
                <a:gd name="T13" fmla="*/ 551 h 1638"/>
                <a:gd name="T14" fmla="*/ 32 w 1638"/>
                <a:gd name="T15" fmla="*/ 583 h 1638"/>
                <a:gd name="T16" fmla="*/ 423 w 1638"/>
                <a:gd name="T17" fmla="*/ 583 h 1638"/>
                <a:gd name="T18" fmla="*/ 455 w 1638"/>
                <a:gd name="T19" fmla="*/ 551 h 1638"/>
                <a:gd name="T20" fmla="*/ 455 w 1638"/>
                <a:gd name="T21" fmla="*/ 160 h 1638"/>
                <a:gd name="T22" fmla="*/ 423 w 1638"/>
                <a:gd name="T23" fmla="*/ 128 h 1638"/>
                <a:gd name="T24" fmla="*/ 333 w 1638"/>
                <a:gd name="T25" fmla="*/ 138 h 1638"/>
                <a:gd name="T26" fmla="*/ 333 w 1638"/>
                <a:gd name="T27" fmla="*/ 96 h 1638"/>
                <a:gd name="T28" fmla="*/ 365 w 1638"/>
                <a:gd name="T29" fmla="*/ 64 h 1638"/>
                <a:gd name="T30" fmla="*/ 1283 w 1638"/>
                <a:gd name="T31" fmla="*/ 64 h 1638"/>
                <a:gd name="T32" fmla="*/ 1283 w 1638"/>
                <a:gd name="T33" fmla="*/ 259 h 1638"/>
                <a:gd name="T34" fmla="*/ 1379 w 1638"/>
                <a:gd name="T35" fmla="*/ 355 h 1638"/>
                <a:gd name="T36" fmla="*/ 1574 w 1638"/>
                <a:gd name="T37" fmla="*/ 355 h 1638"/>
                <a:gd name="T38" fmla="*/ 1574 w 1638"/>
                <a:gd name="T39" fmla="*/ 1542 h 1638"/>
                <a:gd name="T40" fmla="*/ 1542 w 1638"/>
                <a:gd name="T41" fmla="*/ 1574 h 1638"/>
                <a:gd name="T42" fmla="*/ 365 w 1638"/>
                <a:gd name="T43" fmla="*/ 1574 h 1638"/>
                <a:gd name="T44" fmla="*/ 333 w 1638"/>
                <a:gd name="T45" fmla="*/ 1542 h 1638"/>
                <a:gd name="T46" fmla="*/ 333 w 1638"/>
                <a:gd name="T47" fmla="*/ 1268 h 1638"/>
                <a:gd name="T48" fmla="*/ 301 w 1638"/>
                <a:gd name="T49" fmla="*/ 1236 h 1638"/>
                <a:gd name="T50" fmla="*/ 269 w 1638"/>
                <a:gd name="T51" fmla="*/ 1268 h 1638"/>
                <a:gd name="T52" fmla="*/ 269 w 1638"/>
                <a:gd name="T53" fmla="*/ 1542 h 1638"/>
                <a:gd name="T54" fmla="*/ 365 w 1638"/>
                <a:gd name="T55" fmla="*/ 1638 h 1638"/>
                <a:gd name="T56" fmla="*/ 1542 w 1638"/>
                <a:gd name="T57" fmla="*/ 1638 h 1638"/>
                <a:gd name="T58" fmla="*/ 1638 w 1638"/>
                <a:gd name="T59" fmla="*/ 1542 h 1638"/>
                <a:gd name="T60" fmla="*/ 1638 w 1638"/>
                <a:gd name="T61" fmla="*/ 323 h 1638"/>
                <a:gd name="T62" fmla="*/ 1629 w 1638"/>
                <a:gd name="T63" fmla="*/ 301 h 1638"/>
                <a:gd name="T64" fmla="*/ 391 w 1638"/>
                <a:gd name="T65" fmla="*/ 193 h 1638"/>
                <a:gd name="T66" fmla="*/ 391 w 1638"/>
                <a:gd name="T67" fmla="*/ 519 h 1638"/>
                <a:gd name="T68" fmla="*/ 65 w 1638"/>
                <a:gd name="T69" fmla="*/ 519 h 1638"/>
                <a:gd name="T70" fmla="*/ 391 w 1638"/>
                <a:gd name="T71" fmla="*/ 193 h 1638"/>
                <a:gd name="T72" fmla="*/ 1379 w 1638"/>
                <a:gd name="T73" fmla="*/ 291 h 1638"/>
                <a:gd name="T74" fmla="*/ 1347 w 1638"/>
                <a:gd name="T75" fmla="*/ 259 h 1638"/>
                <a:gd name="T76" fmla="*/ 1347 w 1638"/>
                <a:gd name="T77" fmla="*/ 109 h 1638"/>
                <a:gd name="T78" fmla="*/ 1529 w 1638"/>
                <a:gd name="T79" fmla="*/ 291 h 1638"/>
                <a:gd name="T80" fmla="*/ 1379 w 1638"/>
                <a:gd name="T81" fmla="*/ 291 h 1638"/>
                <a:gd name="T82" fmla="*/ 1379 w 1638"/>
                <a:gd name="T83" fmla="*/ 291 h 1638"/>
                <a:gd name="T84" fmla="*/ 1379 w 1638"/>
                <a:gd name="T85" fmla="*/ 291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 h="1638">
                  <a:moveTo>
                    <a:pt x="1629" y="301"/>
                  </a:moveTo>
                  <a:cubicBezTo>
                    <a:pt x="1338" y="9"/>
                    <a:pt x="1338" y="9"/>
                    <a:pt x="1338" y="9"/>
                  </a:cubicBezTo>
                  <a:cubicBezTo>
                    <a:pt x="1332" y="3"/>
                    <a:pt x="1324" y="0"/>
                    <a:pt x="1315" y="0"/>
                  </a:cubicBezTo>
                  <a:cubicBezTo>
                    <a:pt x="365" y="0"/>
                    <a:pt x="365" y="0"/>
                    <a:pt x="365" y="0"/>
                  </a:cubicBezTo>
                  <a:cubicBezTo>
                    <a:pt x="312" y="0"/>
                    <a:pt x="269" y="43"/>
                    <a:pt x="269" y="96"/>
                  </a:cubicBezTo>
                  <a:cubicBezTo>
                    <a:pt x="269" y="157"/>
                    <a:pt x="269" y="157"/>
                    <a:pt x="269" y="157"/>
                  </a:cubicBezTo>
                  <a:cubicBezTo>
                    <a:pt x="112" y="219"/>
                    <a:pt x="0" y="372"/>
                    <a:pt x="0" y="551"/>
                  </a:cubicBezTo>
                  <a:cubicBezTo>
                    <a:pt x="0" y="568"/>
                    <a:pt x="14" y="583"/>
                    <a:pt x="32" y="583"/>
                  </a:cubicBezTo>
                  <a:cubicBezTo>
                    <a:pt x="423" y="583"/>
                    <a:pt x="423" y="583"/>
                    <a:pt x="423" y="583"/>
                  </a:cubicBezTo>
                  <a:cubicBezTo>
                    <a:pt x="440" y="583"/>
                    <a:pt x="455" y="568"/>
                    <a:pt x="455" y="551"/>
                  </a:cubicBezTo>
                  <a:cubicBezTo>
                    <a:pt x="455" y="160"/>
                    <a:pt x="455" y="160"/>
                    <a:pt x="455" y="160"/>
                  </a:cubicBezTo>
                  <a:cubicBezTo>
                    <a:pt x="455" y="142"/>
                    <a:pt x="440" y="128"/>
                    <a:pt x="423" y="128"/>
                  </a:cubicBezTo>
                  <a:cubicBezTo>
                    <a:pt x="392" y="128"/>
                    <a:pt x="362" y="131"/>
                    <a:pt x="333" y="138"/>
                  </a:cubicBezTo>
                  <a:cubicBezTo>
                    <a:pt x="333" y="96"/>
                    <a:pt x="333" y="96"/>
                    <a:pt x="333" y="96"/>
                  </a:cubicBezTo>
                  <a:cubicBezTo>
                    <a:pt x="333" y="78"/>
                    <a:pt x="347" y="64"/>
                    <a:pt x="365" y="64"/>
                  </a:cubicBezTo>
                  <a:cubicBezTo>
                    <a:pt x="1283" y="64"/>
                    <a:pt x="1283" y="64"/>
                    <a:pt x="1283" y="64"/>
                  </a:cubicBezTo>
                  <a:cubicBezTo>
                    <a:pt x="1283" y="259"/>
                    <a:pt x="1283" y="259"/>
                    <a:pt x="1283" y="259"/>
                  </a:cubicBezTo>
                  <a:cubicBezTo>
                    <a:pt x="1283" y="312"/>
                    <a:pt x="1326" y="355"/>
                    <a:pt x="1379" y="355"/>
                  </a:cubicBezTo>
                  <a:cubicBezTo>
                    <a:pt x="1574" y="355"/>
                    <a:pt x="1574" y="355"/>
                    <a:pt x="1574" y="355"/>
                  </a:cubicBezTo>
                  <a:cubicBezTo>
                    <a:pt x="1574" y="1542"/>
                    <a:pt x="1574" y="1542"/>
                    <a:pt x="1574" y="1542"/>
                  </a:cubicBezTo>
                  <a:cubicBezTo>
                    <a:pt x="1574" y="1560"/>
                    <a:pt x="1560" y="1574"/>
                    <a:pt x="1542" y="1574"/>
                  </a:cubicBezTo>
                  <a:cubicBezTo>
                    <a:pt x="365" y="1574"/>
                    <a:pt x="365" y="1574"/>
                    <a:pt x="365" y="1574"/>
                  </a:cubicBezTo>
                  <a:cubicBezTo>
                    <a:pt x="347" y="1574"/>
                    <a:pt x="333" y="1560"/>
                    <a:pt x="333" y="1542"/>
                  </a:cubicBezTo>
                  <a:cubicBezTo>
                    <a:pt x="333" y="1268"/>
                    <a:pt x="333" y="1268"/>
                    <a:pt x="333" y="1268"/>
                  </a:cubicBezTo>
                  <a:cubicBezTo>
                    <a:pt x="333" y="1251"/>
                    <a:pt x="318" y="1236"/>
                    <a:pt x="301" y="1236"/>
                  </a:cubicBezTo>
                  <a:cubicBezTo>
                    <a:pt x="283" y="1236"/>
                    <a:pt x="269" y="1251"/>
                    <a:pt x="269" y="1268"/>
                  </a:cubicBezTo>
                  <a:cubicBezTo>
                    <a:pt x="269" y="1542"/>
                    <a:pt x="269" y="1542"/>
                    <a:pt x="269" y="1542"/>
                  </a:cubicBezTo>
                  <a:cubicBezTo>
                    <a:pt x="269" y="1595"/>
                    <a:pt x="312" y="1638"/>
                    <a:pt x="365" y="1638"/>
                  </a:cubicBezTo>
                  <a:cubicBezTo>
                    <a:pt x="1542" y="1638"/>
                    <a:pt x="1542" y="1638"/>
                    <a:pt x="1542" y="1638"/>
                  </a:cubicBezTo>
                  <a:cubicBezTo>
                    <a:pt x="1595" y="1638"/>
                    <a:pt x="1638" y="1595"/>
                    <a:pt x="1638" y="1542"/>
                  </a:cubicBezTo>
                  <a:cubicBezTo>
                    <a:pt x="1638" y="323"/>
                    <a:pt x="1638" y="323"/>
                    <a:pt x="1638" y="323"/>
                  </a:cubicBezTo>
                  <a:cubicBezTo>
                    <a:pt x="1638" y="315"/>
                    <a:pt x="1635" y="307"/>
                    <a:pt x="1629" y="301"/>
                  </a:cubicBezTo>
                  <a:close/>
                  <a:moveTo>
                    <a:pt x="391" y="193"/>
                  </a:moveTo>
                  <a:cubicBezTo>
                    <a:pt x="391" y="519"/>
                    <a:pt x="391" y="519"/>
                    <a:pt x="391" y="519"/>
                  </a:cubicBezTo>
                  <a:cubicBezTo>
                    <a:pt x="65" y="519"/>
                    <a:pt x="65" y="519"/>
                    <a:pt x="65" y="519"/>
                  </a:cubicBezTo>
                  <a:cubicBezTo>
                    <a:pt x="81" y="346"/>
                    <a:pt x="218" y="209"/>
                    <a:pt x="391" y="193"/>
                  </a:cubicBezTo>
                  <a:close/>
                  <a:moveTo>
                    <a:pt x="1379" y="291"/>
                  </a:moveTo>
                  <a:cubicBezTo>
                    <a:pt x="1362" y="291"/>
                    <a:pt x="1347" y="277"/>
                    <a:pt x="1347" y="259"/>
                  </a:cubicBezTo>
                  <a:cubicBezTo>
                    <a:pt x="1347" y="109"/>
                    <a:pt x="1347" y="109"/>
                    <a:pt x="1347" y="109"/>
                  </a:cubicBezTo>
                  <a:cubicBezTo>
                    <a:pt x="1529" y="291"/>
                    <a:pt x="1529" y="291"/>
                    <a:pt x="1529" y="291"/>
                  </a:cubicBezTo>
                  <a:lnTo>
                    <a:pt x="1379" y="291"/>
                  </a:lnTo>
                  <a:close/>
                  <a:moveTo>
                    <a:pt x="1379" y="291"/>
                  </a:moveTo>
                  <a:cubicBezTo>
                    <a:pt x="1379" y="291"/>
                    <a:pt x="1379" y="291"/>
                    <a:pt x="1379" y="2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22"/>
            <p:cNvSpPr>
              <a:spLocks noEditPoints="1"/>
            </p:cNvSpPr>
            <p:nvPr/>
          </p:nvSpPr>
          <p:spPr bwMode="auto">
            <a:xfrm>
              <a:off x="2099" y="2887"/>
              <a:ext cx="121" cy="122"/>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8"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23"/>
            <p:cNvSpPr>
              <a:spLocks noEditPoints="1"/>
            </p:cNvSpPr>
            <p:nvPr/>
          </p:nvSpPr>
          <p:spPr bwMode="auto">
            <a:xfrm>
              <a:off x="1808" y="1227"/>
              <a:ext cx="1599" cy="1600"/>
            </a:xfrm>
            <a:custGeom>
              <a:avLst/>
              <a:gdLst>
                <a:gd name="T0" fmla="*/ 422 w 845"/>
                <a:gd name="T1" fmla="*/ 0 h 845"/>
                <a:gd name="T2" fmla="*/ 390 w 845"/>
                <a:gd name="T3" fmla="*/ 32 h 845"/>
                <a:gd name="T4" fmla="*/ 390 w 845"/>
                <a:gd name="T5" fmla="*/ 390 h 845"/>
                <a:gd name="T6" fmla="*/ 32 w 845"/>
                <a:gd name="T7" fmla="*/ 390 h 845"/>
                <a:gd name="T8" fmla="*/ 0 w 845"/>
                <a:gd name="T9" fmla="*/ 422 h 845"/>
                <a:gd name="T10" fmla="*/ 422 w 845"/>
                <a:gd name="T11" fmla="*/ 845 h 845"/>
                <a:gd name="T12" fmla="*/ 845 w 845"/>
                <a:gd name="T13" fmla="*/ 422 h 845"/>
                <a:gd name="T14" fmla="*/ 422 w 845"/>
                <a:gd name="T15" fmla="*/ 0 h 845"/>
                <a:gd name="T16" fmla="*/ 454 w 845"/>
                <a:gd name="T17" fmla="*/ 65 h 845"/>
                <a:gd name="T18" fmla="*/ 652 w 845"/>
                <a:gd name="T19" fmla="*/ 147 h 845"/>
                <a:gd name="T20" fmla="*/ 454 w 845"/>
                <a:gd name="T21" fmla="*/ 345 h 845"/>
                <a:gd name="T22" fmla="*/ 454 w 845"/>
                <a:gd name="T23" fmla="*/ 65 h 845"/>
                <a:gd name="T24" fmla="*/ 422 w 845"/>
                <a:gd name="T25" fmla="*/ 781 h 845"/>
                <a:gd name="T26" fmla="*/ 65 w 845"/>
                <a:gd name="T27" fmla="*/ 454 h 845"/>
                <a:gd name="T28" fmla="*/ 422 w 845"/>
                <a:gd name="T29" fmla="*/ 454 h 845"/>
                <a:gd name="T30" fmla="*/ 445 w 845"/>
                <a:gd name="T31" fmla="*/ 445 h 845"/>
                <a:gd name="T32" fmla="*/ 445 w 845"/>
                <a:gd name="T33" fmla="*/ 445 h 845"/>
                <a:gd name="T34" fmla="*/ 697 w 845"/>
                <a:gd name="T35" fmla="*/ 192 h 845"/>
                <a:gd name="T36" fmla="*/ 781 w 845"/>
                <a:gd name="T37" fmla="*/ 422 h 845"/>
                <a:gd name="T38" fmla="*/ 422 w 845"/>
                <a:gd name="T39" fmla="*/ 781 h 845"/>
                <a:gd name="T40" fmla="*/ 422 w 845"/>
                <a:gd name="T41" fmla="*/ 781 h 845"/>
                <a:gd name="T42" fmla="*/ 422 w 845"/>
                <a:gd name="T43" fmla="*/ 781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5" h="845">
                  <a:moveTo>
                    <a:pt x="422" y="0"/>
                  </a:moveTo>
                  <a:cubicBezTo>
                    <a:pt x="405" y="0"/>
                    <a:pt x="390" y="14"/>
                    <a:pt x="390" y="32"/>
                  </a:cubicBezTo>
                  <a:cubicBezTo>
                    <a:pt x="390" y="390"/>
                    <a:pt x="390" y="390"/>
                    <a:pt x="390" y="390"/>
                  </a:cubicBezTo>
                  <a:cubicBezTo>
                    <a:pt x="32" y="390"/>
                    <a:pt x="32" y="390"/>
                    <a:pt x="32" y="390"/>
                  </a:cubicBezTo>
                  <a:cubicBezTo>
                    <a:pt x="14" y="390"/>
                    <a:pt x="0" y="405"/>
                    <a:pt x="0" y="422"/>
                  </a:cubicBezTo>
                  <a:cubicBezTo>
                    <a:pt x="0" y="655"/>
                    <a:pt x="189" y="845"/>
                    <a:pt x="422" y="845"/>
                  </a:cubicBezTo>
                  <a:cubicBezTo>
                    <a:pt x="655" y="845"/>
                    <a:pt x="845" y="655"/>
                    <a:pt x="845" y="422"/>
                  </a:cubicBezTo>
                  <a:cubicBezTo>
                    <a:pt x="845" y="189"/>
                    <a:pt x="655" y="0"/>
                    <a:pt x="422" y="0"/>
                  </a:cubicBezTo>
                  <a:close/>
                  <a:moveTo>
                    <a:pt x="454" y="65"/>
                  </a:moveTo>
                  <a:cubicBezTo>
                    <a:pt x="529" y="72"/>
                    <a:pt x="598" y="101"/>
                    <a:pt x="652" y="147"/>
                  </a:cubicBezTo>
                  <a:cubicBezTo>
                    <a:pt x="454" y="345"/>
                    <a:pt x="454" y="345"/>
                    <a:pt x="454" y="345"/>
                  </a:cubicBezTo>
                  <a:lnTo>
                    <a:pt x="454" y="65"/>
                  </a:lnTo>
                  <a:close/>
                  <a:moveTo>
                    <a:pt x="422" y="781"/>
                  </a:moveTo>
                  <a:cubicBezTo>
                    <a:pt x="235" y="781"/>
                    <a:pt x="81" y="637"/>
                    <a:pt x="65" y="454"/>
                  </a:cubicBezTo>
                  <a:cubicBezTo>
                    <a:pt x="422" y="454"/>
                    <a:pt x="422" y="454"/>
                    <a:pt x="422" y="454"/>
                  </a:cubicBezTo>
                  <a:cubicBezTo>
                    <a:pt x="431" y="454"/>
                    <a:pt x="439" y="451"/>
                    <a:pt x="445" y="445"/>
                  </a:cubicBezTo>
                  <a:cubicBezTo>
                    <a:pt x="445" y="445"/>
                    <a:pt x="445" y="445"/>
                    <a:pt x="445" y="445"/>
                  </a:cubicBezTo>
                  <a:cubicBezTo>
                    <a:pt x="697" y="192"/>
                    <a:pt x="697" y="192"/>
                    <a:pt x="697" y="192"/>
                  </a:cubicBezTo>
                  <a:cubicBezTo>
                    <a:pt x="750" y="255"/>
                    <a:pt x="781" y="335"/>
                    <a:pt x="781" y="422"/>
                  </a:cubicBezTo>
                  <a:cubicBezTo>
                    <a:pt x="781" y="620"/>
                    <a:pt x="620" y="781"/>
                    <a:pt x="422" y="781"/>
                  </a:cubicBezTo>
                  <a:close/>
                  <a:moveTo>
                    <a:pt x="422" y="781"/>
                  </a:moveTo>
                  <a:cubicBezTo>
                    <a:pt x="422" y="781"/>
                    <a:pt x="422" y="781"/>
                    <a:pt x="422" y="7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4"/>
            <p:cNvSpPr>
              <a:spLocks noEditPoints="1"/>
            </p:cNvSpPr>
            <p:nvPr/>
          </p:nvSpPr>
          <p:spPr bwMode="auto">
            <a:xfrm>
              <a:off x="2523" y="2679"/>
              <a:ext cx="1903" cy="947"/>
            </a:xfrm>
            <a:custGeom>
              <a:avLst/>
              <a:gdLst>
                <a:gd name="T0" fmla="*/ 909 w 1005"/>
                <a:gd name="T1" fmla="*/ 0 h 500"/>
                <a:gd name="T2" fmla="*/ 813 w 1005"/>
                <a:gd name="T3" fmla="*/ 96 h 500"/>
                <a:gd name="T4" fmla="*/ 820 w 1005"/>
                <a:gd name="T5" fmla="*/ 133 h 500"/>
                <a:gd name="T6" fmla="*/ 636 w 1005"/>
                <a:gd name="T7" fmla="*/ 318 h 500"/>
                <a:gd name="T8" fmla="*/ 594 w 1005"/>
                <a:gd name="T9" fmla="*/ 308 h 500"/>
                <a:gd name="T10" fmla="*/ 553 w 1005"/>
                <a:gd name="T11" fmla="*/ 317 h 500"/>
                <a:gd name="T12" fmla="*/ 431 w 1005"/>
                <a:gd name="T13" fmla="*/ 195 h 500"/>
                <a:gd name="T14" fmla="*/ 437 w 1005"/>
                <a:gd name="T15" fmla="*/ 160 h 500"/>
                <a:gd name="T16" fmla="*/ 341 w 1005"/>
                <a:gd name="T17" fmla="*/ 64 h 500"/>
                <a:gd name="T18" fmla="*/ 245 w 1005"/>
                <a:gd name="T19" fmla="*/ 160 h 500"/>
                <a:gd name="T20" fmla="*/ 254 w 1005"/>
                <a:gd name="T21" fmla="*/ 200 h 500"/>
                <a:gd name="T22" fmla="*/ 137 w 1005"/>
                <a:gd name="T23" fmla="*/ 318 h 500"/>
                <a:gd name="T24" fmla="*/ 96 w 1005"/>
                <a:gd name="T25" fmla="*/ 308 h 500"/>
                <a:gd name="T26" fmla="*/ 0 w 1005"/>
                <a:gd name="T27" fmla="*/ 404 h 500"/>
                <a:gd name="T28" fmla="*/ 96 w 1005"/>
                <a:gd name="T29" fmla="*/ 500 h 500"/>
                <a:gd name="T30" fmla="*/ 192 w 1005"/>
                <a:gd name="T31" fmla="*/ 404 h 500"/>
                <a:gd name="T32" fmla="*/ 182 w 1005"/>
                <a:gd name="T33" fmla="*/ 363 h 500"/>
                <a:gd name="T34" fmla="*/ 299 w 1005"/>
                <a:gd name="T35" fmla="*/ 246 h 500"/>
                <a:gd name="T36" fmla="*/ 341 w 1005"/>
                <a:gd name="T37" fmla="*/ 256 h 500"/>
                <a:gd name="T38" fmla="*/ 389 w 1005"/>
                <a:gd name="T39" fmla="*/ 243 h 500"/>
                <a:gd name="T40" fmla="*/ 508 w 1005"/>
                <a:gd name="T41" fmla="*/ 362 h 500"/>
                <a:gd name="T42" fmla="*/ 498 w 1005"/>
                <a:gd name="T43" fmla="*/ 404 h 500"/>
                <a:gd name="T44" fmla="*/ 594 w 1005"/>
                <a:gd name="T45" fmla="*/ 500 h 500"/>
                <a:gd name="T46" fmla="*/ 690 w 1005"/>
                <a:gd name="T47" fmla="*/ 404 h 500"/>
                <a:gd name="T48" fmla="*/ 681 w 1005"/>
                <a:gd name="T49" fmla="*/ 363 h 500"/>
                <a:gd name="T50" fmla="*/ 864 w 1005"/>
                <a:gd name="T51" fmla="*/ 181 h 500"/>
                <a:gd name="T52" fmla="*/ 909 w 1005"/>
                <a:gd name="T53" fmla="*/ 192 h 500"/>
                <a:gd name="T54" fmla="*/ 1005 w 1005"/>
                <a:gd name="T55" fmla="*/ 96 h 500"/>
                <a:gd name="T56" fmla="*/ 909 w 1005"/>
                <a:gd name="T57" fmla="*/ 0 h 500"/>
                <a:gd name="T58" fmla="*/ 96 w 1005"/>
                <a:gd name="T59" fmla="*/ 436 h 500"/>
                <a:gd name="T60" fmla="*/ 64 w 1005"/>
                <a:gd name="T61" fmla="*/ 404 h 500"/>
                <a:gd name="T62" fmla="*/ 96 w 1005"/>
                <a:gd name="T63" fmla="*/ 372 h 500"/>
                <a:gd name="T64" fmla="*/ 118 w 1005"/>
                <a:gd name="T65" fmla="*/ 381 h 500"/>
                <a:gd name="T66" fmla="*/ 118 w 1005"/>
                <a:gd name="T67" fmla="*/ 382 h 500"/>
                <a:gd name="T68" fmla="*/ 118 w 1005"/>
                <a:gd name="T69" fmla="*/ 382 h 500"/>
                <a:gd name="T70" fmla="*/ 128 w 1005"/>
                <a:gd name="T71" fmla="*/ 404 h 500"/>
                <a:gd name="T72" fmla="*/ 96 w 1005"/>
                <a:gd name="T73" fmla="*/ 436 h 500"/>
                <a:gd name="T74" fmla="*/ 341 w 1005"/>
                <a:gd name="T75" fmla="*/ 192 h 500"/>
                <a:gd name="T76" fmla="*/ 309 w 1005"/>
                <a:gd name="T77" fmla="*/ 160 h 500"/>
                <a:gd name="T78" fmla="*/ 341 w 1005"/>
                <a:gd name="T79" fmla="*/ 128 h 500"/>
                <a:gd name="T80" fmla="*/ 373 w 1005"/>
                <a:gd name="T81" fmla="*/ 160 h 500"/>
                <a:gd name="T82" fmla="*/ 341 w 1005"/>
                <a:gd name="T83" fmla="*/ 192 h 500"/>
                <a:gd name="T84" fmla="*/ 594 w 1005"/>
                <a:gd name="T85" fmla="*/ 436 h 500"/>
                <a:gd name="T86" fmla="*/ 562 w 1005"/>
                <a:gd name="T87" fmla="*/ 404 h 500"/>
                <a:gd name="T88" fmla="*/ 594 w 1005"/>
                <a:gd name="T89" fmla="*/ 372 h 500"/>
                <a:gd name="T90" fmla="*/ 626 w 1005"/>
                <a:gd name="T91" fmla="*/ 404 h 500"/>
                <a:gd name="T92" fmla="*/ 594 w 1005"/>
                <a:gd name="T93" fmla="*/ 436 h 500"/>
                <a:gd name="T94" fmla="*/ 909 w 1005"/>
                <a:gd name="T95" fmla="*/ 128 h 500"/>
                <a:gd name="T96" fmla="*/ 877 w 1005"/>
                <a:gd name="T97" fmla="*/ 96 h 500"/>
                <a:gd name="T98" fmla="*/ 909 w 1005"/>
                <a:gd name="T99" fmla="*/ 64 h 500"/>
                <a:gd name="T100" fmla="*/ 941 w 1005"/>
                <a:gd name="T101" fmla="*/ 96 h 500"/>
                <a:gd name="T102" fmla="*/ 909 w 1005"/>
                <a:gd name="T103" fmla="*/ 128 h 500"/>
                <a:gd name="T104" fmla="*/ 909 w 1005"/>
                <a:gd name="T105" fmla="*/ 128 h 500"/>
                <a:gd name="T106" fmla="*/ 909 w 1005"/>
                <a:gd name="T107" fmla="*/ 12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5" h="500">
                  <a:moveTo>
                    <a:pt x="909" y="0"/>
                  </a:moveTo>
                  <a:cubicBezTo>
                    <a:pt x="856" y="0"/>
                    <a:pt x="813" y="43"/>
                    <a:pt x="813" y="96"/>
                  </a:cubicBezTo>
                  <a:cubicBezTo>
                    <a:pt x="813" y="109"/>
                    <a:pt x="816" y="122"/>
                    <a:pt x="820" y="133"/>
                  </a:cubicBezTo>
                  <a:cubicBezTo>
                    <a:pt x="636" y="318"/>
                    <a:pt x="636" y="318"/>
                    <a:pt x="636" y="318"/>
                  </a:cubicBezTo>
                  <a:cubicBezTo>
                    <a:pt x="623" y="312"/>
                    <a:pt x="609" y="308"/>
                    <a:pt x="594" y="308"/>
                  </a:cubicBezTo>
                  <a:cubicBezTo>
                    <a:pt x="580" y="308"/>
                    <a:pt x="566" y="311"/>
                    <a:pt x="553" y="317"/>
                  </a:cubicBezTo>
                  <a:cubicBezTo>
                    <a:pt x="431" y="195"/>
                    <a:pt x="431" y="195"/>
                    <a:pt x="431" y="195"/>
                  </a:cubicBezTo>
                  <a:cubicBezTo>
                    <a:pt x="435" y="184"/>
                    <a:pt x="437" y="172"/>
                    <a:pt x="437" y="160"/>
                  </a:cubicBezTo>
                  <a:cubicBezTo>
                    <a:pt x="437" y="107"/>
                    <a:pt x="394" y="64"/>
                    <a:pt x="341" y="64"/>
                  </a:cubicBezTo>
                  <a:cubicBezTo>
                    <a:pt x="288" y="64"/>
                    <a:pt x="245" y="107"/>
                    <a:pt x="245" y="160"/>
                  </a:cubicBezTo>
                  <a:cubicBezTo>
                    <a:pt x="245" y="174"/>
                    <a:pt x="249" y="188"/>
                    <a:pt x="254" y="200"/>
                  </a:cubicBezTo>
                  <a:cubicBezTo>
                    <a:pt x="137" y="318"/>
                    <a:pt x="137" y="318"/>
                    <a:pt x="137" y="318"/>
                  </a:cubicBezTo>
                  <a:cubicBezTo>
                    <a:pt x="124" y="312"/>
                    <a:pt x="110" y="308"/>
                    <a:pt x="96" y="308"/>
                  </a:cubicBezTo>
                  <a:cubicBezTo>
                    <a:pt x="43" y="308"/>
                    <a:pt x="0" y="351"/>
                    <a:pt x="0" y="404"/>
                  </a:cubicBezTo>
                  <a:cubicBezTo>
                    <a:pt x="0" y="457"/>
                    <a:pt x="43" y="500"/>
                    <a:pt x="96" y="500"/>
                  </a:cubicBezTo>
                  <a:cubicBezTo>
                    <a:pt x="148" y="500"/>
                    <a:pt x="192" y="457"/>
                    <a:pt x="192" y="404"/>
                  </a:cubicBezTo>
                  <a:cubicBezTo>
                    <a:pt x="192" y="389"/>
                    <a:pt x="188" y="375"/>
                    <a:pt x="182" y="363"/>
                  </a:cubicBezTo>
                  <a:cubicBezTo>
                    <a:pt x="299" y="246"/>
                    <a:pt x="299" y="246"/>
                    <a:pt x="299" y="246"/>
                  </a:cubicBezTo>
                  <a:cubicBezTo>
                    <a:pt x="312" y="252"/>
                    <a:pt x="326" y="256"/>
                    <a:pt x="341" y="256"/>
                  </a:cubicBezTo>
                  <a:cubicBezTo>
                    <a:pt x="359" y="256"/>
                    <a:pt x="375" y="251"/>
                    <a:pt x="389" y="243"/>
                  </a:cubicBezTo>
                  <a:cubicBezTo>
                    <a:pt x="508" y="362"/>
                    <a:pt x="508" y="362"/>
                    <a:pt x="508" y="362"/>
                  </a:cubicBezTo>
                  <a:cubicBezTo>
                    <a:pt x="502" y="375"/>
                    <a:pt x="498" y="389"/>
                    <a:pt x="498" y="404"/>
                  </a:cubicBezTo>
                  <a:cubicBezTo>
                    <a:pt x="498" y="457"/>
                    <a:pt x="541" y="500"/>
                    <a:pt x="594" y="500"/>
                  </a:cubicBezTo>
                  <a:cubicBezTo>
                    <a:pt x="647" y="500"/>
                    <a:pt x="690" y="457"/>
                    <a:pt x="690" y="404"/>
                  </a:cubicBezTo>
                  <a:cubicBezTo>
                    <a:pt x="690" y="389"/>
                    <a:pt x="687" y="376"/>
                    <a:pt x="681" y="363"/>
                  </a:cubicBezTo>
                  <a:cubicBezTo>
                    <a:pt x="864" y="181"/>
                    <a:pt x="864" y="181"/>
                    <a:pt x="864" y="181"/>
                  </a:cubicBezTo>
                  <a:cubicBezTo>
                    <a:pt x="877" y="188"/>
                    <a:pt x="893" y="192"/>
                    <a:pt x="909" y="192"/>
                  </a:cubicBezTo>
                  <a:cubicBezTo>
                    <a:pt x="962" y="192"/>
                    <a:pt x="1005" y="149"/>
                    <a:pt x="1005" y="96"/>
                  </a:cubicBezTo>
                  <a:cubicBezTo>
                    <a:pt x="1005" y="43"/>
                    <a:pt x="962" y="0"/>
                    <a:pt x="909" y="0"/>
                  </a:cubicBezTo>
                  <a:close/>
                  <a:moveTo>
                    <a:pt x="96" y="436"/>
                  </a:moveTo>
                  <a:cubicBezTo>
                    <a:pt x="78" y="436"/>
                    <a:pt x="64" y="422"/>
                    <a:pt x="64" y="404"/>
                  </a:cubicBezTo>
                  <a:cubicBezTo>
                    <a:pt x="64" y="387"/>
                    <a:pt x="78" y="372"/>
                    <a:pt x="96" y="372"/>
                  </a:cubicBezTo>
                  <a:cubicBezTo>
                    <a:pt x="104" y="372"/>
                    <a:pt x="112" y="376"/>
                    <a:pt x="118" y="381"/>
                  </a:cubicBezTo>
                  <a:cubicBezTo>
                    <a:pt x="118" y="381"/>
                    <a:pt x="118" y="381"/>
                    <a:pt x="118" y="382"/>
                  </a:cubicBezTo>
                  <a:cubicBezTo>
                    <a:pt x="118" y="382"/>
                    <a:pt x="118" y="382"/>
                    <a:pt x="118" y="382"/>
                  </a:cubicBezTo>
                  <a:cubicBezTo>
                    <a:pt x="124" y="388"/>
                    <a:pt x="128" y="396"/>
                    <a:pt x="128" y="404"/>
                  </a:cubicBezTo>
                  <a:cubicBezTo>
                    <a:pt x="128" y="422"/>
                    <a:pt x="113" y="436"/>
                    <a:pt x="96" y="436"/>
                  </a:cubicBezTo>
                  <a:close/>
                  <a:moveTo>
                    <a:pt x="341" y="192"/>
                  </a:moveTo>
                  <a:cubicBezTo>
                    <a:pt x="324" y="192"/>
                    <a:pt x="309" y="178"/>
                    <a:pt x="309" y="160"/>
                  </a:cubicBezTo>
                  <a:cubicBezTo>
                    <a:pt x="309" y="142"/>
                    <a:pt x="324" y="128"/>
                    <a:pt x="341" y="128"/>
                  </a:cubicBezTo>
                  <a:cubicBezTo>
                    <a:pt x="359" y="128"/>
                    <a:pt x="373" y="142"/>
                    <a:pt x="373" y="160"/>
                  </a:cubicBezTo>
                  <a:cubicBezTo>
                    <a:pt x="373" y="178"/>
                    <a:pt x="359" y="192"/>
                    <a:pt x="341" y="192"/>
                  </a:cubicBezTo>
                  <a:close/>
                  <a:moveTo>
                    <a:pt x="594" y="436"/>
                  </a:moveTo>
                  <a:cubicBezTo>
                    <a:pt x="577" y="436"/>
                    <a:pt x="562" y="422"/>
                    <a:pt x="562" y="404"/>
                  </a:cubicBezTo>
                  <a:cubicBezTo>
                    <a:pt x="562" y="386"/>
                    <a:pt x="577" y="372"/>
                    <a:pt x="594" y="372"/>
                  </a:cubicBezTo>
                  <a:cubicBezTo>
                    <a:pt x="612" y="372"/>
                    <a:pt x="626" y="386"/>
                    <a:pt x="626" y="404"/>
                  </a:cubicBezTo>
                  <a:cubicBezTo>
                    <a:pt x="626" y="422"/>
                    <a:pt x="612" y="436"/>
                    <a:pt x="594" y="436"/>
                  </a:cubicBezTo>
                  <a:close/>
                  <a:moveTo>
                    <a:pt x="909" y="128"/>
                  </a:moveTo>
                  <a:cubicBezTo>
                    <a:pt x="891" y="128"/>
                    <a:pt x="877" y="114"/>
                    <a:pt x="877" y="96"/>
                  </a:cubicBezTo>
                  <a:cubicBezTo>
                    <a:pt x="877" y="78"/>
                    <a:pt x="891" y="64"/>
                    <a:pt x="909" y="64"/>
                  </a:cubicBezTo>
                  <a:cubicBezTo>
                    <a:pt x="926" y="64"/>
                    <a:pt x="941" y="78"/>
                    <a:pt x="941" y="96"/>
                  </a:cubicBezTo>
                  <a:cubicBezTo>
                    <a:pt x="941" y="114"/>
                    <a:pt x="926" y="128"/>
                    <a:pt x="909" y="128"/>
                  </a:cubicBezTo>
                  <a:close/>
                  <a:moveTo>
                    <a:pt x="909" y="128"/>
                  </a:moveTo>
                  <a:cubicBezTo>
                    <a:pt x="909" y="128"/>
                    <a:pt x="909" y="128"/>
                    <a:pt x="909"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5"/>
            <p:cNvSpPr>
              <a:spLocks noEditPoints="1"/>
            </p:cNvSpPr>
            <p:nvPr/>
          </p:nvSpPr>
          <p:spPr bwMode="auto">
            <a:xfrm>
              <a:off x="3561" y="2191"/>
              <a:ext cx="441" cy="121"/>
            </a:xfrm>
            <a:custGeom>
              <a:avLst/>
              <a:gdLst>
                <a:gd name="T0" fmla="*/ 201 w 233"/>
                <a:gd name="T1" fmla="*/ 0 h 64"/>
                <a:gd name="T2" fmla="*/ 32 w 233"/>
                <a:gd name="T3" fmla="*/ 0 h 64"/>
                <a:gd name="T4" fmla="*/ 0 w 233"/>
                <a:gd name="T5" fmla="*/ 32 h 64"/>
                <a:gd name="T6" fmla="*/ 32 w 233"/>
                <a:gd name="T7" fmla="*/ 64 h 64"/>
                <a:gd name="T8" fmla="*/ 201 w 233"/>
                <a:gd name="T9" fmla="*/ 64 h 64"/>
                <a:gd name="T10" fmla="*/ 233 w 233"/>
                <a:gd name="T11" fmla="*/ 32 h 64"/>
                <a:gd name="T12" fmla="*/ 201 w 233"/>
                <a:gd name="T13" fmla="*/ 0 h 64"/>
                <a:gd name="T14" fmla="*/ 201 w 233"/>
                <a:gd name="T15" fmla="*/ 0 h 64"/>
                <a:gd name="T16" fmla="*/ 201 w 233"/>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64">
                  <a:moveTo>
                    <a:pt x="201" y="0"/>
                  </a:moveTo>
                  <a:cubicBezTo>
                    <a:pt x="32" y="0"/>
                    <a:pt x="32" y="0"/>
                    <a:pt x="32" y="0"/>
                  </a:cubicBezTo>
                  <a:cubicBezTo>
                    <a:pt x="14" y="0"/>
                    <a:pt x="0" y="14"/>
                    <a:pt x="0" y="32"/>
                  </a:cubicBezTo>
                  <a:cubicBezTo>
                    <a:pt x="0" y="50"/>
                    <a:pt x="14" y="64"/>
                    <a:pt x="32" y="64"/>
                  </a:cubicBezTo>
                  <a:cubicBezTo>
                    <a:pt x="201" y="64"/>
                    <a:pt x="201" y="64"/>
                    <a:pt x="201" y="64"/>
                  </a:cubicBezTo>
                  <a:cubicBezTo>
                    <a:pt x="219" y="64"/>
                    <a:pt x="233" y="50"/>
                    <a:pt x="233" y="32"/>
                  </a:cubicBezTo>
                  <a:cubicBezTo>
                    <a:pt x="233" y="14"/>
                    <a:pt x="219" y="0"/>
                    <a:pt x="201" y="0"/>
                  </a:cubicBezTo>
                  <a:close/>
                  <a:moveTo>
                    <a:pt x="201" y="0"/>
                  </a:moveTo>
                  <a:cubicBezTo>
                    <a:pt x="201" y="0"/>
                    <a:pt x="201" y="0"/>
                    <a:pt x="2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6"/>
            <p:cNvSpPr>
              <a:spLocks noEditPoints="1"/>
            </p:cNvSpPr>
            <p:nvPr/>
          </p:nvSpPr>
          <p:spPr bwMode="auto">
            <a:xfrm>
              <a:off x="4157" y="2191"/>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8"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27"/>
            <p:cNvSpPr>
              <a:spLocks noEditPoints="1"/>
            </p:cNvSpPr>
            <p:nvPr/>
          </p:nvSpPr>
          <p:spPr bwMode="auto">
            <a:xfrm>
              <a:off x="3561" y="1610"/>
              <a:ext cx="861" cy="121"/>
            </a:xfrm>
            <a:custGeom>
              <a:avLst/>
              <a:gdLst>
                <a:gd name="T0" fmla="*/ 423 w 455"/>
                <a:gd name="T1" fmla="*/ 0 h 64"/>
                <a:gd name="T2" fmla="*/ 32 w 455"/>
                <a:gd name="T3" fmla="*/ 0 h 64"/>
                <a:gd name="T4" fmla="*/ 0 w 455"/>
                <a:gd name="T5" fmla="*/ 32 h 64"/>
                <a:gd name="T6" fmla="*/ 32 w 455"/>
                <a:gd name="T7" fmla="*/ 64 h 64"/>
                <a:gd name="T8" fmla="*/ 423 w 455"/>
                <a:gd name="T9" fmla="*/ 64 h 64"/>
                <a:gd name="T10" fmla="*/ 455 w 455"/>
                <a:gd name="T11" fmla="*/ 32 h 64"/>
                <a:gd name="T12" fmla="*/ 423 w 455"/>
                <a:gd name="T13" fmla="*/ 0 h 64"/>
                <a:gd name="T14" fmla="*/ 423 w 455"/>
                <a:gd name="T15" fmla="*/ 0 h 64"/>
                <a:gd name="T16" fmla="*/ 423 w 45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 h="64">
                  <a:moveTo>
                    <a:pt x="423" y="0"/>
                  </a:moveTo>
                  <a:cubicBezTo>
                    <a:pt x="32" y="0"/>
                    <a:pt x="32" y="0"/>
                    <a:pt x="32" y="0"/>
                  </a:cubicBezTo>
                  <a:cubicBezTo>
                    <a:pt x="14" y="0"/>
                    <a:pt x="0" y="14"/>
                    <a:pt x="0" y="32"/>
                  </a:cubicBezTo>
                  <a:cubicBezTo>
                    <a:pt x="0" y="49"/>
                    <a:pt x="14" y="64"/>
                    <a:pt x="32" y="64"/>
                  </a:cubicBezTo>
                  <a:cubicBezTo>
                    <a:pt x="423" y="64"/>
                    <a:pt x="423" y="64"/>
                    <a:pt x="423" y="64"/>
                  </a:cubicBezTo>
                  <a:cubicBezTo>
                    <a:pt x="441" y="64"/>
                    <a:pt x="455" y="49"/>
                    <a:pt x="455" y="32"/>
                  </a:cubicBezTo>
                  <a:cubicBezTo>
                    <a:pt x="455" y="14"/>
                    <a:pt x="441" y="0"/>
                    <a:pt x="423" y="0"/>
                  </a:cubicBezTo>
                  <a:close/>
                  <a:moveTo>
                    <a:pt x="423" y="0"/>
                  </a:moveTo>
                  <a:cubicBezTo>
                    <a:pt x="423" y="0"/>
                    <a:pt x="423" y="0"/>
                    <a:pt x="4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28"/>
            <p:cNvSpPr>
              <a:spLocks noEditPoints="1"/>
            </p:cNvSpPr>
            <p:nvPr/>
          </p:nvSpPr>
          <p:spPr bwMode="auto">
            <a:xfrm>
              <a:off x="3561" y="1899"/>
              <a:ext cx="861" cy="121"/>
            </a:xfrm>
            <a:custGeom>
              <a:avLst/>
              <a:gdLst>
                <a:gd name="T0" fmla="*/ 423 w 455"/>
                <a:gd name="T1" fmla="*/ 0 h 64"/>
                <a:gd name="T2" fmla="*/ 32 w 455"/>
                <a:gd name="T3" fmla="*/ 0 h 64"/>
                <a:gd name="T4" fmla="*/ 0 w 455"/>
                <a:gd name="T5" fmla="*/ 32 h 64"/>
                <a:gd name="T6" fmla="*/ 32 w 455"/>
                <a:gd name="T7" fmla="*/ 64 h 64"/>
                <a:gd name="T8" fmla="*/ 423 w 455"/>
                <a:gd name="T9" fmla="*/ 64 h 64"/>
                <a:gd name="T10" fmla="*/ 455 w 455"/>
                <a:gd name="T11" fmla="*/ 32 h 64"/>
                <a:gd name="T12" fmla="*/ 423 w 455"/>
                <a:gd name="T13" fmla="*/ 0 h 64"/>
                <a:gd name="T14" fmla="*/ 423 w 455"/>
                <a:gd name="T15" fmla="*/ 0 h 64"/>
                <a:gd name="T16" fmla="*/ 423 w 45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 h="64">
                  <a:moveTo>
                    <a:pt x="423" y="0"/>
                  </a:moveTo>
                  <a:cubicBezTo>
                    <a:pt x="32" y="0"/>
                    <a:pt x="32" y="0"/>
                    <a:pt x="32" y="0"/>
                  </a:cubicBezTo>
                  <a:cubicBezTo>
                    <a:pt x="14" y="0"/>
                    <a:pt x="0" y="15"/>
                    <a:pt x="0" y="32"/>
                  </a:cubicBezTo>
                  <a:cubicBezTo>
                    <a:pt x="0" y="50"/>
                    <a:pt x="14" y="64"/>
                    <a:pt x="32" y="64"/>
                  </a:cubicBezTo>
                  <a:cubicBezTo>
                    <a:pt x="423" y="64"/>
                    <a:pt x="423" y="64"/>
                    <a:pt x="423" y="64"/>
                  </a:cubicBezTo>
                  <a:cubicBezTo>
                    <a:pt x="441" y="64"/>
                    <a:pt x="455" y="50"/>
                    <a:pt x="455" y="32"/>
                  </a:cubicBezTo>
                  <a:cubicBezTo>
                    <a:pt x="455" y="15"/>
                    <a:pt x="441" y="0"/>
                    <a:pt x="423" y="0"/>
                  </a:cubicBezTo>
                  <a:close/>
                  <a:moveTo>
                    <a:pt x="423" y="0"/>
                  </a:moveTo>
                  <a:cubicBezTo>
                    <a:pt x="423" y="0"/>
                    <a:pt x="423" y="0"/>
                    <a:pt x="4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3" name="Group 131"/>
          <p:cNvGrpSpPr>
            <a:grpSpLocks noChangeAspect="1"/>
          </p:cNvGrpSpPr>
          <p:nvPr/>
        </p:nvGrpSpPr>
        <p:grpSpPr bwMode="auto">
          <a:xfrm>
            <a:off x="8761911" y="1860791"/>
            <a:ext cx="580113" cy="457200"/>
            <a:chOff x="1392" y="896"/>
            <a:chExt cx="3115" cy="2455"/>
          </a:xfrm>
          <a:solidFill>
            <a:schemeClr val="accent1"/>
          </a:solidFill>
        </p:grpSpPr>
        <p:sp>
          <p:nvSpPr>
            <p:cNvPr id="135" name="Freeform 132"/>
            <p:cNvSpPr>
              <a:spLocks noEditPoints="1"/>
            </p:cNvSpPr>
            <p:nvPr/>
          </p:nvSpPr>
          <p:spPr bwMode="auto">
            <a:xfrm>
              <a:off x="1519" y="2434"/>
              <a:ext cx="121" cy="121"/>
            </a:xfrm>
            <a:custGeom>
              <a:avLst/>
              <a:gdLst>
                <a:gd name="T0" fmla="*/ 55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4"/>
                    <a:pt x="0" y="32"/>
                  </a:cubicBezTo>
                  <a:cubicBezTo>
                    <a:pt x="0" y="40"/>
                    <a:pt x="3" y="49"/>
                    <a:pt x="9" y="55"/>
                  </a:cubicBezTo>
                  <a:cubicBezTo>
                    <a:pt x="15" y="61"/>
                    <a:pt x="24" y="64"/>
                    <a:pt x="32" y="64"/>
                  </a:cubicBezTo>
                  <a:cubicBezTo>
                    <a:pt x="40"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33"/>
            <p:cNvSpPr>
              <a:spLocks noEditPoints="1"/>
            </p:cNvSpPr>
            <p:nvPr/>
          </p:nvSpPr>
          <p:spPr bwMode="auto">
            <a:xfrm>
              <a:off x="1392" y="896"/>
              <a:ext cx="375" cy="1415"/>
            </a:xfrm>
            <a:custGeom>
              <a:avLst/>
              <a:gdLst>
                <a:gd name="T0" fmla="*/ 186 w 198"/>
                <a:gd name="T1" fmla="*/ 77 h 747"/>
                <a:gd name="T2" fmla="*/ 122 w 198"/>
                <a:gd name="T3" fmla="*/ 13 h 747"/>
                <a:gd name="T4" fmla="*/ 76 w 198"/>
                <a:gd name="T5" fmla="*/ 13 h 747"/>
                <a:gd name="T6" fmla="*/ 12 w 198"/>
                <a:gd name="T7" fmla="*/ 77 h 747"/>
                <a:gd name="T8" fmla="*/ 12 w 198"/>
                <a:gd name="T9" fmla="*/ 122 h 747"/>
                <a:gd name="T10" fmla="*/ 58 w 198"/>
                <a:gd name="T11" fmla="*/ 122 h 747"/>
                <a:gd name="T12" fmla="*/ 67 w 198"/>
                <a:gd name="T13" fmla="*/ 113 h 747"/>
                <a:gd name="T14" fmla="*/ 67 w 198"/>
                <a:gd name="T15" fmla="*/ 715 h 747"/>
                <a:gd name="T16" fmla="*/ 99 w 198"/>
                <a:gd name="T17" fmla="*/ 747 h 747"/>
                <a:gd name="T18" fmla="*/ 131 w 198"/>
                <a:gd name="T19" fmla="*/ 715 h 747"/>
                <a:gd name="T20" fmla="*/ 131 w 198"/>
                <a:gd name="T21" fmla="*/ 113 h 747"/>
                <a:gd name="T22" fmla="*/ 140 w 198"/>
                <a:gd name="T23" fmla="*/ 122 h 747"/>
                <a:gd name="T24" fmla="*/ 163 w 198"/>
                <a:gd name="T25" fmla="*/ 131 h 747"/>
                <a:gd name="T26" fmla="*/ 186 w 198"/>
                <a:gd name="T27" fmla="*/ 122 h 747"/>
                <a:gd name="T28" fmla="*/ 186 w 198"/>
                <a:gd name="T29" fmla="*/ 77 h 747"/>
                <a:gd name="T30" fmla="*/ 186 w 198"/>
                <a:gd name="T31" fmla="*/ 77 h 747"/>
                <a:gd name="T32" fmla="*/ 186 w 198"/>
                <a:gd name="T33" fmla="*/ 77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747">
                  <a:moveTo>
                    <a:pt x="186" y="77"/>
                  </a:moveTo>
                  <a:cubicBezTo>
                    <a:pt x="122" y="13"/>
                    <a:pt x="122" y="13"/>
                    <a:pt x="122" y="13"/>
                  </a:cubicBezTo>
                  <a:cubicBezTo>
                    <a:pt x="109" y="0"/>
                    <a:pt x="89" y="0"/>
                    <a:pt x="76" y="13"/>
                  </a:cubicBezTo>
                  <a:cubicBezTo>
                    <a:pt x="12" y="77"/>
                    <a:pt x="12" y="77"/>
                    <a:pt x="12" y="77"/>
                  </a:cubicBezTo>
                  <a:cubicBezTo>
                    <a:pt x="0" y="89"/>
                    <a:pt x="0" y="110"/>
                    <a:pt x="12" y="122"/>
                  </a:cubicBezTo>
                  <a:cubicBezTo>
                    <a:pt x="25" y="135"/>
                    <a:pt x="45" y="135"/>
                    <a:pt x="58" y="122"/>
                  </a:cubicBezTo>
                  <a:cubicBezTo>
                    <a:pt x="67" y="113"/>
                    <a:pt x="67" y="113"/>
                    <a:pt x="67" y="113"/>
                  </a:cubicBezTo>
                  <a:cubicBezTo>
                    <a:pt x="67" y="715"/>
                    <a:pt x="67" y="715"/>
                    <a:pt x="67" y="715"/>
                  </a:cubicBezTo>
                  <a:cubicBezTo>
                    <a:pt x="67" y="733"/>
                    <a:pt x="81" y="747"/>
                    <a:pt x="99" y="747"/>
                  </a:cubicBezTo>
                  <a:cubicBezTo>
                    <a:pt x="117" y="747"/>
                    <a:pt x="131" y="733"/>
                    <a:pt x="131" y="715"/>
                  </a:cubicBezTo>
                  <a:cubicBezTo>
                    <a:pt x="131" y="113"/>
                    <a:pt x="131" y="113"/>
                    <a:pt x="131" y="113"/>
                  </a:cubicBezTo>
                  <a:cubicBezTo>
                    <a:pt x="140" y="122"/>
                    <a:pt x="140" y="122"/>
                    <a:pt x="140" y="122"/>
                  </a:cubicBezTo>
                  <a:cubicBezTo>
                    <a:pt x="147" y="128"/>
                    <a:pt x="155" y="131"/>
                    <a:pt x="163" y="131"/>
                  </a:cubicBezTo>
                  <a:cubicBezTo>
                    <a:pt x="171" y="131"/>
                    <a:pt x="179" y="128"/>
                    <a:pt x="186" y="122"/>
                  </a:cubicBezTo>
                  <a:cubicBezTo>
                    <a:pt x="198" y="110"/>
                    <a:pt x="198" y="89"/>
                    <a:pt x="186" y="77"/>
                  </a:cubicBezTo>
                  <a:close/>
                  <a:moveTo>
                    <a:pt x="186" y="77"/>
                  </a:moveTo>
                  <a:cubicBezTo>
                    <a:pt x="186" y="77"/>
                    <a:pt x="186" y="77"/>
                    <a:pt x="1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34"/>
            <p:cNvSpPr>
              <a:spLocks noEditPoints="1"/>
            </p:cNvSpPr>
            <p:nvPr/>
          </p:nvSpPr>
          <p:spPr bwMode="auto">
            <a:xfrm>
              <a:off x="1519" y="2076"/>
              <a:ext cx="2988" cy="1275"/>
            </a:xfrm>
            <a:custGeom>
              <a:avLst/>
              <a:gdLst>
                <a:gd name="T0" fmla="*/ 1565 w 1578"/>
                <a:gd name="T1" fmla="*/ 555 h 673"/>
                <a:gd name="T2" fmla="*/ 1501 w 1578"/>
                <a:gd name="T3" fmla="*/ 491 h 673"/>
                <a:gd name="T4" fmla="*/ 1456 w 1578"/>
                <a:gd name="T5" fmla="*/ 491 h 673"/>
                <a:gd name="T6" fmla="*/ 1456 w 1578"/>
                <a:gd name="T7" fmla="*/ 536 h 673"/>
                <a:gd name="T8" fmla="*/ 1465 w 1578"/>
                <a:gd name="T9" fmla="*/ 545 h 673"/>
                <a:gd name="T10" fmla="*/ 1350 w 1578"/>
                <a:gd name="T11" fmla="*/ 545 h 673"/>
                <a:gd name="T12" fmla="*/ 1350 w 1578"/>
                <a:gd name="T13" fmla="*/ 96 h 673"/>
                <a:gd name="T14" fmla="*/ 1318 w 1578"/>
                <a:gd name="T15" fmla="*/ 64 h 673"/>
                <a:gd name="T16" fmla="*/ 1286 w 1578"/>
                <a:gd name="T17" fmla="*/ 96 h 673"/>
                <a:gd name="T18" fmla="*/ 1286 w 1578"/>
                <a:gd name="T19" fmla="*/ 545 h 673"/>
                <a:gd name="T20" fmla="*/ 940 w 1578"/>
                <a:gd name="T21" fmla="*/ 545 h 673"/>
                <a:gd name="T22" fmla="*/ 940 w 1578"/>
                <a:gd name="T23" fmla="*/ 340 h 673"/>
                <a:gd name="T24" fmla="*/ 908 w 1578"/>
                <a:gd name="T25" fmla="*/ 308 h 673"/>
                <a:gd name="T26" fmla="*/ 876 w 1578"/>
                <a:gd name="T27" fmla="*/ 340 h 673"/>
                <a:gd name="T28" fmla="*/ 876 w 1578"/>
                <a:gd name="T29" fmla="*/ 545 h 673"/>
                <a:gd name="T30" fmla="*/ 610 w 1578"/>
                <a:gd name="T31" fmla="*/ 545 h 673"/>
                <a:gd name="T32" fmla="*/ 610 w 1578"/>
                <a:gd name="T33" fmla="*/ 32 h 673"/>
                <a:gd name="T34" fmla="*/ 578 w 1578"/>
                <a:gd name="T35" fmla="*/ 0 h 673"/>
                <a:gd name="T36" fmla="*/ 546 w 1578"/>
                <a:gd name="T37" fmla="*/ 32 h 673"/>
                <a:gd name="T38" fmla="*/ 546 w 1578"/>
                <a:gd name="T39" fmla="*/ 545 h 673"/>
                <a:gd name="T40" fmla="*/ 289 w 1578"/>
                <a:gd name="T41" fmla="*/ 545 h 673"/>
                <a:gd name="T42" fmla="*/ 289 w 1578"/>
                <a:gd name="T43" fmla="*/ 345 h 673"/>
                <a:gd name="T44" fmla="*/ 257 w 1578"/>
                <a:gd name="T45" fmla="*/ 313 h 673"/>
                <a:gd name="T46" fmla="*/ 225 w 1578"/>
                <a:gd name="T47" fmla="*/ 345 h 673"/>
                <a:gd name="T48" fmla="*/ 225 w 1578"/>
                <a:gd name="T49" fmla="*/ 545 h 673"/>
                <a:gd name="T50" fmla="*/ 64 w 1578"/>
                <a:gd name="T51" fmla="*/ 545 h 673"/>
                <a:gd name="T52" fmla="*/ 64 w 1578"/>
                <a:gd name="T53" fmla="*/ 361 h 673"/>
                <a:gd name="T54" fmla="*/ 32 w 1578"/>
                <a:gd name="T55" fmla="*/ 329 h 673"/>
                <a:gd name="T56" fmla="*/ 0 w 1578"/>
                <a:gd name="T57" fmla="*/ 361 h 673"/>
                <a:gd name="T58" fmla="*/ 0 w 1578"/>
                <a:gd name="T59" fmla="*/ 577 h 673"/>
                <a:gd name="T60" fmla="*/ 32 w 1578"/>
                <a:gd name="T61" fmla="*/ 609 h 673"/>
                <a:gd name="T62" fmla="*/ 1465 w 1578"/>
                <a:gd name="T63" fmla="*/ 609 h 673"/>
                <a:gd name="T64" fmla="*/ 1456 w 1578"/>
                <a:gd name="T65" fmla="*/ 619 h 673"/>
                <a:gd name="T66" fmla="*/ 1456 w 1578"/>
                <a:gd name="T67" fmla="*/ 664 h 673"/>
                <a:gd name="T68" fmla="*/ 1478 w 1578"/>
                <a:gd name="T69" fmla="*/ 673 h 673"/>
                <a:gd name="T70" fmla="*/ 1501 w 1578"/>
                <a:gd name="T71" fmla="*/ 664 h 673"/>
                <a:gd name="T72" fmla="*/ 1565 w 1578"/>
                <a:gd name="T73" fmla="*/ 600 h 673"/>
                <a:gd name="T74" fmla="*/ 1565 w 1578"/>
                <a:gd name="T75" fmla="*/ 555 h 673"/>
                <a:gd name="T76" fmla="*/ 1565 w 1578"/>
                <a:gd name="T77" fmla="*/ 555 h 673"/>
                <a:gd name="T78" fmla="*/ 1565 w 1578"/>
                <a:gd name="T79" fmla="*/ 55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78" h="673">
                  <a:moveTo>
                    <a:pt x="1565" y="555"/>
                  </a:moveTo>
                  <a:cubicBezTo>
                    <a:pt x="1501" y="491"/>
                    <a:pt x="1501" y="491"/>
                    <a:pt x="1501" y="491"/>
                  </a:cubicBezTo>
                  <a:cubicBezTo>
                    <a:pt x="1489" y="478"/>
                    <a:pt x="1468" y="478"/>
                    <a:pt x="1456" y="491"/>
                  </a:cubicBezTo>
                  <a:cubicBezTo>
                    <a:pt x="1443" y="503"/>
                    <a:pt x="1443" y="523"/>
                    <a:pt x="1456" y="536"/>
                  </a:cubicBezTo>
                  <a:cubicBezTo>
                    <a:pt x="1465" y="545"/>
                    <a:pt x="1465" y="545"/>
                    <a:pt x="1465" y="545"/>
                  </a:cubicBezTo>
                  <a:cubicBezTo>
                    <a:pt x="1350" y="545"/>
                    <a:pt x="1350" y="545"/>
                    <a:pt x="1350" y="545"/>
                  </a:cubicBezTo>
                  <a:cubicBezTo>
                    <a:pt x="1350" y="96"/>
                    <a:pt x="1350" y="96"/>
                    <a:pt x="1350" y="96"/>
                  </a:cubicBezTo>
                  <a:cubicBezTo>
                    <a:pt x="1350" y="78"/>
                    <a:pt x="1336" y="64"/>
                    <a:pt x="1318" y="64"/>
                  </a:cubicBezTo>
                  <a:cubicBezTo>
                    <a:pt x="1301" y="64"/>
                    <a:pt x="1286" y="78"/>
                    <a:pt x="1286" y="96"/>
                  </a:cubicBezTo>
                  <a:cubicBezTo>
                    <a:pt x="1286" y="545"/>
                    <a:pt x="1286" y="545"/>
                    <a:pt x="1286" y="545"/>
                  </a:cubicBezTo>
                  <a:cubicBezTo>
                    <a:pt x="940" y="545"/>
                    <a:pt x="940" y="545"/>
                    <a:pt x="940" y="545"/>
                  </a:cubicBezTo>
                  <a:cubicBezTo>
                    <a:pt x="940" y="340"/>
                    <a:pt x="940" y="340"/>
                    <a:pt x="940" y="340"/>
                  </a:cubicBezTo>
                  <a:cubicBezTo>
                    <a:pt x="940" y="323"/>
                    <a:pt x="925" y="308"/>
                    <a:pt x="908" y="308"/>
                  </a:cubicBezTo>
                  <a:cubicBezTo>
                    <a:pt x="890" y="308"/>
                    <a:pt x="876" y="323"/>
                    <a:pt x="876" y="340"/>
                  </a:cubicBezTo>
                  <a:cubicBezTo>
                    <a:pt x="876" y="545"/>
                    <a:pt x="876" y="545"/>
                    <a:pt x="876" y="545"/>
                  </a:cubicBezTo>
                  <a:cubicBezTo>
                    <a:pt x="610" y="545"/>
                    <a:pt x="610" y="545"/>
                    <a:pt x="610" y="545"/>
                  </a:cubicBezTo>
                  <a:cubicBezTo>
                    <a:pt x="610" y="32"/>
                    <a:pt x="610" y="32"/>
                    <a:pt x="610" y="32"/>
                  </a:cubicBezTo>
                  <a:cubicBezTo>
                    <a:pt x="610" y="14"/>
                    <a:pt x="595" y="0"/>
                    <a:pt x="578" y="0"/>
                  </a:cubicBezTo>
                  <a:cubicBezTo>
                    <a:pt x="560" y="0"/>
                    <a:pt x="546" y="14"/>
                    <a:pt x="546" y="32"/>
                  </a:cubicBezTo>
                  <a:cubicBezTo>
                    <a:pt x="546" y="545"/>
                    <a:pt x="546" y="545"/>
                    <a:pt x="546" y="545"/>
                  </a:cubicBezTo>
                  <a:cubicBezTo>
                    <a:pt x="289" y="545"/>
                    <a:pt x="289" y="545"/>
                    <a:pt x="289" y="545"/>
                  </a:cubicBezTo>
                  <a:cubicBezTo>
                    <a:pt x="289" y="345"/>
                    <a:pt x="289" y="345"/>
                    <a:pt x="289" y="345"/>
                  </a:cubicBezTo>
                  <a:cubicBezTo>
                    <a:pt x="289" y="328"/>
                    <a:pt x="274" y="313"/>
                    <a:pt x="257" y="313"/>
                  </a:cubicBezTo>
                  <a:cubicBezTo>
                    <a:pt x="239" y="313"/>
                    <a:pt x="225" y="328"/>
                    <a:pt x="225" y="345"/>
                  </a:cubicBezTo>
                  <a:cubicBezTo>
                    <a:pt x="225" y="545"/>
                    <a:pt x="225" y="545"/>
                    <a:pt x="225" y="545"/>
                  </a:cubicBezTo>
                  <a:cubicBezTo>
                    <a:pt x="64" y="545"/>
                    <a:pt x="64" y="545"/>
                    <a:pt x="64" y="545"/>
                  </a:cubicBezTo>
                  <a:cubicBezTo>
                    <a:pt x="64" y="361"/>
                    <a:pt x="64" y="361"/>
                    <a:pt x="64" y="361"/>
                  </a:cubicBezTo>
                  <a:cubicBezTo>
                    <a:pt x="64" y="343"/>
                    <a:pt x="50" y="329"/>
                    <a:pt x="32" y="329"/>
                  </a:cubicBezTo>
                  <a:cubicBezTo>
                    <a:pt x="14" y="329"/>
                    <a:pt x="0" y="343"/>
                    <a:pt x="0" y="361"/>
                  </a:cubicBezTo>
                  <a:cubicBezTo>
                    <a:pt x="0" y="577"/>
                    <a:pt x="0" y="577"/>
                    <a:pt x="0" y="577"/>
                  </a:cubicBezTo>
                  <a:cubicBezTo>
                    <a:pt x="0" y="595"/>
                    <a:pt x="14" y="609"/>
                    <a:pt x="32" y="609"/>
                  </a:cubicBezTo>
                  <a:cubicBezTo>
                    <a:pt x="1465" y="609"/>
                    <a:pt x="1465" y="609"/>
                    <a:pt x="1465" y="609"/>
                  </a:cubicBezTo>
                  <a:cubicBezTo>
                    <a:pt x="1456" y="619"/>
                    <a:pt x="1456" y="619"/>
                    <a:pt x="1456" y="619"/>
                  </a:cubicBezTo>
                  <a:cubicBezTo>
                    <a:pt x="1443" y="631"/>
                    <a:pt x="1443" y="651"/>
                    <a:pt x="1456" y="664"/>
                  </a:cubicBezTo>
                  <a:cubicBezTo>
                    <a:pt x="1462" y="670"/>
                    <a:pt x="1470" y="673"/>
                    <a:pt x="1478" y="673"/>
                  </a:cubicBezTo>
                  <a:cubicBezTo>
                    <a:pt x="1487" y="673"/>
                    <a:pt x="1495" y="670"/>
                    <a:pt x="1501" y="664"/>
                  </a:cubicBezTo>
                  <a:cubicBezTo>
                    <a:pt x="1565" y="600"/>
                    <a:pt x="1565" y="600"/>
                    <a:pt x="1565" y="600"/>
                  </a:cubicBezTo>
                  <a:cubicBezTo>
                    <a:pt x="1578" y="587"/>
                    <a:pt x="1578" y="567"/>
                    <a:pt x="1565" y="555"/>
                  </a:cubicBezTo>
                  <a:close/>
                  <a:moveTo>
                    <a:pt x="1565" y="555"/>
                  </a:moveTo>
                  <a:cubicBezTo>
                    <a:pt x="1565" y="555"/>
                    <a:pt x="1565" y="555"/>
                    <a:pt x="1565" y="5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35"/>
            <p:cNvSpPr>
              <a:spLocks noEditPoints="1"/>
            </p:cNvSpPr>
            <p:nvPr/>
          </p:nvSpPr>
          <p:spPr bwMode="auto">
            <a:xfrm>
              <a:off x="1786" y="1371"/>
              <a:ext cx="2448" cy="1201"/>
            </a:xfrm>
            <a:custGeom>
              <a:avLst/>
              <a:gdLst>
                <a:gd name="T0" fmla="*/ 1177 w 1293"/>
                <a:gd name="T1" fmla="*/ 0 h 634"/>
                <a:gd name="T2" fmla="*/ 1062 w 1293"/>
                <a:gd name="T3" fmla="*/ 116 h 634"/>
                <a:gd name="T4" fmla="*/ 1074 w 1293"/>
                <a:gd name="T5" fmla="*/ 167 h 634"/>
                <a:gd name="T6" fmla="*/ 823 w 1293"/>
                <a:gd name="T7" fmla="*/ 417 h 634"/>
                <a:gd name="T8" fmla="*/ 767 w 1293"/>
                <a:gd name="T9" fmla="*/ 403 h 634"/>
                <a:gd name="T10" fmla="*/ 711 w 1293"/>
                <a:gd name="T11" fmla="*/ 417 h 634"/>
                <a:gd name="T12" fmla="*/ 542 w 1293"/>
                <a:gd name="T13" fmla="*/ 247 h 634"/>
                <a:gd name="T14" fmla="*/ 552 w 1293"/>
                <a:gd name="T15" fmla="*/ 199 h 634"/>
                <a:gd name="T16" fmla="*/ 437 w 1293"/>
                <a:gd name="T17" fmla="*/ 84 h 634"/>
                <a:gd name="T18" fmla="*/ 321 w 1293"/>
                <a:gd name="T19" fmla="*/ 199 h 634"/>
                <a:gd name="T20" fmla="*/ 335 w 1293"/>
                <a:gd name="T21" fmla="*/ 254 h 634"/>
                <a:gd name="T22" fmla="*/ 171 w 1293"/>
                <a:gd name="T23" fmla="*/ 417 h 634"/>
                <a:gd name="T24" fmla="*/ 116 w 1293"/>
                <a:gd name="T25" fmla="*/ 403 h 634"/>
                <a:gd name="T26" fmla="*/ 0 w 1293"/>
                <a:gd name="T27" fmla="*/ 518 h 634"/>
                <a:gd name="T28" fmla="*/ 116 w 1293"/>
                <a:gd name="T29" fmla="*/ 634 h 634"/>
                <a:gd name="T30" fmla="*/ 231 w 1293"/>
                <a:gd name="T31" fmla="*/ 518 h 634"/>
                <a:gd name="T32" fmla="*/ 217 w 1293"/>
                <a:gd name="T33" fmla="*/ 462 h 634"/>
                <a:gd name="T34" fmla="*/ 379 w 1293"/>
                <a:gd name="T35" fmla="*/ 300 h 634"/>
                <a:gd name="T36" fmla="*/ 437 w 1293"/>
                <a:gd name="T37" fmla="*/ 315 h 634"/>
                <a:gd name="T38" fmla="*/ 500 w 1293"/>
                <a:gd name="T39" fmla="*/ 296 h 634"/>
                <a:gd name="T40" fmla="*/ 666 w 1293"/>
                <a:gd name="T41" fmla="*/ 462 h 634"/>
                <a:gd name="T42" fmla="*/ 651 w 1293"/>
                <a:gd name="T43" fmla="*/ 518 h 634"/>
                <a:gd name="T44" fmla="*/ 767 w 1293"/>
                <a:gd name="T45" fmla="*/ 634 h 634"/>
                <a:gd name="T46" fmla="*/ 882 w 1293"/>
                <a:gd name="T47" fmla="*/ 518 h 634"/>
                <a:gd name="T48" fmla="*/ 868 w 1293"/>
                <a:gd name="T49" fmla="*/ 463 h 634"/>
                <a:gd name="T50" fmla="*/ 1117 w 1293"/>
                <a:gd name="T51" fmla="*/ 214 h 634"/>
                <a:gd name="T52" fmla="*/ 1177 w 1293"/>
                <a:gd name="T53" fmla="*/ 231 h 634"/>
                <a:gd name="T54" fmla="*/ 1293 w 1293"/>
                <a:gd name="T55" fmla="*/ 116 h 634"/>
                <a:gd name="T56" fmla="*/ 1177 w 1293"/>
                <a:gd name="T57" fmla="*/ 0 h 634"/>
                <a:gd name="T58" fmla="*/ 116 w 1293"/>
                <a:gd name="T59" fmla="*/ 570 h 634"/>
                <a:gd name="T60" fmla="*/ 64 w 1293"/>
                <a:gd name="T61" fmla="*/ 518 h 634"/>
                <a:gd name="T62" fmla="*/ 116 w 1293"/>
                <a:gd name="T63" fmla="*/ 467 h 634"/>
                <a:gd name="T64" fmla="*/ 151 w 1293"/>
                <a:gd name="T65" fmla="*/ 481 h 634"/>
                <a:gd name="T66" fmla="*/ 152 w 1293"/>
                <a:gd name="T67" fmla="*/ 482 h 634"/>
                <a:gd name="T68" fmla="*/ 152 w 1293"/>
                <a:gd name="T69" fmla="*/ 482 h 634"/>
                <a:gd name="T70" fmla="*/ 167 w 1293"/>
                <a:gd name="T71" fmla="*/ 518 h 634"/>
                <a:gd name="T72" fmla="*/ 116 w 1293"/>
                <a:gd name="T73" fmla="*/ 570 h 634"/>
                <a:gd name="T74" fmla="*/ 437 w 1293"/>
                <a:gd name="T75" fmla="*/ 251 h 634"/>
                <a:gd name="T76" fmla="*/ 385 w 1293"/>
                <a:gd name="T77" fmla="*/ 199 h 634"/>
                <a:gd name="T78" fmla="*/ 437 w 1293"/>
                <a:gd name="T79" fmla="*/ 148 h 634"/>
                <a:gd name="T80" fmla="*/ 488 w 1293"/>
                <a:gd name="T81" fmla="*/ 199 h 634"/>
                <a:gd name="T82" fmla="*/ 437 w 1293"/>
                <a:gd name="T83" fmla="*/ 251 h 634"/>
                <a:gd name="T84" fmla="*/ 767 w 1293"/>
                <a:gd name="T85" fmla="*/ 570 h 634"/>
                <a:gd name="T86" fmla="*/ 715 w 1293"/>
                <a:gd name="T87" fmla="*/ 518 h 634"/>
                <a:gd name="T88" fmla="*/ 767 w 1293"/>
                <a:gd name="T89" fmla="*/ 467 h 634"/>
                <a:gd name="T90" fmla="*/ 818 w 1293"/>
                <a:gd name="T91" fmla="*/ 518 h 634"/>
                <a:gd name="T92" fmla="*/ 767 w 1293"/>
                <a:gd name="T93" fmla="*/ 570 h 634"/>
                <a:gd name="T94" fmla="*/ 1177 w 1293"/>
                <a:gd name="T95" fmla="*/ 167 h 634"/>
                <a:gd name="T96" fmla="*/ 1126 w 1293"/>
                <a:gd name="T97" fmla="*/ 116 h 634"/>
                <a:gd name="T98" fmla="*/ 1177 w 1293"/>
                <a:gd name="T99" fmla="*/ 64 h 634"/>
                <a:gd name="T100" fmla="*/ 1229 w 1293"/>
                <a:gd name="T101" fmla="*/ 116 h 634"/>
                <a:gd name="T102" fmla="*/ 1177 w 1293"/>
                <a:gd name="T103" fmla="*/ 167 h 634"/>
                <a:gd name="T104" fmla="*/ 1177 w 1293"/>
                <a:gd name="T105" fmla="*/ 167 h 634"/>
                <a:gd name="T106" fmla="*/ 1177 w 1293"/>
                <a:gd name="T107" fmla="*/ 167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3" h="634">
                  <a:moveTo>
                    <a:pt x="1177" y="0"/>
                  </a:moveTo>
                  <a:cubicBezTo>
                    <a:pt x="1114" y="0"/>
                    <a:pt x="1062" y="52"/>
                    <a:pt x="1062" y="116"/>
                  </a:cubicBezTo>
                  <a:cubicBezTo>
                    <a:pt x="1062" y="134"/>
                    <a:pt x="1066" y="151"/>
                    <a:pt x="1074" y="167"/>
                  </a:cubicBezTo>
                  <a:cubicBezTo>
                    <a:pt x="823" y="417"/>
                    <a:pt x="823" y="417"/>
                    <a:pt x="823" y="417"/>
                  </a:cubicBezTo>
                  <a:cubicBezTo>
                    <a:pt x="806" y="408"/>
                    <a:pt x="787" y="403"/>
                    <a:pt x="767" y="403"/>
                  </a:cubicBezTo>
                  <a:cubicBezTo>
                    <a:pt x="746" y="403"/>
                    <a:pt x="728" y="408"/>
                    <a:pt x="711" y="417"/>
                  </a:cubicBezTo>
                  <a:cubicBezTo>
                    <a:pt x="542" y="247"/>
                    <a:pt x="542" y="247"/>
                    <a:pt x="542" y="247"/>
                  </a:cubicBezTo>
                  <a:cubicBezTo>
                    <a:pt x="548" y="233"/>
                    <a:pt x="552" y="216"/>
                    <a:pt x="552" y="199"/>
                  </a:cubicBezTo>
                  <a:cubicBezTo>
                    <a:pt x="552" y="136"/>
                    <a:pt x="500" y="84"/>
                    <a:pt x="437" y="84"/>
                  </a:cubicBezTo>
                  <a:cubicBezTo>
                    <a:pt x="373" y="84"/>
                    <a:pt x="321" y="136"/>
                    <a:pt x="321" y="199"/>
                  </a:cubicBezTo>
                  <a:cubicBezTo>
                    <a:pt x="321" y="219"/>
                    <a:pt x="326" y="238"/>
                    <a:pt x="335" y="254"/>
                  </a:cubicBezTo>
                  <a:cubicBezTo>
                    <a:pt x="171" y="417"/>
                    <a:pt x="171" y="417"/>
                    <a:pt x="171" y="417"/>
                  </a:cubicBezTo>
                  <a:cubicBezTo>
                    <a:pt x="155" y="408"/>
                    <a:pt x="136" y="403"/>
                    <a:pt x="116" y="403"/>
                  </a:cubicBezTo>
                  <a:cubicBezTo>
                    <a:pt x="52" y="403"/>
                    <a:pt x="0" y="455"/>
                    <a:pt x="0" y="518"/>
                  </a:cubicBezTo>
                  <a:cubicBezTo>
                    <a:pt x="0" y="582"/>
                    <a:pt x="52" y="634"/>
                    <a:pt x="116" y="634"/>
                  </a:cubicBezTo>
                  <a:cubicBezTo>
                    <a:pt x="179" y="634"/>
                    <a:pt x="231" y="582"/>
                    <a:pt x="231" y="518"/>
                  </a:cubicBezTo>
                  <a:cubicBezTo>
                    <a:pt x="231" y="498"/>
                    <a:pt x="226" y="479"/>
                    <a:pt x="217" y="462"/>
                  </a:cubicBezTo>
                  <a:cubicBezTo>
                    <a:pt x="379" y="300"/>
                    <a:pt x="379" y="300"/>
                    <a:pt x="379" y="300"/>
                  </a:cubicBezTo>
                  <a:cubicBezTo>
                    <a:pt x="396" y="309"/>
                    <a:pt x="416" y="315"/>
                    <a:pt x="437" y="315"/>
                  </a:cubicBezTo>
                  <a:cubicBezTo>
                    <a:pt x="460" y="315"/>
                    <a:pt x="482" y="308"/>
                    <a:pt x="500" y="296"/>
                  </a:cubicBezTo>
                  <a:cubicBezTo>
                    <a:pt x="666" y="462"/>
                    <a:pt x="666" y="462"/>
                    <a:pt x="666" y="462"/>
                  </a:cubicBezTo>
                  <a:cubicBezTo>
                    <a:pt x="656" y="478"/>
                    <a:pt x="651" y="498"/>
                    <a:pt x="651" y="518"/>
                  </a:cubicBezTo>
                  <a:cubicBezTo>
                    <a:pt x="651" y="582"/>
                    <a:pt x="703" y="634"/>
                    <a:pt x="767" y="634"/>
                  </a:cubicBezTo>
                  <a:cubicBezTo>
                    <a:pt x="830" y="634"/>
                    <a:pt x="882" y="582"/>
                    <a:pt x="882" y="518"/>
                  </a:cubicBezTo>
                  <a:cubicBezTo>
                    <a:pt x="882" y="498"/>
                    <a:pt x="877" y="479"/>
                    <a:pt x="868" y="463"/>
                  </a:cubicBezTo>
                  <a:cubicBezTo>
                    <a:pt x="1117" y="214"/>
                    <a:pt x="1117" y="214"/>
                    <a:pt x="1117" y="214"/>
                  </a:cubicBezTo>
                  <a:cubicBezTo>
                    <a:pt x="1134" y="225"/>
                    <a:pt x="1155" y="231"/>
                    <a:pt x="1177" y="231"/>
                  </a:cubicBezTo>
                  <a:cubicBezTo>
                    <a:pt x="1241" y="231"/>
                    <a:pt x="1293" y="180"/>
                    <a:pt x="1293" y="116"/>
                  </a:cubicBezTo>
                  <a:cubicBezTo>
                    <a:pt x="1293" y="52"/>
                    <a:pt x="1241" y="0"/>
                    <a:pt x="1177" y="0"/>
                  </a:cubicBezTo>
                  <a:close/>
                  <a:moveTo>
                    <a:pt x="116" y="570"/>
                  </a:moveTo>
                  <a:cubicBezTo>
                    <a:pt x="87" y="570"/>
                    <a:pt x="64" y="547"/>
                    <a:pt x="64" y="518"/>
                  </a:cubicBezTo>
                  <a:cubicBezTo>
                    <a:pt x="64" y="490"/>
                    <a:pt x="87" y="467"/>
                    <a:pt x="116" y="467"/>
                  </a:cubicBezTo>
                  <a:cubicBezTo>
                    <a:pt x="130" y="467"/>
                    <a:pt x="142" y="472"/>
                    <a:pt x="151" y="481"/>
                  </a:cubicBezTo>
                  <a:cubicBezTo>
                    <a:pt x="152" y="481"/>
                    <a:pt x="152" y="482"/>
                    <a:pt x="152" y="482"/>
                  </a:cubicBezTo>
                  <a:cubicBezTo>
                    <a:pt x="152" y="482"/>
                    <a:pt x="152" y="482"/>
                    <a:pt x="152" y="482"/>
                  </a:cubicBezTo>
                  <a:cubicBezTo>
                    <a:pt x="162" y="492"/>
                    <a:pt x="167" y="504"/>
                    <a:pt x="167" y="518"/>
                  </a:cubicBezTo>
                  <a:cubicBezTo>
                    <a:pt x="167" y="547"/>
                    <a:pt x="144" y="570"/>
                    <a:pt x="116" y="570"/>
                  </a:cubicBezTo>
                  <a:close/>
                  <a:moveTo>
                    <a:pt x="437" y="251"/>
                  </a:moveTo>
                  <a:cubicBezTo>
                    <a:pt x="408" y="251"/>
                    <a:pt x="385" y="228"/>
                    <a:pt x="385" y="199"/>
                  </a:cubicBezTo>
                  <a:cubicBezTo>
                    <a:pt x="385" y="171"/>
                    <a:pt x="408" y="148"/>
                    <a:pt x="437" y="148"/>
                  </a:cubicBezTo>
                  <a:cubicBezTo>
                    <a:pt x="465" y="148"/>
                    <a:pt x="488" y="171"/>
                    <a:pt x="488" y="199"/>
                  </a:cubicBezTo>
                  <a:cubicBezTo>
                    <a:pt x="488" y="228"/>
                    <a:pt x="465" y="251"/>
                    <a:pt x="437" y="251"/>
                  </a:cubicBezTo>
                  <a:close/>
                  <a:moveTo>
                    <a:pt x="767" y="570"/>
                  </a:moveTo>
                  <a:cubicBezTo>
                    <a:pt x="738" y="570"/>
                    <a:pt x="715" y="547"/>
                    <a:pt x="715" y="518"/>
                  </a:cubicBezTo>
                  <a:cubicBezTo>
                    <a:pt x="715" y="490"/>
                    <a:pt x="738" y="467"/>
                    <a:pt x="767" y="467"/>
                  </a:cubicBezTo>
                  <a:cubicBezTo>
                    <a:pt x="795" y="467"/>
                    <a:pt x="818" y="490"/>
                    <a:pt x="818" y="518"/>
                  </a:cubicBezTo>
                  <a:cubicBezTo>
                    <a:pt x="818" y="547"/>
                    <a:pt x="795" y="570"/>
                    <a:pt x="767" y="570"/>
                  </a:cubicBezTo>
                  <a:close/>
                  <a:moveTo>
                    <a:pt x="1177" y="167"/>
                  </a:moveTo>
                  <a:cubicBezTo>
                    <a:pt x="1149" y="167"/>
                    <a:pt x="1126" y="144"/>
                    <a:pt x="1126" y="116"/>
                  </a:cubicBezTo>
                  <a:cubicBezTo>
                    <a:pt x="1126" y="87"/>
                    <a:pt x="1149" y="64"/>
                    <a:pt x="1177" y="64"/>
                  </a:cubicBezTo>
                  <a:cubicBezTo>
                    <a:pt x="1206" y="64"/>
                    <a:pt x="1229" y="87"/>
                    <a:pt x="1229" y="116"/>
                  </a:cubicBezTo>
                  <a:cubicBezTo>
                    <a:pt x="1229" y="144"/>
                    <a:pt x="1206" y="167"/>
                    <a:pt x="1177" y="167"/>
                  </a:cubicBezTo>
                  <a:close/>
                  <a:moveTo>
                    <a:pt x="1177" y="167"/>
                  </a:moveTo>
                  <a:cubicBezTo>
                    <a:pt x="1177" y="167"/>
                    <a:pt x="1177" y="167"/>
                    <a:pt x="1177" y="1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6"/>
            <p:cNvSpPr>
              <a:spLocks noEditPoints="1"/>
            </p:cNvSpPr>
            <p:nvPr/>
          </p:nvSpPr>
          <p:spPr bwMode="auto">
            <a:xfrm>
              <a:off x="3954" y="1945"/>
              <a:ext cx="121" cy="122"/>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0" name="Group 158"/>
          <p:cNvGrpSpPr>
            <a:grpSpLocks noChangeAspect="1"/>
          </p:cNvGrpSpPr>
          <p:nvPr/>
        </p:nvGrpSpPr>
        <p:grpSpPr bwMode="auto">
          <a:xfrm>
            <a:off x="6868277" y="1860791"/>
            <a:ext cx="508788" cy="457200"/>
            <a:chOff x="916" y="294"/>
            <a:chExt cx="3876" cy="3483"/>
          </a:xfrm>
          <a:solidFill>
            <a:schemeClr val="accent1"/>
          </a:solidFill>
        </p:grpSpPr>
        <p:sp>
          <p:nvSpPr>
            <p:cNvPr id="162" name="Freeform 159"/>
            <p:cNvSpPr>
              <a:spLocks noEditPoints="1"/>
            </p:cNvSpPr>
            <p:nvPr/>
          </p:nvSpPr>
          <p:spPr bwMode="auto">
            <a:xfrm>
              <a:off x="3823" y="3202"/>
              <a:ext cx="969" cy="575"/>
            </a:xfrm>
            <a:custGeom>
              <a:avLst/>
              <a:gdLst>
                <a:gd name="T0" fmla="*/ 360 w 512"/>
                <a:gd name="T1" fmla="*/ 0 h 304"/>
                <a:gd name="T2" fmla="*/ 213 w 512"/>
                <a:gd name="T3" fmla="*/ 112 h 304"/>
                <a:gd name="T4" fmla="*/ 80 w 512"/>
                <a:gd name="T5" fmla="*/ 112 h 304"/>
                <a:gd name="T6" fmla="*/ 80 w 512"/>
                <a:gd name="T7" fmla="*/ 111 h 304"/>
                <a:gd name="T8" fmla="*/ 40 w 512"/>
                <a:gd name="T9" fmla="*/ 71 h 304"/>
                <a:gd name="T10" fmla="*/ 0 w 512"/>
                <a:gd name="T11" fmla="*/ 111 h 304"/>
                <a:gd name="T12" fmla="*/ 0 w 512"/>
                <a:gd name="T13" fmla="*/ 152 h 304"/>
                <a:gd name="T14" fmla="*/ 40 w 512"/>
                <a:gd name="T15" fmla="*/ 192 h 304"/>
                <a:gd name="T16" fmla="*/ 213 w 512"/>
                <a:gd name="T17" fmla="*/ 192 h 304"/>
                <a:gd name="T18" fmla="*/ 360 w 512"/>
                <a:gd name="T19" fmla="*/ 304 h 304"/>
                <a:gd name="T20" fmla="*/ 512 w 512"/>
                <a:gd name="T21" fmla="*/ 152 h 304"/>
                <a:gd name="T22" fmla="*/ 360 w 512"/>
                <a:gd name="T23" fmla="*/ 0 h 304"/>
                <a:gd name="T24" fmla="*/ 360 w 512"/>
                <a:gd name="T25" fmla="*/ 224 h 304"/>
                <a:gd name="T26" fmla="*/ 288 w 512"/>
                <a:gd name="T27" fmla="*/ 152 h 304"/>
                <a:gd name="T28" fmla="*/ 360 w 512"/>
                <a:gd name="T29" fmla="*/ 80 h 304"/>
                <a:gd name="T30" fmla="*/ 432 w 512"/>
                <a:gd name="T31" fmla="*/ 152 h 304"/>
                <a:gd name="T32" fmla="*/ 360 w 512"/>
                <a:gd name="T33"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04">
                  <a:moveTo>
                    <a:pt x="360" y="0"/>
                  </a:moveTo>
                  <a:cubicBezTo>
                    <a:pt x="290" y="0"/>
                    <a:pt x="231" y="48"/>
                    <a:pt x="213" y="112"/>
                  </a:cubicBezTo>
                  <a:cubicBezTo>
                    <a:pt x="80" y="112"/>
                    <a:pt x="80" y="112"/>
                    <a:pt x="80" y="112"/>
                  </a:cubicBezTo>
                  <a:cubicBezTo>
                    <a:pt x="80" y="111"/>
                    <a:pt x="80" y="111"/>
                    <a:pt x="80" y="111"/>
                  </a:cubicBezTo>
                  <a:cubicBezTo>
                    <a:pt x="80" y="89"/>
                    <a:pt x="62" y="71"/>
                    <a:pt x="40" y="71"/>
                  </a:cubicBezTo>
                  <a:cubicBezTo>
                    <a:pt x="18" y="71"/>
                    <a:pt x="0" y="89"/>
                    <a:pt x="0" y="111"/>
                  </a:cubicBezTo>
                  <a:cubicBezTo>
                    <a:pt x="0" y="152"/>
                    <a:pt x="0" y="152"/>
                    <a:pt x="0" y="152"/>
                  </a:cubicBezTo>
                  <a:cubicBezTo>
                    <a:pt x="0" y="174"/>
                    <a:pt x="18" y="192"/>
                    <a:pt x="40" y="192"/>
                  </a:cubicBezTo>
                  <a:cubicBezTo>
                    <a:pt x="213" y="192"/>
                    <a:pt x="213" y="192"/>
                    <a:pt x="213" y="192"/>
                  </a:cubicBezTo>
                  <a:cubicBezTo>
                    <a:pt x="231" y="257"/>
                    <a:pt x="290" y="304"/>
                    <a:pt x="360" y="304"/>
                  </a:cubicBezTo>
                  <a:cubicBezTo>
                    <a:pt x="444" y="304"/>
                    <a:pt x="512" y="236"/>
                    <a:pt x="512" y="152"/>
                  </a:cubicBezTo>
                  <a:cubicBezTo>
                    <a:pt x="512" y="68"/>
                    <a:pt x="444" y="0"/>
                    <a:pt x="360" y="0"/>
                  </a:cubicBezTo>
                  <a:close/>
                  <a:moveTo>
                    <a:pt x="360" y="224"/>
                  </a:moveTo>
                  <a:cubicBezTo>
                    <a:pt x="320" y="224"/>
                    <a:pt x="288" y="192"/>
                    <a:pt x="288" y="152"/>
                  </a:cubicBezTo>
                  <a:cubicBezTo>
                    <a:pt x="288" y="112"/>
                    <a:pt x="320" y="80"/>
                    <a:pt x="360" y="80"/>
                  </a:cubicBezTo>
                  <a:cubicBezTo>
                    <a:pt x="400" y="80"/>
                    <a:pt x="432" y="112"/>
                    <a:pt x="432" y="152"/>
                  </a:cubicBezTo>
                  <a:cubicBezTo>
                    <a:pt x="432" y="192"/>
                    <a:pt x="400" y="224"/>
                    <a:pt x="36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60"/>
            <p:cNvSpPr>
              <a:spLocks noEditPoints="1"/>
            </p:cNvSpPr>
            <p:nvPr/>
          </p:nvSpPr>
          <p:spPr bwMode="auto">
            <a:xfrm>
              <a:off x="916" y="294"/>
              <a:ext cx="969" cy="575"/>
            </a:xfrm>
            <a:custGeom>
              <a:avLst/>
              <a:gdLst>
                <a:gd name="T0" fmla="*/ 472 w 512"/>
                <a:gd name="T1" fmla="*/ 112 h 304"/>
                <a:gd name="T2" fmla="*/ 299 w 512"/>
                <a:gd name="T3" fmla="*/ 112 h 304"/>
                <a:gd name="T4" fmla="*/ 152 w 512"/>
                <a:gd name="T5" fmla="*/ 0 h 304"/>
                <a:gd name="T6" fmla="*/ 0 w 512"/>
                <a:gd name="T7" fmla="*/ 152 h 304"/>
                <a:gd name="T8" fmla="*/ 152 w 512"/>
                <a:gd name="T9" fmla="*/ 304 h 304"/>
                <a:gd name="T10" fmla="*/ 299 w 512"/>
                <a:gd name="T11" fmla="*/ 192 h 304"/>
                <a:gd name="T12" fmla="*/ 432 w 512"/>
                <a:gd name="T13" fmla="*/ 192 h 304"/>
                <a:gd name="T14" fmla="*/ 472 w 512"/>
                <a:gd name="T15" fmla="*/ 232 h 304"/>
                <a:gd name="T16" fmla="*/ 512 w 512"/>
                <a:gd name="T17" fmla="*/ 192 h 304"/>
                <a:gd name="T18" fmla="*/ 512 w 512"/>
                <a:gd name="T19" fmla="*/ 152 h 304"/>
                <a:gd name="T20" fmla="*/ 472 w 512"/>
                <a:gd name="T21" fmla="*/ 112 h 304"/>
                <a:gd name="T22" fmla="*/ 152 w 512"/>
                <a:gd name="T23" fmla="*/ 224 h 304"/>
                <a:gd name="T24" fmla="*/ 80 w 512"/>
                <a:gd name="T25" fmla="*/ 152 h 304"/>
                <a:gd name="T26" fmla="*/ 152 w 512"/>
                <a:gd name="T27" fmla="*/ 80 h 304"/>
                <a:gd name="T28" fmla="*/ 224 w 512"/>
                <a:gd name="T29" fmla="*/ 152 h 304"/>
                <a:gd name="T30" fmla="*/ 152 w 512"/>
                <a:gd name="T31"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304">
                  <a:moveTo>
                    <a:pt x="472" y="112"/>
                  </a:moveTo>
                  <a:cubicBezTo>
                    <a:pt x="299" y="112"/>
                    <a:pt x="299" y="112"/>
                    <a:pt x="299" y="112"/>
                  </a:cubicBezTo>
                  <a:cubicBezTo>
                    <a:pt x="281" y="47"/>
                    <a:pt x="222" y="0"/>
                    <a:pt x="152" y="0"/>
                  </a:cubicBezTo>
                  <a:cubicBezTo>
                    <a:pt x="68" y="0"/>
                    <a:pt x="0" y="68"/>
                    <a:pt x="0" y="152"/>
                  </a:cubicBezTo>
                  <a:cubicBezTo>
                    <a:pt x="0" y="236"/>
                    <a:pt x="68" y="304"/>
                    <a:pt x="152" y="304"/>
                  </a:cubicBezTo>
                  <a:cubicBezTo>
                    <a:pt x="222" y="304"/>
                    <a:pt x="281" y="256"/>
                    <a:pt x="299" y="192"/>
                  </a:cubicBezTo>
                  <a:cubicBezTo>
                    <a:pt x="432" y="192"/>
                    <a:pt x="432" y="192"/>
                    <a:pt x="432" y="192"/>
                  </a:cubicBezTo>
                  <a:cubicBezTo>
                    <a:pt x="432" y="214"/>
                    <a:pt x="450" y="232"/>
                    <a:pt x="472" y="232"/>
                  </a:cubicBezTo>
                  <a:cubicBezTo>
                    <a:pt x="494" y="232"/>
                    <a:pt x="512" y="214"/>
                    <a:pt x="512" y="192"/>
                  </a:cubicBezTo>
                  <a:cubicBezTo>
                    <a:pt x="512" y="152"/>
                    <a:pt x="512" y="152"/>
                    <a:pt x="512" y="152"/>
                  </a:cubicBezTo>
                  <a:cubicBezTo>
                    <a:pt x="512" y="130"/>
                    <a:pt x="494" y="112"/>
                    <a:pt x="472" y="112"/>
                  </a:cubicBezTo>
                  <a:close/>
                  <a:moveTo>
                    <a:pt x="152" y="224"/>
                  </a:moveTo>
                  <a:cubicBezTo>
                    <a:pt x="112" y="224"/>
                    <a:pt x="80" y="192"/>
                    <a:pt x="80" y="152"/>
                  </a:cubicBezTo>
                  <a:cubicBezTo>
                    <a:pt x="80" y="112"/>
                    <a:pt x="112" y="80"/>
                    <a:pt x="152" y="80"/>
                  </a:cubicBezTo>
                  <a:cubicBezTo>
                    <a:pt x="192" y="80"/>
                    <a:pt x="224" y="112"/>
                    <a:pt x="224" y="152"/>
                  </a:cubicBezTo>
                  <a:cubicBezTo>
                    <a:pt x="224" y="192"/>
                    <a:pt x="192" y="224"/>
                    <a:pt x="152"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61"/>
            <p:cNvSpPr>
              <a:spLocks noEditPoints="1"/>
            </p:cNvSpPr>
            <p:nvPr/>
          </p:nvSpPr>
          <p:spPr bwMode="auto">
            <a:xfrm>
              <a:off x="1325" y="506"/>
              <a:ext cx="3058" cy="3059"/>
            </a:xfrm>
            <a:custGeom>
              <a:avLst/>
              <a:gdLst>
                <a:gd name="T0" fmla="*/ 1459 w 1616"/>
                <a:gd name="T1" fmla="*/ 631 h 1616"/>
                <a:gd name="T2" fmla="*/ 1454 w 1616"/>
                <a:gd name="T3" fmla="*/ 412 h 1616"/>
                <a:gd name="T4" fmla="*/ 1454 w 1616"/>
                <a:gd name="T5" fmla="*/ 312 h 1616"/>
                <a:gd name="T6" fmla="*/ 1254 w 1616"/>
                <a:gd name="T7" fmla="*/ 141 h 1616"/>
                <a:gd name="T8" fmla="*/ 1143 w 1616"/>
                <a:gd name="T9" fmla="*/ 222 h 1616"/>
                <a:gd name="T10" fmla="*/ 985 w 1616"/>
                <a:gd name="T11" fmla="*/ 71 h 1616"/>
                <a:gd name="T12" fmla="*/ 702 w 1616"/>
                <a:gd name="T13" fmla="*/ 0 h 1616"/>
                <a:gd name="T14" fmla="*/ 631 w 1616"/>
                <a:gd name="T15" fmla="*/ 157 h 1616"/>
                <a:gd name="T16" fmla="*/ 412 w 1616"/>
                <a:gd name="T17" fmla="*/ 162 h 1616"/>
                <a:gd name="T18" fmla="*/ 312 w 1616"/>
                <a:gd name="T19" fmla="*/ 162 h 1616"/>
                <a:gd name="T20" fmla="*/ 141 w 1616"/>
                <a:gd name="T21" fmla="*/ 362 h 1616"/>
                <a:gd name="T22" fmla="*/ 222 w 1616"/>
                <a:gd name="T23" fmla="*/ 473 h 1616"/>
                <a:gd name="T24" fmla="*/ 71 w 1616"/>
                <a:gd name="T25" fmla="*/ 631 h 1616"/>
                <a:gd name="T26" fmla="*/ 0 w 1616"/>
                <a:gd name="T27" fmla="*/ 914 h 1616"/>
                <a:gd name="T28" fmla="*/ 158 w 1616"/>
                <a:gd name="T29" fmla="*/ 985 h 1616"/>
                <a:gd name="T30" fmla="*/ 161 w 1616"/>
                <a:gd name="T31" fmla="*/ 1204 h 1616"/>
                <a:gd name="T32" fmla="*/ 161 w 1616"/>
                <a:gd name="T33" fmla="*/ 1304 h 1616"/>
                <a:gd name="T34" fmla="*/ 362 w 1616"/>
                <a:gd name="T35" fmla="*/ 1475 h 1616"/>
                <a:gd name="T36" fmla="*/ 474 w 1616"/>
                <a:gd name="T37" fmla="*/ 1393 h 1616"/>
                <a:gd name="T38" fmla="*/ 631 w 1616"/>
                <a:gd name="T39" fmla="*/ 1545 h 1616"/>
                <a:gd name="T40" fmla="*/ 914 w 1616"/>
                <a:gd name="T41" fmla="*/ 1616 h 1616"/>
                <a:gd name="T42" fmla="*/ 985 w 1616"/>
                <a:gd name="T43" fmla="*/ 1459 h 1616"/>
                <a:gd name="T44" fmla="*/ 1204 w 1616"/>
                <a:gd name="T45" fmla="*/ 1454 h 1616"/>
                <a:gd name="T46" fmla="*/ 1304 w 1616"/>
                <a:gd name="T47" fmla="*/ 1454 h 1616"/>
                <a:gd name="T48" fmla="*/ 1475 w 1616"/>
                <a:gd name="T49" fmla="*/ 1254 h 1616"/>
                <a:gd name="T50" fmla="*/ 1394 w 1616"/>
                <a:gd name="T51" fmla="*/ 1143 h 1616"/>
                <a:gd name="T52" fmla="*/ 1545 w 1616"/>
                <a:gd name="T53" fmla="*/ 985 h 1616"/>
                <a:gd name="T54" fmla="*/ 1616 w 1616"/>
                <a:gd name="T55" fmla="*/ 702 h 1616"/>
                <a:gd name="T56" fmla="*/ 1536 w 1616"/>
                <a:gd name="T57" fmla="*/ 905 h 1616"/>
                <a:gd name="T58" fmla="*/ 1383 w 1616"/>
                <a:gd name="T59" fmla="*/ 958 h 1616"/>
                <a:gd name="T60" fmla="*/ 1332 w 1616"/>
                <a:gd name="T61" fmla="*/ 1195 h 1616"/>
                <a:gd name="T62" fmla="*/ 1254 w 1616"/>
                <a:gd name="T63" fmla="*/ 1392 h 1616"/>
                <a:gd name="T64" fmla="*/ 1108 w 1616"/>
                <a:gd name="T65" fmla="*/ 1321 h 1616"/>
                <a:gd name="T66" fmla="*/ 905 w 1616"/>
                <a:gd name="T67" fmla="*/ 1452 h 1616"/>
                <a:gd name="T68" fmla="*/ 711 w 1616"/>
                <a:gd name="T69" fmla="*/ 1536 h 1616"/>
                <a:gd name="T70" fmla="*/ 658 w 1616"/>
                <a:gd name="T71" fmla="*/ 1383 h 1616"/>
                <a:gd name="T72" fmla="*/ 422 w 1616"/>
                <a:gd name="T73" fmla="*/ 1332 h 1616"/>
                <a:gd name="T74" fmla="*/ 224 w 1616"/>
                <a:gd name="T75" fmla="*/ 1254 h 1616"/>
                <a:gd name="T76" fmla="*/ 295 w 1616"/>
                <a:gd name="T77" fmla="*/ 1108 h 1616"/>
                <a:gd name="T78" fmla="*/ 164 w 1616"/>
                <a:gd name="T79" fmla="*/ 905 h 1616"/>
                <a:gd name="T80" fmla="*/ 80 w 1616"/>
                <a:gd name="T81" fmla="*/ 711 h 1616"/>
                <a:gd name="T82" fmla="*/ 233 w 1616"/>
                <a:gd name="T83" fmla="*/ 658 h 1616"/>
                <a:gd name="T84" fmla="*/ 284 w 1616"/>
                <a:gd name="T85" fmla="*/ 422 h 1616"/>
                <a:gd name="T86" fmla="*/ 362 w 1616"/>
                <a:gd name="T87" fmla="*/ 224 h 1616"/>
                <a:gd name="T88" fmla="*/ 508 w 1616"/>
                <a:gd name="T89" fmla="*/ 295 h 1616"/>
                <a:gd name="T90" fmla="*/ 711 w 1616"/>
                <a:gd name="T91" fmla="*/ 164 h 1616"/>
                <a:gd name="T92" fmla="*/ 905 w 1616"/>
                <a:gd name="T93" fmla="*/ 80 h 1616"/>
                <a:gd name="T94" fmla="*/ 958 w 1616"/>
                <a:gd name="T95" fmla="*/ 232 h 1616"/>
                <a:gd name="T96" fmla="*/ 1195 w 1616"/>
                <a:gd name="T97" fmla="*/ 283 h 1616"/>
                <a:gd name="T98" fmla="*/ 1392 w 1616"/>
                <a:gd name="T99" fmla="*/ 362 h 1616"/>
                <a:gd name="T100" fmla="*/ 1321 w 1616"/>
                <a:gd name="T101" fmla="*/ 507 h 1616"/>
                <a:gd name="T102" fmla="*/ 1453 w 1616"/>
                <a:gd name="T103" fmla="*/ 711 h 1616"/>
                <a:gd name="T104" fmla="*/ 1536 w 1616"/>
                <a:gd name="T105" fmla="*/ 905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16" h="1616">
                  <a:moveTo>
                    <a:pt x="1545" y="631"/>
                  </a:moveTo>
                  <a:cubicBezTo>
                    <a:pt x="1459" y="631"/>
                    <a:pt x="1459" y="631"/>
                    <a:pt x="1459" y="631"/>
                  </a:cubicBezTo>
                  <a:cubicBezTo>
                    <a:pt x="1444" y="575"/>
                    <a:pt x="1422" y="522"/>
                    <a:pt x="1394" y="473"/>
                  </a:cubicBezTo>
                  <a:cubicBezTo>
                    <a:pt x="1454" y="412"/>
                    <a:pt x="1454" y="412"/>
                    <a:pt x="1454" y="412"/>
                  </a:cubicBezTo>
                  <a:cubicBezTo>
                    <a:pt x="1468" y="399"/>
                    <a:pt x="1475" y="381"/>
                    <a:pt x="1475" y="362"/>
                  </a:cubicBezTo>
                  <a:cubicBezTo>
                    <a:pt x="1475" y="343"/>
                    <a:pt x="1468" y="325"/>
                    <a:pt x="1454" y="312"/>
                  </a:cubicBezTo>
                  <a:cubicBezTo>
                    <a:pt x="1304" y="162"/>
                    <a:pt x="1304" y="162"/>
                    <a:pt x="1304" y="162"/>
                  </a:cubicBezTo>
                  <a:cubicBezTo>
                    <a:pt x="1291" y="148"/>
                    <a:pt x="1273" y="141"/>
                    <a:pt x="1254" y="141"/>
                  </a:cubicBezTo>
                  <a:cubicBezTo>
                    <a:pt x="1235" y="141"/>
                    <a:pt x="1217" y="148"/>
                    <a:pt x="1204" y="162"/>
                  </a:cubicBezTo>
                  <a:cubicBezTo>
                    <a:pt x="1143" y="222"/>
                    <a:pt x="1143" y="222"/>
                    <a:pt x="1143" y="222"/>
                  </a:cubicBezTo>
                  <a:cubicBezTo>
                    <a:pt x="1093" y="194"/>
                    <a:pt x="1040" y="172"/>
                    <a:pt x="985" y="157"/>
                  </a:cubicBezTo>
                  <a:cubicBezTo>
                    <a:pt x="985" y="71"/>
                    <a:pt x="985" y="71"/>
                    <a:pt x="985" y="71"/>
                  </a:cubicBezTo>
                  <a:cubicBezTo>
                    <a:pt x="985" y="32"/>
                    <a:pt x="953" y="0"/>
                    <a:pt x="914" y="0"/>
                  </a:cubicBezTo>
                  <a:cubicBezTo>
                    <a:pt x="702" y="0"/>
                    <a:pt x="702" y="0"/>
                    <a:pt x="702" y="0"/>
                  </a:cubicBezTo>
                  <a:cubicBezTo>
                    <a:pt x="662" y="0"/>
                    <a:pt x="631" y="32"/>
                    <a:pt x="631" y="71"/>
                  </a:cubicBezTo>
                  <a:cubicBezTo>
                    <a:pt x="631" y="157"/>
                    <a:pt x="631" y="157"/>
                    <a:pt x="631" y="157"/>
                  </a:cubicBezTo>
                  <a:cubicBezTo>
                    <a:pt x="575" y="172"/>
                    <a:pt x="523" y="194"/>
                    <a:pt x="473" y="222"/>
                  </a:cubicBezTo>
                  <a:cubicBezTo>
                    <a:pt x="412" y="162"/>
                    <a:pt x="412" y="162"/>
                    <a:pt x="412" y="162"/>
                  </a:cubicBezTo>
                  <a:cubicBezTo>
                    <a:pt x="399" y="148"/>
                    <a:pt x="381" y="141"/>
                    <a:pt x="362" y="141"/>
                  </a:cubicBezTo>
                  <a:cubicBezTo>
                    <a:pt x="343" y="141"/>
                    <a:pt x="325" y="148"/>
                    <a:pt x="312" y="162"/>
                  </a:cubicBezTo>
                  <a:cubicBezTo>
                    <a:pt x="161" y="312"/>
                    <a:pt x="161" y="312"/>
                    <a:pt x="161" y="312"/>
                  </a:cubicBezTo>
                  <a:cubicBezTo>
                    <a:pt x="148" y="325"/>
                    <a:pt x="141" y="343"/>
                    <a:pt x="141" y="362"/>
                  </a:cubicBezTo>
                  <a:cubicBezTo>
                    <a:pt x="141" y="381"/>
                    <a:pt x="148" y="399"/>
                    <a:pt x="161" y="412"/>
                  </a:cubicBezTo>
                  <a:cubicBezTo>
                    <a:pt x="222" y="473"/>
                    <a:pt x="222" y="473"/>
                    <a:pt x="222" y="473"/>
                  </a:cubicBezTo>
                  <a:cubicBezTo>
                    <a:pt x="194" y="523"/>
                    <a:pt x="172" y="576"/>
                    <a:pt x="157" y="631"/>
                  </a:cubicBezTo>
                  <a:cubicBezTo>
                    <a:pt x="71" y="631"/>
                    <a:pt x="71" y="631"/>
                    <a:pt x="71" y="631"/>
                  </a:cubicBezTo>
                  <a:cubicBezTo>
                    <a:pt x="32" y="631"/>
                    <a:pt x="0" y="663"/>
                    <a:pt x="0" y="702"/>
                  </a:cubicBezTo>
                  <a:cubicBezTo>
                    <a:pt x="0" y="914"/>
                    <a:pt x="0" y="914"/>
                    <a:pt x="0" y="914"/>
                  </a:cubicBezTo>
                  <a:cubicBezTo>
                    <a:pt x="0" y="953"/>
                    <a:pt x="32" y="985"/>
                    <a:pt x="71" y="985"/>
                  </a:cubicBezTo>
                  <a:cubicBezTo>
                    <a:pt x="158" y="985"/>
                    <a:pt x="158" y="985"/>
                    <a:pt x="158" y="985"/>
                  </a:cubicBezTo>
                  <a:cubicBezTo>
                    <a:pt x="173" y="1040"/>
                    <a:pt x="194" y="1093"/>
                    <a:pt x="223" y="1142"/>
                  </a:cubicBezTo>
                  <a:cubicBezTo>
                    <a:pt x="161" y="1204"/>
                    <a:pt x="161" y="1204"/>
                    <a:pt x="161" y="1204"/>
                  </a:cubicBezTo>
                  <a:cubicBezTo>
                    <a:pt x="148" y="1217"/>
                    <a:pt x="141" y="1235"/>
                    <a:pt x="141" y="1254"/>
                  </a:cubicBezTo>
                  <a:cubicBezTo>
                    <a:pt x="141" y="1273"/>
                    <a:pt x="148" y="1291"/>
                    <a:pt x="161" y="1304"/>
                  </a:cubicBezTo>
                  <a:cubicBezTo>
                    <a:pt x="312" y="1454"/>
                    <a:pt x="312" y="1454"/>
                    <a:pt x="312" y="1454"/>
                  </a:cubicBezTo>
                  <a:cubicBezTo>
                    <a:pt x="325" y="1468"/>
                    <a:pt x="343" y="1475"/>
                    <a:pt x="362" y="1475"/>
                  </a:cubicBezTo>
                  <a:cubicBezTo>
                    <a:pt x="381" y="1475"/>
                    <a:pt x="399" y="1468"/>
                    <a:pt x="412" y="1454"/>
                  </a:cubicBezTo>
                  <a:cubicBezTo>
                    <a:pt x="474" y="1393"/>
                    <a:pt x="474" y="1393"/>
                    <a:pt x="474" y="1393"/>
                  </a:cubicBezTo>
                  <a:cubicBezTo>
                    <a:pt x="523" y="1422"/>
                    <a:pt x="576" y="1443"/>
                    <a:pt x="631" y="1458"/>
                  </a:cubicBezTo>
                  <a:cubicBezTo>
                    <a:pt x="631" y="1545"/>
                    <a:pt x="631" y="1545"/>
                    <a:pt x="631" y="1545"/>
                  </a:cubicBezTo>
                  <a:cubicBezTo>
                    <a:pt x="631" y="1584"/>
                    <a:pt x="662" y="1616"/>
                    <a:pt x="702" y="1616"/>
                  </a:cubicBezTo>
                  <a:cubicBezTo>
                    <a:pt x="914" y="1616"/>
                    <a:pt x="914" y="1616"/>
                    <a:pt x="914" y="1616"/>
                  </a:cubicBezTo>
                  <a:cubicBezTo>
                    <a:pt x="953" y="1616"/>
                    <a:pt x="985" y="1584"/>
                    <a:pt x="985" y="1545"/>
                  </a:cubicBezTo>
                  <a:cubicBezTo>
                    <a:pt x="985" y="1459"/>
                    <a:pt x="985" y="1459"/>
                    <a:pt x="985" y="1459"/>
                  </a:cubicBezTo>
                  <a:cubicBezTo>
                    <a:pt x="1040" y="1444"/>
                    <a:pt x="1093" y="1422"/>
                    <a:pt x="1143" y="1394"/>
                  </a:cubicBezTo>
                  <a:cubicBezTo>
                    <a:pt x="1204" y="1454"/>
                    <a:pt x="1204" y="1454"/>
                    <a:pt x="1204" y="1454"/>
                  </a:cubicBezTo>
                  <a:cubicBezTo>
                    <a:pt x="1217" y="1468"/>
                    <a:pt x="1235" y="1475"/>
                    <a:pt x="1254" y="1475"/>
                  </a:cubicBezTo>
                  <a:cubicBezTo>
                    <a:pt x="1273" y="1475"/>
                    <a:pt x="1291" y="1468"/>
                    <a:pt x="1304" y="1454"/>
                  </a:cubicBezTo>
                  <a:cubicBezTo>
                    <a:pt x="1454" y="1304"/>
                    <a:pt x="1454" y="1304"/>
                    <a:pt x="1454" y="1304"/>
                  </a:cubicBezTo>
                  <a:cubicBezTo>
                    <a:pt x="1468" y="1291"/>
                    <a:pt x="1475" y="1273"/>
                    <a:pt x="1475" y="1254"/>
                  </a:cubicBezTo>
                  <a:cubicBezTo>
                    <a:pt x="1475" y="1235"/>
                    <a:pt x="1468" y="1217"/>
                    <a:pt x="1454" y="1204"/>
                  </a:cubicBezTo>
                  <a:cubicBezTo>
                    <a:pt x="1394" y="1143"/>
                    <a:pt x="1394" y="1143"/>
                    <a:pt x="1394" y="1143"/>
                  </a:cubicBezTo>
                  <a:cubicBezTo>
                    <a:pt x="1422" y="1093"/>
                    <a:pt x="1444" y="1040"/>
                    <a:pt x="1459" y="985"/>
                  </a:cubicBezTo>
                  <a:cubicBezTo>
                    <a:pt x="1545" y="985"/>
                    <a:pt x="1545" y="985"/>
                    <a:pt x="1545" y="985"/>
                  </a:cubicBezTo>
                  <a:cubicBezTo>
                    <a:pt x="1584" y="985"/>
                    <a:pt x="1616" y="953"/>
                    <a:pt x="1616" y="914"/>
                  </a:cubicBezTo>
                  <a:cubicBezTo>
                    <a:pt x="1616" y="702"/>
                    <a:pt x="1616" y="702"/>
                    <a:pt x="1616" y="702"/>
                  </a:cubicBezTo>
                  <a:cubicBezTo>
                    <a:pt x="1616" y="663"/>
                    <a:pt x="1584" y="631"/>
                    <a:pt x="1545" y="631"/>
                  </a:cubicBezTo>
                  <a:close/>
                  <a:moveTo>
                    <a:pt x="1536" y="905"/>
                  </a:moveTo>
                  <a:cubicBezTo>
                    <a:pt x="1452" y="905"/>
                    <a:pt x="1452" y="905"/>
                    <a:pt x="1452" y="905"/>
                  </a:cubicBezTo>
                  <a:cubicBezTo>
                    <a:pt x="1420" y="905"/>
                    <a:pt x="1392" y="927"/>
                    <a:pt x="1383" y="958"/>
                  </a:cubicBezTo>
                  <a:cubicBezTo>
                    <a:pt x="1370" y="1011"/>
                    <a:pt x="1349" y="1061"/>
                    <a:pt x="1321" y="1108"/>
                  </a:cubicBezTo>
                  <a:cubicBezTo>
                    <a:pt x="1305" y="1136"/>
                    <a:pt x="1309" y="1172"/>
                    <a:pt x="1332" y="1195"/>
                  </a:cubicBezTo>
                  <a:cubicBezTo>
                    <a:pt x="1392" y="1254"/>
                    <a:pt x="1392" y="1254"/>
                    <a:pt x="1392" y="1254"/>
                  </a:cubicBezTo>
                  <a:cubicBezTo>
                    <a:pt x="1254" y="1392"/>
                    <a:pt x="1254" y="1392"/>
                    <a:pt x="1254" y="1392"/>
                  </a:cubicBezTo>
                  <a:cubicBezTo>
                    <a:pt x="1194" y="1332"/>
                    <a:pt x="1194" y="1332"/>
                    <a:pt x="1194" y="1332"/>
                  </a:cubicBezTo>
                  <a:cubicBezTo>
                    <a:pt x="1171" y="1309"/>
                    <a:pt x="1136" y="1305"/>
                    <a:pt x="1108" y="1321"/>
                  </a:cubicBezTo>
                  <a:cubicBezTo>
                    <a:pt x="1061" y="1348"/>
                    <a:pt x="1011" y="1369"/>
                    <a:pt x="958" y="1383"/>
                  </a:cubicBezTo>
                  <a:cubicBezTo>
                    <a:pt x="927" y="1391"/>
                    <a:pt x="905" y="1419"/>
                    <a:pt x="905" y="1452"/>
                  </a:cubicBezTo>
                  <a:cubicBezTo>
                    <a:pt x="905" y="1536"/>
                    <a:pt x="905" y="1536"/>
                    <a:pt x="905" y="1536"/>
                  </a:cubicBezTo>
                  <a:cubicBezTo>
                    <a:pt x="711" y="1536"/>
                    <a:pt x="711" y="1536"/>
                    <a:pt x="711" y="1536"/>
                  </a:cubicBezTo>
                  <a:cubicBezTo>
                    <a:pt x="711" y="1452"/>
                    <a:pt x="711" y="1452"/>
                    <a:pt x="711" y="1452"/>
                  </a:cubicBezTo>
                  <a:cubicBezTo>
                    <a:pt x="711" y="1419"/>
                    <a:pt x="689" y="1391"/>
                    <a:pt x="658" y="1383"/>
                  </a:cubicBezTo>
                  <a:cubicBezTo>
                    <a:pt x="605" y="1369"/>
                    <a:pt x="555" y="1348"/>
                    <a:pt x="508" y="1321"/>
                  </a:cubicBezTo>
                  <a:cubicBezTo>
                    <a:pt x="480" y="1304"/>
                    <a:pt x="445" y="1309"/>
                    <a:pt x="422" y="1332"/>
                  </a:cubicBezTo>
                  <a:cubicBezTo>
                    <a:pt x="362" y="1392"/>
                    <a:pt x="362" y="1392"/>
                    <a:pt x="362" y="1392"/>
                  </a:cubicBezTo>
                  <a:cubicBezTo>
                    <a:pt x="224" y="1254"/>
                    <a:pt x="224" y="1254"/>
                    <a:pt x="224" y="1254"/>
                  </a:cubicBezTo>
                  <a:cubicBezTo>
                    <a:pt x="284" y="1194"/>
                    <a:pt x="284" y="1194"/>
                    <a:pt x="284" y="1194"/>
                  </a:cubicBezTo>
                  <a:cubicBezTo>
                    <a:pt x="307" y="1171"/>
                    <a:pt x="312" y="1136"/>
                    <a:pt x="295" y="1108"/>
                  </a:cubicBezTo>
                  <a:cubicBezTo>
                    <a:pt x="268" y="1061"/>
                    <a:pt x="247" y="1011"/>
                    <a:pt x="233" y="958"/>
                  </a:cubicBezTo>
                  <a:cubicBezTo>
                    <a:pt x="225" y="927"/>
                    <a:pt x="197" y="905"/>
                    <a:pt x="164" y="905"/>
                  </a:cubicBezTo>
                  <a:cubicBezTo>
                    <a:pt x="80" y="905"/>
                    <a:pt x="80" y="905"/>
                    <a:pt x="80" y="905"/>
                  </a:cubicBezTo>
                  <a:cubicBezTo>
                    <a:pt x="80" y="711"/>
                    <a:pt x="80" y="711"/>
                    <a:pt x="80" y="711"/>
                  </a:cubicBezTo>
                  <a:cubicBezTo>
                    <a:pt x="164" y="711"/>
                    <a:pt x="164" y="711"/>
                    <a:pt x="164" y="711"/>
                  </a:cubicBezTo>
                  <a:cubicBezTo>
                    <a:pt x="197" y="711"/>
                    <a:pt x="225" y="689"/>
                    <a:pt x="233" y="658"/>
                  </a:cubicBezTo>
                  <a:cubicBezTo>
                    <a:pt x="247" y="605"/>
                    <a:pt x="267" y="555"/>
                    <a:pt x="295" y="508"/>
                  </a:cubicBezTo>
                  <a:cubicBezTo>
                    <a:pt x="311" y="480"/>
                    <a:pt x="307" y="444"/>
                    <a:pt x="284" y="422"/>
                  </a:cubicBezTo>
                  <a:cubicBezTo>
                    <a:pt x="224" y="362"/>
                    <a:pt x="224" y="362"/>
                    <a:pt x="224" y="362"/>
                  </a:cubicBezTo>
                  <a:cubicBezTo>
                    <a:pt x="362" y="224"/>
                    <a:pt x="362" y="224"/>
                    <a:pt x="362" y="224"/>
                  </a:cubicBezTo>
                  <a:cubicBezTo>
                    <a:pt x="421" y="284"/>
                    <a:pt x="421" y="284"/>
                    <a:pt x="421" y="284"/>
                  </a:cubicBezTo>
                  <a:cubicBezTo>
                    <a:pt x="444" y="307"/>
                    <a:pt x="480" y="311"/>
                    <a:pt x="508" y="295"/>
                  </a:cubicBezTo>
                  <a:cubicBezTo>
                    <a:pt x="554" y="267"/>
                    <a:pt x="605" y="246"/>
                    <a:pt x="658" y="232"/>
                  </a:cubicBezTo>
                  <a:cubicBezTo>
                    <a:pt x="689" y="224"/>
                    <a:pt x="711" y="196"/>
                    <a:pt x="711" y="164"/>
                  </a:cubicBezTo>
                  <a:cubicBezTo>
                    <a:pt x="711" y="80"/>
                    <a:pt x="711" y="80"/>
                    <a:pt x="711" y="80"/>
                  </a:cubicBezTo>
                  <a:cubicBezTo>
                    <a:pt x="905" y="80"/>
                    <a:pt x="905" y="80"/>
                    <a:pt x="905" y="80"/>
                  </a:cubicBezTo>
                  <a:cubicBezTo>
                    <a:pt x="905" y="163"/>
                    <a:pt x="905" y="163"/>
                    <a:pt x="905" y="163"/>
                  </a:cubicBezTo>
                  <a:cubicBezTo>
                    <a:pt x="905" y="196"/>
                    <a:pt x="927" y="224"/>
                    <a:pt x="958" y="232"/>
                  </a:cubicBezTo>
                  <a:cubicBezTo>
                    <a:pt x="1011" y="246"/>
                    <a:pt x="1062" y="267"/>
                    <a:pt x="1109" y="294"/>
                  </a:cubicBezTo>
                  <a:cubicBezTo>
                    <a:pt x="1137" y="311"/>
                    <a:pt x="1172" y="306"/>
                    <a:pt x="1195" y="283"/>
                  </a:cubicBezTo>
                  <a:cubicBezTo>
                    <a:pt x="1254" y="224"/>
                    <a:pt x="1254" y="224"/>
                    <a:pt x="1254" y="224"/>
                  </a:cubicBezTo>
                  <a:cubicBezTo>
                    <a:pt x="1392" y="362"/>
                    <a:pt x="1392" y="362"/>
                    <a:pt x="1392" y="362"/>
                  </a:cubicBezTo>
                  <a:cubicBezTo>
                    <a:pt x="1333" y="421"/>
                    <a:pt x="1333" y="421"/>
                    <a:pt x="1333" y="421"/>
                  </a:cubicBezTo>
                  <a:cubicBezTo>
                    <a:pt x="1310" y="444"/>
                    <a:pt x="1305" y="479"/>
                    <a:pt x="1321" y="507"/>
                  </a:cubicBezTo>
                  <a:cubicBezTo>
                    <a:pt x="1349" y="554"/>
                    <a:pt x="1370" y="605"/>
                    <a:pt x="1384" y="658"/>
                  </a:cubicBezTo>
                  <a:cubicBezTo>
                    <a:pt x="1392" y="689"/>
                    <a:pt x="1420" y="711"/>
                    <a:pt x="1453" y="711"/>
                  </a:cubicBezTo>
                  <a:cubicBezTo>
                    <a:pt x="1536" y="711"/>
                    <a:pt x="1536" y="711"/>
                    <a:pt x="1536" y="711"/>
                  </a:cubicBezTo>
                  <a:cubicBezTo>
                    <a:pt x="1536" y="905"/>
                    <a:pt x="1536" y="905"/>
                    <a:pt x="1536" y="9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62"/>
            <p:cNvSpPr>
              <a:spLocks/>
            </p:cNvSpPr>
            <p:nvPr/>
          </p:nvSpPr>
          <p:spPr bwMode="auto">
            <a:xfrm>
              <a:off x="1961" y="1182"/>
              <a:ext cx="1786" cy="1747"/>
            </a:xfrm>
            <a:custGeom>
              <a:avLst/>
              <a:gdLst>
                <a:gd name="T0" fmla="*/ 634 w 944"/>
                <a:gd name="T1" fmla="*/ 7 h 923"/>
                <a:gd name="T2" fmla="*/ 583 w 944"/>
                <a:gd name="T3" fmla="*/ 31 h 923"/>
                <a:gd name="T4" fmla="*/ 606 w 944"/>
                <a:gd name="T5" fmla="*/ 83 h 923"/>
                <a:gd name="T6" fmla="*/ 864 w 944"/>
                <a:gd name="T7" fmla="*/ 451 h 923"/>
                <a:gd name="T8" fmla="*/ 472 w 944"/>
                <a:gd name="T9" fmla="*/ 843 h 923"/>
                <a:gd name="T10" fmla="*/ 80 w 944"/>
                <a:gd name="T11" fmla="*/ 451 h 923"/>
                <a:gd name="T12" fmla="*/ 328 w 944"/>
                <a:gd name="T13" fmla="*/ 86 h 923"/>
                <a:gd name="T14" fmla="*/ 350 w 944"/>
                <a:gd name="T15" fmla="*/ 34 h 923"/>
                <a:gd name="T16" fmla="*/ 298 w 944"/>
                <a:gd name="T17" fmla="*/ 12 h 923"/>
                <a:gd name="T18" fmla="*/ 84 w 944"/>
                <a:gd name="T19" fmla="*/ 183 h 923"/>
                <a:gd name="T20" fmla="*/ 0 w 944"/>
                <a:gd name="T21" fmla="*/ 451 h 923"/>
                <a:gd name="T22" fmla="*/ 472 w 944"/>
                <a:gd name="T23" fmla="*/ 923 h 923"/>
                <a:gd name="T24" fmla="*/ 944 w 944"/>
                <a:gd name="T25" fmla="*/ 451 h 923"/>
                <a:gd name="T26" fmla="*/ 634 w 944"/>
                <a:gd name="T27" fmla="*/ 7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4" h="923">
                  <a:moveTo>
                    <a:pt x="634" y="7"/>
                  </a:moveTo>
                  <a:cubicBezTo>
                    <a:pt x="613" y="0"/>
                    <a:pt x="590" y="11"/>
                    <a:pt x="583" y="31"/>
                  </a:cubicBezTo>
                  <a:cubicBezTo>
                    <a:pt x="575" y="52"/>
                    <a:pt x="586" y="75"/>
                    <a:pt x="606" y="83"/>
                  </a:cubicBezTo>
                  <a:cubicBezTo>
                    <a:pt x="760" y="139"/>
                    <a:pt x="864" y="287"/>
                    <a:pt x="864" y="451"/>
                  </a:cubicBezTo>
                  <a:cubicBezTo>
                    <a:pt x="864" y="667"/>
                    <a:pt x="688" y="843"/>
                    <a:pt x="472" y="843"/>
                  </a:cubicBezTo>
                  <a:cubicBezTo>
                    <a:pt x="256" y="843"/>
                    <a:pt x="80" y="667"/>
                    <a:pt x="80" y="451"/>
                  </a:cubicBezTo>
                  <a:cubicBezTo>
                    <a:pt x="80" y="289"/>
                    <a:pt x="177" y="146"/>
                    <a:pt x="328" y="86"/>
                  </a:cubicBezTo>
                  <a:cubicBezTo>
                    <a:pt x="348" y="78"/>
                    <a:pt x="358" y="55"/>
                    <a:pt x="350" y="34"/>
                  </a:cubicBezTo>
                  <a:cubicBezTo>
                    <a:pt x="342" y="14"/>
                    <a:pt x="319" y="4"/>
                    <a:pt x="298" y="12"/>
                  </a:cubicBezTo>
                  <a:cubicBezTo>
                    <a:pt x="211" y="46"/>
                    <a:pt x="137" y="105"/>
                    <a:pt x="84" y="183"/>
                  </a:cubicBezTo>
                  <a:cubicBezTo>
                    <a:pt x="29" y="262"/>
                    <a:pt x="0" y="355"/>
                    <a:pt x="0" y="451"/>
                  </a:cubicBezTo>
                  <a:cubicBezTo>
                    <a:pt x="0" y="711"/>
                    <a:pt x="212" y="923"/>
                    <a:pt x="472" y="923"/>
                  </a:cubicBezTo>
                  <a:cubicBezTo>
                    <a:pt x="732" y="923"/>
                    <a:pt x="944" y="711"/>
                    <a:pt x="944" y="451"/>
                  </a:cubicBezTo>
                  <a:cubicBezTo>
                    <a:pt x="944" y="253"/>
                    <a:pt x="819" y="75"/>
                    <a:pt x="63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63"/>
            <p:cNvSpPr>
              <a:spLocks/>
            </p:cNvSpPr>
            <p:nvPr/>
          </p:nvSpPr>
          <p:spPr bwMode="auto">
            <a:xfrm>
              <a:off x="2778" y="1142"/>
              <a:ext cx="156" cy="151"/>
            </a:xfrm>
            <a:custGeom>
              <a:avLst/>
              <a:gdLst>
                <a:gd name="T0" fmla="*/ 42 w 82"/>
                <a:gd name="T1" fmla="*/ 0 h 80"/>
                <a:gd name="T2" fmla="*/ 40 w 82"/>
                <a:gd name="T3" fmla="*/ 0 h 80"/>
                <a:gd name="T4" fmla="*/ 0 w 82"/>
                <a:gd name="T5" fmla="*/ 40 h 80"/>
                <a:gd name="T6" fmla="*/ 40 w 82"/>
                <a:gd name="T7" fmla="*/ 80 h 80"/>
                <a:gd name="T8" fmla="*/ 42 w 82"/>
                <a:gd name="T9" fmla="*/ 80 h 80"/>
                <a:gd name="T10" fmla="*/ 42 w 82"/>
                <a:gd name="T11" fmla="*/ 80 h 80"/>
                <a:gd name="T12" fmla="*/ 82 w 82"/>
                <a:gd name="T13" fmla="*/ 40 h 80"/>
                <a:gd name="T14" fmla="*/ 42 w 82"/>
                <a:gd name="T15" fmla="*/ 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0">
                  <a:moveTo>
                    <a:pt x="42" y="0"/>
                  </a:moveTo>
                  <a:cubicBezTo>
                    <a:pt x="40" y="0"/>
                    <a:pt x="40" y="0"/>
                    <a:pt x="40" y="0"/>
                  </a:cubicBezTo>
                  <a:cubicBezTo>
                    <a:pt x="18" y="0"/>
                    <a:pt x="0" y="18"/>
                    <a:pt x="0" y="40"/>
                  </a:cubicBezTo>
                  <a:cubicBezTo>
                    <a:pt x="0" y="62"/>
                    <a:pt x="18" y="80"/>
                    <a:pt x="40" y="80"/>
                  </a:cubicBezTo>
                  <a:cubicBezTo>
                    <a:pt x="42" y="80"/>
                    <a:pt x="42" y="80"/>
                    <a:pt x="42" y="80"/>
                  </a:cubicBezTo>
                  <a:cubicBezTo>
                    <a:pt x="42" y="80"/>
                    <a:pt x="42" y="80"/>
                    <a:pt x="42" y="80"/>
                  </a:cubicBezTo>
                  <a:cubicBezTo>
                    <a:pt x="64" y="80"/>
                    <a:pt x="82" y="62"/>
                    <a:pt x="82" y="40"/>
                  </a:cubicBezTo>
                  <a:cubicBezTo>
                    <a:pt x="82" y="18"/>
                    <a:pt x="64"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64"/>
            <p:cNvSpPr>
              <a:spLocks/>
            </p:cNvSpPr>
            <p:nvPr/>
          </p:nvSpPr>
          <p:spPr bwMode="auto">
            <a:xfrm>
              <a:off x="2493" y="1704"/>
              <a:ext cx="878" cy="519"/>
            </a:xfrm>
            <a:custGeom>
              <a:avLst/>
              <a:gdLst>
                <a:gd name="T0" fmla="*/ 424 w 464"/>
                <a:gd name="T1" fmla="*/ 0 h 274"/>
                <a:gd name="T2" fmla="*/ 339 w 464"/>
                <a:gd name="T3" fmla="*/ 0 h 274"/>
                <a:gd name="T4" fmla="*/ 299 w 464"/>
                <a:gd name="T5" fmla="*/ 40 h 274"/>
                <a:gd name="T6" fmla="*/ 329 w 464"/>
                <a:gd name="T7" fmla="*/ 78 h 274"/>
                <a:gd name="T8" fmla="*/ 230 w 464"/>
                <a:gd name="T9" fmla="*/ 177 h 274"/>
                <a:gd name="T10" fmla="*/ 148 w 464"/>
                <a:gd name="T11" fmla="*/ 95 h 274"/>
                <a:gd name="T12" fmla="*/ 91 w 464"/>
                <a:gd name="T13" fmla="*/ 95 h 274"/>
                <a:gd name="T14" fmla="*/ 16 w 464"/>
                <a:gd name="T15" fmla="*/ 170 h 274"/>
                <a:gd name="T16" fmla="*/ 16 w 464"/>
                <a:gd name="T17" fmla="*/ 227 h 274"/>
                <a:gd name="T18" fmla="*/ 72 w 464"/>
                <a:gd name="T19" fmla="*/ 227 h 274"/>
                <a:gd name="T20" fmla="*/ 119 w 464"/>
                <a:gd name="T21" fmla="*/ 180 h 274"/>
                <a:gd name="T22" fmla="*/ 202 w 464"/>
                <a:gd name="T23" fmla="*/ 262 h 274"/>
                <a:gd name="T24" fmla="*/ 230 w 464"/>
                <a:gd name="T25" fmla="*/ 274 h 274"/>
                <a:gd name="T26" fmla="*/ 258 w 464"/>
                <a:gd name="T27" fmla="*/ 262 h 274"/>
                <a:gd name="T28" fmla="*/ 385 w 464"/>
                <a:gd name="T29" fmla="*/ 135 h 274"/>
                <a:gd name="T30" fmla="*/ 424 w 464"/>
                <a:gd name="T31" fmla="*/ 165 h 274"/>
                <a:gd name="T32" fmla="*/ 464 w 464"/>
                <a:gd name="T33" fmla="*/ 125 h 274"/>
                <a:gd name="T34" fmla="*/ 464 w 464"/>
                <a:gd name="T35" fmla="*/ 40 h 274"/>
                <a:gd name="T36" fmla="*/ 424 w 464"/>
                <a:gd name="T3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4" h="274">
                  <a:moveTo>
                    <a:pt x="424" y="0"/>
                  </a:moveTo>
                  <a:cubicBezTo>
                    <a:pt x="339" y="0"/>
                    <a:pt x="339" y="0"/>
                    <a:pt x="339" y="0"/>
                  </a:cubicBezTo>
                  <a:cubicBezTo>
                    <a:pt x="317" y="0"/>
                    <a:pt x="299" y="18"/>
                    <a:pt x="299" y="40"/>
                  </a:cubicBezTo>
                  <a:cubicBezTo>
                    <a:pt x="299" y="58"/>
                    <a:pt x="312" y="74"/>
                    <a:pt x="329" y="78"/>
                  </a:cubicBezTo>
                  <a:cubicBezTo>
                    <a:pt x="230" y="177"/>
                    <a:pt x="230" y="177"/>
                    <a:pt x="230" y="177"/>
                  </a:cubicBezTo>
                  <a:cubicBezTo>
                    <a:pt x="148" y="95"/>
                    <a:pt x="148" y="95"/>
                    <a:pt x="148" y="95"/>
                  </a:cubicBezTo>
                  <a:cubicBezTo>
                    <a:pt x="132" y="79"/>
                    <a:pt x="107" y="79"/>
                    <a:pt x="91" y="95"/>
                  </a:cubicBezTo>
                  <a:cubicBezTo>
                    <a:pt x="16" y="170"/>
                    <a:pt x="16" y="170"/>
                    <a:pt x="16" y="170"/>
                  </a:cubicBezTo>
                  <a:cubicBezTo>
                    <a:pt x="0" y="186"/>
                    <a:pt x="0" y="211"/>
                    <a:pt x="16" y="227"/>
                  </a:cubicBezTo>
                  <a:cubicBezTo>
                    <a:pt x="31" y="242"/>
                    <a:pt x="57" y="242"/>
                    <a:pt x="72" y="227"/>
                  </a:cubicBezTo>
                  <a:cubicBezTo>
                    <a:pt x="119" y="180"/>
                    <a:pt x="119" y="180"/>
                    <a:pt x="119" y="180"/>
                  </a:cubicBezTo>
                  <a:cubicBezTo>
                    <a:pt x="202" y="262"/>
                    <a:pt x="202" y="262"/>
                    <a:pt x="202" y="262"/>
                  </a:cubicBezTo>
                  <a:cubicBezTo>
                    <a:pt x="209" y="270"/>
                    <a:pt x="219" y="274"/>
                    <a:pt x="230" y="274"/>
                  </a:cubicBezTo>
                  <a:cubicBezTo>
                    <a:pt x="241" y="274"/>
                    <a:pt x="251" y="270"/>
                    <a:pt x="258" y="262"/>
                  </a:cubicBezTo>
                  <a:cubicBezTo>
                    <a:pt x="385" y="135"/>
                    <a:pt x="385" y="135"/>
                    <a:pt x="385" y="135"/>
                  </a:cubicBezTo>
                  <a:cubicBezTo>
                    <a:pt x="390" y="152"/>
                    <a:pt x="405" y="165"/>
                    <a:pt x="424" y="165"/>
                  </a:cubicBezTo>
                  <a:cubicBezTo>
                    <a:pt x="446" y="165"/>
                    <a:pt x="464" y="147"/>
                    <a:pt x="464" y="125"/>
                  </a:cubicBezTo>
                  <a:cubicBezTo>
                    <a:pt x="464" y="40"/>
                    <a:pt x="464" y="40"/>
                    <a:pt x="464" y="40"/>
                  </a:cubicBezTo>
                  <a:cubicBezTo>
                    <a:pt x="464" y="18"/>
                    <a:pt x="446" y="0"/>
                    <a:pt x="4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65"/>
            <p:cNvSpPr>
              <a:spLocks/>
            </p:cNvSpPr>
            <p:nvPr/>
          </p:nvSpPr>
          <p:spPr bwMode="auto">
            <a:xfrm>
              <a:off x="2326" y="2177"/>
              <a:ext cx="151" cy="152"/>
            </a:xfrm>
            <a:custGeom>
              <a:avLst/>
              <a:gdLst>
                <a:gd name="T0" fmla="*/ 68 w 80"/>
                <a:gd name="T1" fmla="*/ 12 h 80"/>
                <a:gd name="T2" fmla="*/ 40 w 80"/>
                <a:gd name="T3" fmla="*/ 0 h 80"/>
                <a:gd name="T4" fmla="*/ 12 w 80"/>
                <a:gd name="T5" fmla="*/ 12 h 80"/>
                <a:gd name="T6" fmla="*/ 0 w 80"/>
                <a:gd name="T7" fmla="*/ 40 h 80"/>
                <a:gd name="T8" fmla="*/ 12 w 80"/>
                <a:gd name="T9" fmla="*/ 69 h 80"/>
                <a:gd name="T10" fmla="*/ 40 w 80"/>
                <a:gd name="T11" fmla="*/ 80 h 80"/>
                <a:gd name="T12" fmla="*/ 68 w 80"/>
                <a:gd name="T13" fmla="*/ 69 h 80"/>
                <a:gd name="T14" fmla="*/ 80 w 80"/>
                <a:gd name="T15" fmla="*/ 40 h 80"/>
                <a:gd name="T16" fmla="*/ 68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68" y="12"/>
                  </a:moveTo>
                  <a:cubicBezTo>
                    <a:pt x="61" y="5"/>
                    <a:pt x="51" y="0"/>
                    <a:pt x="40" y="0"/>
                  </a:cubicBezTo>
                  <a:cubicBezTo>
                    <a:pt x="30" y="0"/>
                    <a:pt x="19" y="5"/>
                    <a:pt x="12" y="12"/>
                  </a:cubicBezTo>
                  <a:cubicBezTo>
                    <a:pt x="4" y="19"/>
                    <a:pt x="0" y="30"/>
                    <a:pt x="0" y="40"/>
                  </a:cubicBezTo>
                  <a:cubicBezTo>
                    <a:pt x="0" y="51"/>
                    <a:pt x="4" y="61"/>
                    <a:pt x="12" y="69"/>
                  </a:cubicBezTo>
                  <a:cubicBezTo>
                    <a:pt x="19" y="76"/>
                    <a:pt x="30" y="80"/>
                    <a:pt x="40" y="80"/>
                  </a:cubicBezTo>
                  <a:cubicBezTo>
                    <a:pt x="51" y="80"/>
                    <a:pt x="61" y="76"/>
                    <a:pt x="68" y="69"/>
                  </a:cubicBezTo>
                  <a:cubicBezTo>
                    <a:pt x="76" y="61"/>
                    <a:pt x="80" y="51"/>
                    <a:pt x="80" y="40"/>
                  </a:cubicBezTo>
                  <a:cubicBezTo>
                    <a:pt x="80" y="30"/>
                    <a:pt x="76" y="19"/>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6"/>
            <p:cNvSpPr>
              <a:spLocks noEditPoints="1"/>
            </p:cNvSpPr>
            <p:nvPr/>
          </p:nvSpPr>
          <p:spPr bwMode="auto">
            <a:xfrm>
              <a:off x="3823" y="294"/>
              <a:ext cx="969" cy="575"/>
            </a:xfrm>
            <a:custGeom>
              <a:avLst/>
              <a:gdLst>
                <a:gd name="T0" fmla="*/ 360 w 512"/>
                <a:gd name="T1" fmla="*/ 0 h 304"/>
                <a:gd name="T2" fmla="*/ 213 w 512"/>
                <a:gd name="T3" fmla="*/ 112 h 304"/>
                <a:gd name="T4" fmla="*/ 40 w 512"/>
                <a:gd name="T5" fmla="*/ 112 h 304"/>
                <a:gd name="T6" fmla="*/ 0 w 512"/>
                <a:gd name="T7" fmla="*/ 152 h 304"/>
                <a:gd name="T8" fmla="*/ 0 w 512"/>
                <a:gd name="T9" fmla="*/ 192 h 304"/>
                <a:gd name="T10" fmla="*/ 40 w 512"/>
                <a:gd name="T11" fmla="*/ 232 h 304"/>
                <a:gd name="T12" fmla="*/ 80 w 512"/>
                <a:gd name="T13" fmla="*/ 192 h 304"/>
                <a:gd name="T14" fmla="*/ 213 w 512"/>
                <a:gd name="T15" fmla="*/ 192 h 304"/>
                <a:gd name="T16" fmla="*/ 360 w 512"/>
                <a:gd name="T17" fmla="*/ 304 h 304"/>
                <a:gd name="T18" fmla="*/ 512 w 512"/>
                <a:gd name="T19" fmla="*/ 152 h 304"/>
                <a:gd name="T20" fmla="*/ 360 w 512"/>
                <a:gd name="T21" fmla="*/ 0 h 304"/>
                <a:gd name="T22" fmla="*/ 360 w 512"/>
                <a:gd name="T23" fmla="*/ 224 h 304"/>
                <a:gd name="T24" fmla="*/ 288 w 512"/>
                <a:gd name="T25" fmla="*/ 152 h 304"/>
                <a:gd name="T26" fmla="*/ 360 w 512"/>
                <a:gd name="T27" fmla="*/ 80 h 304"/>
                <a:gd name="T28" fmla="*/ 432 w 512"/>
                <a:gd name="T29" fmla="*/ 152 h 304"/>
                <a:gd name="T30" fmla="*/ 360 w 512"/>
                <a:gd name="T31"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304">
                  <a:moveTo>
                    <a:pt x="360" y="0"/>
                  </a:moveTo>
                  <a:cubicBezTo>
                    <a:pt x="290" y="0"/>
                    <a:pt x="231" y="47"/>
                    <a:pt x="213" y="112"/>
                  </a:cubicBezTo>
                  <a:cubicBezTo>
                    <a:pt x="40" y="112"/>
                    <a:pt x="40" y="112"/>
                    <a:pt x="40" y="112"/>
                  </a:cubicBezTo>
                  <a:cubicBezTo>
                    <a:pt x="18" y="112"/>
                    <a:pt x="0" y="130"/>
                    <a:pt x="0" y="152"/>
                  </a:cubicBezTo>
                  <a:cubicBezTo>
                    <a:pt x="0" y="192"/>
                    <a:pt x="0" y="192"/>
                    <a:pt x="0" y="192"/>
                  </a:cubicBezTo>
                  <a:cubicBezTo>
                    <a:pt x="0" y="214"/>
                    <a:pt x="18" y="232"/>
                    <a:pt x="40" y="232"/>
                  </a:cubicBezTo>
                  <a:cubicBezTo>
                    <a:pt x="62" y="232"/>
                    <a:pt x="80" y="214"/>
                    <a:pt x="80" y="192"/>
                  </a:cubicBezTo>
                  <a:cubicBezTo>
                    <a:pt x="213" y="192"/>
                    <a:pt x="213" y="192"/>
                    <a:pt x="213" y="192"/>
                  </a:cubicBezTo>
                  <a:cubicBezTo>
                    <a:pt x="231" y="256"/>
                    <a:pt x="290" y="304"/>
                    <a:pt x="360" y="304"/>
                  </a:cubicBezTo>
                  <a:cubicBezTo>
                    <a:pt x="444" y="304"/>
                    <a:pt x="512" y="236"/>
                    <a:pt x="512" y="152"/>
                  </a:cubicBezTo>
                  <a:cubicBezTo>
                    <a:pt x="512" y="68"/>
                    <a:pt x="444" y="0"/>
                    <a:pt x="360" y="0"/>
                  </a:cubicBezTo>
                  <a:close/>
                  <a:moveTo>
                    <a:pt x="360" y="224"/>
                  </a:moveTo>
                  <a:cubicBezTo>
                    <a:pt x="320" y="224"/>
                    <a:pt x="288" y="192"/>
                    <a:pt x="288" y="152"/>
                  </a:cubicBezTo>
                  <a:cubicBezTo>
                    <a:pt x="288" y="112"/>
                    <a:pt x="320" y="80"/>
                    <a:pt x="360" y="80"/>
                  </a:cubicBezTo>
                  <a:cubicBezTo>
                    <a:pt x="400" y="80"/>
                    <a:pt x="432" y="112"/>
                    <a:pt x="432" y="152"/>
                  </a:cubicBezTo>
                  <a:cubicBezTo>
                    <a:pt x="432" y="192"/>
                    <a:pt x="400" y="224"/>
                    <a:pt x="36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7"/>
            <p:cNvSpPr>
              <a:spLocks noEditPoints="1"/>
            </p:cNvSpPr>
            <p:nvPr/>
          </p:nvSpPr>
          <p:spPr bwMode="auto">
            <a:xfrm>
              <a:off x="916" y="3202"/>
              <a:ext cx="969" cy="575"/>
            </a:xfrm>
            <a:custGeom>
              <a:avLst/>
              <a:gdLst>
                <a:gd name="T0" fmla="*/ 472 w 512"/>
                <a:gd name="T1" fmla="*/ 71 h 304"/>
                <a:gd name="T2" fmla="*/ 432 w 512"/>
                <a:gd name="T3" fmla="*/ 111 h 304"/>
                <a:gd name="T4" fmla="*/ 432 w 512"/>
                <a:gd name="T5" fmla="*/ 112 h 304"/>
                <a:gd name="T6" fmla="*/ 299 w 512"/>
                <a:gd name="T7" fmla="*/ 112 h 304"/>
                <a:gd name="T8" fmla="*/ 152 w 512"/>
                <a:gd name="T9" fmla="*/ 0 h 304"/>
                <a:gd name="T10" fmla="*/ 0 w 512"/>
                <a:gd name="T11" fmla="*/ 152 h 304"/>
                <a:gd name="T12" fmla="*/ 152 w 512"/>
                <a:gd name="T13" fmla="*/ 304 h 304"/>
                <a:gd name="T14" fmla="*/ 299 w 512"/>
                <a:gd name="T15" fmla="*/ 192 h 304"/>
                <a:gd name="T16" fmla="*/ 472 w 512"/>
                <a:gd name="T17" fmla="*/ 192 h 304"/>
                <a:gd name="T18" fmla="*/ 512 w 512"/>
                <a:gd name="T19" fmla="*/ 152 h 304"/>
                <a:gd name="T20" fmla="*/ 512 w 512"/>
                <a:gd name="T21" fmla="*/ 111 h 304"/>
                <a:gd name="T22" fmla="*/ 472 w 512"/>
                <a:gd name="T23" fmla="*/ 71 h 304"/>
                <a:gd name="T24" fmla="*/ 152 w 512"/>
                <a:gd name="T25" fmla="*/ 224 h 304"/>
                <a:gd name="T26" fmla="*/ 80 w 512"/>
                <a:gd name="T27" fmla="*/ 152 h 304"/>
                <a:gd name="T28" fmla="*/ 152 w 512"/>
                <a:gd name="T29" fmla="*/ 80 h 304"/>
                <a:gd name="T30" fmla="*/ 224 w 512"/>
                <a:gd name="T31" fmla="*/ 152 h 304"/>
                <a:gd name="T32" fmla="*/ 152 w 512"/>
                <a:gd name="T33" fmla="*/ 22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04">
                  <a:moveTo>
                    <a:pt x="472" y="71"/>
                  </a:moveTo>
                  <a:cubicBezTo>
                    <a:pt x="450" y="71"/>
                    <a:pt x="432" y="89"/>
                    <a:pt x="432" y="111"/>
                  </a:cubicBezTo>
                  <a:cubicBezTo>
                    <a:pt x="432" y="112"/>
                    <a:pt x="432" y="112"/>
                    <a:pt x="432" y="112"/>
                  </a:cubicBezTo>
                  <a:cubicBezTo>
                    <a:pt x="299" y="112"/>
                    <a:pt x="299" y="112"/>
                    <a:pt x="299" y="112"/>
                  </a:cubicBezTo>
                  <a:cubicBezTo>
                    <a:pt x="281" y="48"/>
                    <a:pt x="222" y="0"/>
                    <a:pt x="152" y="0"/>
                  </a:cubicBezTo>
                  <a:cubicBezTo>
                    <a:pt x="68" y="0"/>
                    <a:pt x="0" y="68"/>
                    <a:pt x="0" y="152"/>
                  </a:cubicBezTo>
                  <a:cubicBezTo>
                    <a:pt x="0" y="236"/>
                    <a:pt x="68" y="304"/>
                    <a:pt x="152" y="304"/>
                  </a:cubicBezTo>
                  <a:cubicBezTo>
                    <a:pt x="222" y="304"/>
                    <a:pt x="281" y="257"/>
                    <a:pt x="299" y="192"/>
                  </a:cubicBezTo>
                  <a:cubicBezTo>
                    <a:pt x="472" y="192"/>
                    <a:pt x="472" y="192"/>
                    <a:pt x="472" y="192"/>
                  </a:cubicBezTo>
                  <a:cubicBezTo>
                    <a:pt x="494" y="192"/>
                    <a:pt x="512" y="174"/>
                    <a:pt x="512" y="152"/>
                  </a:cubicBezTo>
                  <a:cubicBezTo>
                    <a:pt x="512" y="111"/>
                    <a:pt x="512" y="111"/>
                    <a:pt x="512" y="111"/>
                  </a:cubicBezTo>
                  <a:cubicBezTo>
                    <a:pt x="512" y="89"/>
                    <a:pt x="494" y="71"/>
                    <a:pt x="472" y="71"/>
                  </a:cubicBezTo>
                  <a:close/>
                  <a:moveTo>
                    <a:pt x="152" y="224"/>
                  </a:moveTo>
                  <a:cubicBezTo>
                    <a:pt x="112" y="224"/>
                    <a:pt x="80" y="192"/>
                    <a:pt x="80" y="152"/>
                  </a:cubicBezTo>
                  <a:cubicBezTo>
                    <a:pt x="80" y="112"/>
                    <a:pt x="112" y="80"/>
                    <a:pt x="152" y="80"/>
                  </a:cubicBezTo>
                  <a:cubicBezTo>
                    <a:pt x="192" y="80"/>
                    <a:pt x="224" y="112"/>
                    <a:pt x="224" y="152"/>
                  </a:cubicBezTo>
                  <a:cubicBezTo>
                    <a:pt x="224" y="192"/>
                    <a:pt x="192" y="224"/>
                    <a:pt x="152"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6" name="Group 184"/>
          <p:cNvGrpSpPr>
            <a:grpSpLocks noChangeAspect="1"/>
          </p:cNvGrpSpPr>
          <p:nvPr/>
        </p:nvGrpSpPr>
        <p:grpSpPr bwMode="auto">
          <a:xfrm>
            <a:off x="11282570" y="1860791"/>
            <a:ext cx="701991" cy="457200"/>
            <a:chOff x="1682" y="1394"/>
            <a:chExt cx="3100" cy="2019"/>
          </a:xfrm>
          <a:solidFill>
            <a:schemeClr val="accent1"/>
          </a:solidFill>
        </p:grpSpPr>
        <p:sp>
          <p:nvSpPr>
            <p:cNvPr id="188" name="Freeform 185"/>
            <p:cNvSpPr>
              <a:spLocks noEditPoints="1"/>
            </p:cNvSpPr>
            <p:nvPr/>
          </p:nvSpPr>
          <p:spPr bwMode="auto">
            <a:xfrm>
              <a:off x="1682" y="1394"/>
              <a:ext cx="3100" cy="2019"/>
            </a:xfrm>
            <a:custGeom>
              <a:avLst/>
              <a:gdLst>
                <a:gd name="T0" fmla="*/ 1638 w 1638"/>
                <a:gd name="T1" fmla="*/ 38 h 1065"/>
                <a:gd name="T2" fmla="*/ 1373 w 1638"/>
                <a:gd name="T3" fmla="*/ 51 h 1065"/>
                <a:gd name="T4" fmla="*/ 645 w 1638"/>
                <a:gd name="T5" fmla="*/ 18 h 1065"/>
                <a:gd name="T6" fmla="*/ 205 w 1638"/>
                <a:gd name="T7" fmla="*/ 6 h 1065"/>
                <a:gd name="T8" fmla="*/ 0 w 1638"/>
                <a:gd name="T9" fmla="*/ 244 h 1065"/>
                <a:gd name="T10" fmla="*/ 64 w 1638"/>
                <a:gd name="T11" fmla="*/ 70 h 1065"/>
                <a:gd name="T12" fmla="*/ 64 w 1638"/>
                <a:gd name="T13" fmla="*/ 677 h 1065"/>
                <a:gd name="T14" fmla="*/ 0 w 1638"/>
                <a:gd name="T15" fmla="*/ 506 h 1065"/>
                <a:gd name="T16" fmla="*/ 205 w 1638"/>
                <a:gd name="T17" fmla="*/ 741 h 1065"/>
                <a:gd name="T18" fmla="*/ 310 w 1638"/>
                <a:gd name="T19" fmla="*/ 697 h 1065"/>
                <a:gd name="T20" fmla="*/ 425 w 1638"/>
                <a:gd name="T21" fmla="*/ 799 h 1065"/>
                <a:gd name="T22" fmla="*/ 533 w 1638"/>
                <a:gd name="T23" fmla="*/ 888 h 1065"/>
                <a:gd name="T24" fmla="*/ 641 w 1638"/>
                <a:gd name="T25" fmla="*/ 977 h 1065"/>
                <a:gd name="T26" fmla="*/ 749 w 1638"/>
                <a:gd name="T27" fmla="*/ 1065 h 1065"/>
                <a:gd name="T28" fmla="*/ 853 w 1638"/>
                <a:gd name="T29" fmla="*/ 997 h 1065"/>
                <a:gd name="T30" fmla="*/ 922 w 1638"/>
                <a:gd name="T31" fmla="*/ 979 h 1065"/>
                <a:gd name="T32" fmla="*/ 1030 w 1638"/>
                <a:gd name="T33" fmla="*/ 921 h 1065"/>
                <a:gd name="T34" fmla="*/ 1205 w 1638"/>
                <a:gd name="T35" fmla="*/ 878 h 1065"/>
                <a:gd name="T36" fmla="*/ 1358 w 1638"/>
                <a:gd name="T37" fmla="*/ 781 h 1065"/>
                <a:gd name="T38" fmla="*/ 1370 w 1638"/>
                <a:gd name="T39" fmla="*/ 650 h 1065"/>
                <a:gd name="T40" fmla="*/ 1606 w 1638"/>
                <a:gd name="T41" fmla="*/ 741 h 1065"/>
                <a:gd name="T42" fmla="*/ 1606 w 1638"/>
                <a:gd name="T43" fmla="*/ 465 h 1065"/>
                <a:gd name="T44" fmla="*/ 1434 w 1638"/>
                <a:gd name="T45" fmla="*/ 677 h 1065"/>
                <a:gd name="T46" fmla="*/ 1574 w 1638"/>
                <a:gd name="T47" fmla="*/ 249 h 1065"/>
                <a:gd name="T48" fmla="*/ 455 w 1638"/>
                <a:gd name="T49" fmla="*/ 721 h 1065"/>
                <a:gd name="T50" fmla="*/ 422 w 1638"/>
                <a:gd name="T51" fmla="*/ 642 h 1065"/>
                <a:gd name="T52" fmla="*/ 476 w 1638"/>
                <a:gd name="T53" fmla="*/ 637 h 1065"/>
                <a:gd name="T54" fmla="*/ 562 w 1638"/>
                <a:gd name="T55" fmla="*/ 810 h 1065"/>
                <a:gd name="T56" fmla="*/ 504 w 1638"/>
                <a:gd name="T57" fmla="*/ 762 h 1065"/>
                <a:gd name="T58" fmla="*/ 559 w 1638"/>
                <a:gd name="T59" fmla="*/ 717 h 1065"/>
                <a:gd name="T60" fmla="*/ 588 w 1638"/>
                <a:gd name="T61" fmla="*/ 778 h 1065"/>
                <a:gd name="T62" fmla="*/ 645 w 1638"/>
                <a:gd name="T63" fmla="*/ 912 h 1065"/>
                <a:gd name="T64" fmla="*/ 612 w 1638"/>
                <a:gd name="T65" fmla="*/ 851 h 1065"/>
                <a:gd name="T66" fmla="*/ 691 w 1638"/>
                <a:gd name="T67" fmla="*/ 814 h 1065"/>
                <a:gd name="T68" fmla="*/ 778 w 1638"/>
                <a:gd name="T69" fmla="*/ 988 h 1065"/>
                <a:gd name="T70" fmla="*/ 720 w 1638"/>
                <a:gd name="T71" fmla="*/ 939 h 1065"/>
                <a:gd name="T72" fmla="*/ 775 w 1638"/>
                <a:gd name="T73" fmla="*/ 894 h 1065"/>
                <a:gd name="T74" fmla="*/ 804 w 1638"/>
                <a:gd name="T75" fmla="*/ 956 h 1065"/>
                <a:gd name="T76" fmla="*/ 1117 w 1638"/>
                <a:gd name="T77" fmla="*/ 710 h 1065"/>
                <a:gd name="T78" fmla="*/ 967 w 1638"/>
                <a:gd name="T79" fmla="*/ 608 h 1065"/>
                <a:gd name="T80" fmla="*/ 1134 w 1638"/>
                <a:gd name="T81" fmla="*/ 874 h 1065"/>
                <a:gd name="T82" fmla="*/ 908 w 1638"/>
                <a:gd name="T83" fmla="*/ 713 h 1065"/>
                <a:gd name="T84" fmla="*/ 783 w 1638"/>
                <a:gd name="T85" fmla="*/ 681 h 1065"/>
                <a:gd name="T86" fmla="*/ 921 w 1638"/>
                <a:gd name="T87" fmla="*/ 915 h 1065"/>
                <a:gd name="T88" fmla="*/ 841 w 1638"/>
                <a:gd name="T89" fmla="*/ 855 h 1065"/>
                <a:gd name="T90" fmla="*/ 732 w 1638"/>
                <a:gd name="T91" fmla="*/ 765 h 1065"/>
                <a:gd name="T92" fmla="*/ 552 w 1638"/>
                <a:gd name="T93" fmla="*/ 653 h 1065"/>
                <a:gd name="T94" fmla="*/ 373 w 1638"/>
                <a:gd name="T95" fmla="*/ 601 h 1065"/>
                <a:gd name="T96" fmla="*/ 269 w 1638"/>
                <a:gd name="T97" fmla="*/ 611 h 1065"/>
                <a:gd name="T98" fmla="*/ 396 w 1638"/>
                <a:gd name="T99" fmla="*/ 132 h 1065"/>
                <a:gd name="T100" fmla="*/ 701 w 1638"/>
                <a:gd name="T101" fmla="*/ 140 h 1065"/>
                <a:gd name="T102" fmla="*/ 538 w 1638"/>
                <a:gd name="T103" fmla="*/ 573 h 1065"/>
                <a:gd name="T104" fmla="*/ 935 w 1638"/>
                <a:gd name="T105" fmla="*/ 415 h 1065"/>
                <a:gd name="T106" fmla="*/ 1282 w 1638"/>
                <a:gd name="T107" fmla="*/ 812 h 1065"/>
                <a:gd name="T108" fmla="*/ 1027 w 1638"/>
                <a:gd name="T109" fmla="*/ 415 h 1065"/>
                <a:gd name="T110" fmla="*/ 1050 w 1638"/>
                <a:gd name="T111" fmla="*/ 351 h 1065"/>
                <a:gd name="T112" fmla="*/ 562 w 1638"/>
                <a:gd name="T113" fmla="*/ 503 h 1065"/>
                <a:gd name="T114" fmla="*/ 746 w 1638"/>
                <a:gd name="T115" fmla="*/ 185 h 1065"/>
                <a:gd name="T116" fmla="*/ 1370 w 1638"/>
                <a:gd name="T117" fmla="*/ 577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38" h="1065">
                  <a:moveTo>
                    <a:pt x="1606" y="281"/>
                  </a:moveTo>
                  <a:cubicBezTo>
                    <a:pt x="1624" y="281"/>
                    <a:pt x="1638" y="267"/>
                    <a:pt x="1638" y="249"/>
                  </a:cubicBezTo>
                  <a:cubicBezTo>
                    <a:pt x="1638" y="38"/>
                    <a:pt x="1638" y="38"/>
                    <a:pt x="1638" y="38"/>
                  </a:cubicBezTo>
                  <a:cubicBezTo>
                    <a:pt x="1638" y="21"/>
                    <a:pt x="1624" y="6"/>
                    <a:pt x="1606" y="6"/>
                  </a:cubicBezTo>
                  <a:cubicBezTo>
                    <a:pt x="1434" y="6"/>
                    <a:pt x="1434" y="6"/>
                    <a:pt x="1434" y="6"/>
                  </a:cubicBezTo>
                  <a:cubicBezTo>
                    <a:pt x="1405" y="6"/>
                    <a:pt x="1381" y="25"/>
                    <a:pt x="1373" y="51"/>
                  </a:cubicBezTo>
                  <a:cubicBezTo>
                    <a:pt x="922" y="51"/>
                    <a:pt x="922" y="51"/>
                    <a:pt x="922" y="51"/>
                  </a:cubicBezTo>
                  <a:cubicBezTo>
                    <a:pt x="922" y="51"/>
                    <a:pt x="922" y="50"/>
                    <a:pt x="921" y="50"/>
                  </a:cubicBezTo>
                  <a:cubicBezTo>
                    <a:pt x="835" y="11"/>
                    <a:pt x="739" y="0"/>
                    <a:pt x="645" y="18"/>
                  </a:cubicBezTo>
                  <a:cubicBezTo>
                    <a:pt x="387" y="68"/>
                    <a:pt x="387" y="68"/>
                    <a:pt x="387" y="68"/>
                  </a:cubicBezTo>
                  <a:cubicBezTo>
                    <a:pt x="269" y="68"/>
                    <a:pt x="269" y="68"/>
                    <a:pt x="269" y="68"/>
                  </a:cubicBezTo>
                  <a:cubicBezTo>
                    <a:pt x="268" y="34"/>
                    <a:pt x="239" y="6"/>
                    <a:pt x="205" y="6"/>
                  </a:cubicBezTo>
                  <a:cubicBezTo>
                    <a:pt x="32" y="6"/>
                    <a:pt x="32" y="6"/>
                    <a:pt x="32" y="6"/>
                  </a:cubicBezTo>
                  <a:cubicBezTo>
                    <a:pt x="14" y="6"/>
                    <a:pt x="0" y="21"/>
                    <a:pt x="0" y="38"/>
                  </a:cubicBezTo>
                  <a:cubicBezTo>
                    <a:pt x="0" y="244"/>
                    <a:pt x="0" y="244"/>
                    <a:pt x="0" y="244"/>
                  </a:cubicBezTo>
                  <a:cubicBezTo>
                    <a:pt x="0" y="262"/>
                    <a:pt x="14" y="276"/>
                    <a:pt x="32" y="276"/>
                  </a:cubicBezTo>
                  <a:cubicBezTo>
                    <a:pt x="50" y="276"/>
                    <a:pt x="64" y="262"/>
                    <a:pt x="64" y="244"/>
                  </a:cubicBezTo>
                  <a:cubicBezTo>
                    <a:pt x="64" y="70"/>
                    <a:pt x="64" y="70"/>
                    <a:pt x="64" y="70"/>
                  </a:cubicBezTo>
                  <a:cubicBezTo>
                    <a:pt x="205" y="70"/>
                    <a:pt x="205" y="70"/>
                    <a:pt x="205" y="70"/>
                  </a:cubicBezTo>
                  <a:cubicBezTo>
                    <a:pt x="205" y="677"/>
                    <a:pt x="205" y="677"/>
                    <a:pt x="205" y="677"/>
                  </a:cubicBezTo>
                  <a:cubicBezTo>
                    <a:pt x="64" y="677"/>
                    <a:pt x="64" y="677"/>
                    <a:pt x="64" y="677"/>
                  </a:cubicBezTo>
                  <a:cubicBezTo>
                    <a:pt x="64" y="506"/>
                    <a:pt x="64" y="506"/>
                    <a:pt x="64" y="506"/>
                  </a:cubicBezTo>
                  <a:cubicBezTo>
                    <a:pt x="64" y="489"/>
                    <a:pt x="50" y="474"/>
                    <a:pt x="32" y="474"/>
                  </a:cubicBezTo>
                  <a:cubicBezTo>
                    <a:pt x="14" y="474"/>
                    <a:pt x="0" y="489"/>
                    <a:pt x="0" y="506"/>
                  </a:cubicBezTo>
                  <a:cubicBezTo>
                    <a:pt x="0" y="709"/>
                    <a:pt x="0" y="709"/>
                    <a:pt x="0" y="709"/>
                  </a:cubicBezTo>
                  <a:cubicBezTo>
                    <a:pt x="0" y="727"/>
                    <a:pt x="14" y="741"/>
                    <a:pt x="32" y="741"/>
                  </a:cubicBezTo>
                  <a:cubicBezTo>
                    <a:pt x="205" y="741"/>
                    <a:pt x="205" y="741"/>
                    <a:pt x="205" y="741"/>
                  </a:cubicBezTo>
                  <a:cubicBezTo>
                    <a:pt x="240" y="741"/>
                    <a:pt x="269" y="712"/>
                    <a:pt x="269" y="677"/>
                  </a:cubicBezTo>
                  <a:cubicBezTo>
                    <a:pt x="269" y="677"/>
                    <a:pt x="269" y="677"/>
                    <a:pt x="269" y="677"/>
                  </a:cubicBezTo>
                  <a:cubicBezTo>
                    <a:pt x="283" y="681"/>
                    <a:pt x="297" y="688"/>
                    <a:pt x="310" y="697"/>
                  </a:cubicBezTo>
                  <a:cubicBezTo>
                    <a:pt x="324" y="709"/>
                    <a:pt x="324" y="709"/>
                    <a:pt x="324" y="709"/>
                  </a:cubicBezTo>
                  <a:cubicBezTo>
                    <a:pt x="327" y="734"/>
                    <a:pt x="340" y="758"/>
                    <a:pt x="361" y="776"/>
                  </a:cubicBezTo>
                  <a:cubicBezTo>
                    <a:pt x="380" y="791"/>
                    <a:pt x="403" y="799"/>
                    <a:pt x="425" y="799"/>
                  </a:cubicBezTo>
                  <a:cubicBezTo>
                    <a:pt x="428" y="799"/>
                    <a:pt x="430" y="799"/>
                    <a:pt x="432" y="799"/>
                  </a:cubicBezTo>
                  <a:cubicBezTo>
                    <a:pt x="436" y="825"/>
                    <a:pt x="448" y="848"/>
                    <a:pt x="469" y="865"/>
                  </a:cubicBezTo>
                  <a:cubicBezTo>
                    <a:pt x="487" y="880"/>
                    <a:pt x="510" y="888"/>
                    <a:pt x="533" y="888"/>
                  </a:cubicBezTo>
                  <a:cubicBezTo>
                    <a:pt x="535" y="888"/>
                    <a:pt x="538" y="888"/>
                    <a:pt x="540" y="888"/>
                  </a:cubicBezTo>
                  <a:cubicBezTo>
                    <a:pt x="543" y="913"/>
                    <a:pt x="556" y="937"/>
                    <a:pt x="576" y="953"/>
                  </a:cubicBezTo>
                  <a:cubicBezTo>
                    <a:pt x="595" y="968"/>
                    <a:pt x="617" y="977"/>
                    <a:pt x="641" y="977"/>
                  </a:cubicBezTo>
                  <a:cubicBezTo>
                    <a:pt x="643" y="977"/>
                    <a:pt x="645" y="976"/>
                    <a:pt x="648" y="976"/>
                  </a:cubicBezTo>
                  <a:cubicBezTo>
                    <a:pt x="651" y="1001"/>
                    <a:pt x="663" y="1025"/>
                    <a:pt x="684" y="1042"/>
                  </a:cubicBezTo>
                  <a:cubicBezTo>
                    <a:pt x="702" y="1057"/>
                    <a:pt x="725" y="1065"/>
                    <a:pt x="749" y="1065"/>
                  </a:cubicBezTo>
                  <a:cubicBezTo>
                    <a:pt x="752" y="1065"/>
                    <a:pt x="755" y="1065"/>
                    <a:pt x="759" y="1065"/>
                  </a:cubicBezTo>
                  <a:cubicBezTo>
                    <a:pt x="786" y="1062"/>
                    <a:pt x="810" y="1049"/>
                    <a:pt x="827" y="1028"/>
                  </a:cubicBezTo>
                  <a:cubicBezTo>
                    <a:pt x="853" y="997"/>
                    <a:pt x="853" y="997"/>
                    <a:pt x="853" y="997"/>
                  </a:cubicBezTo>
                  <a:cubicBezTo>
                    <a:pt x="861" y="987"/>
                    <a:pt x="867" y="977"/>
                    <a:pt x="871" y="966"/>
                  </a:cubicBezTo>
                  <a:cubicBezTo>
                    <a:pt x="886" y="974"/>
                    <a:pt x="903" y="979"/>
                    <a:pt x="920" y="979"/>
                  </a:cubicBezTo>
                  <a:cubicBezTo>
                    <a:pt x="921" y="979"/>
                    <a:pt x="921" y="979"/>
                    <a:pt x="922" y="979"/>
                  </a:cubicBezTo>
                  <a:cubicBezTo>
                    <a:pt x="950" y="978"/>
                    <a:pt x="977" y="967"/>
                    <a:pt x="996" y="947"/>
                  </a:cubicBezTo>
                  <a:cubicBezTo>
                    <a:pt x="1007" y="936"/>
                    <a:pt x="1014" y="924"/>
                    <a:pt x="1019" y="910"/>
                  </a:cubicBezTo>
                  <a:cubicBezTo>
                    <a:pt x="1030" y="921"/>
                    <a:pt x="1030" y="921"/>
                    <a:pt x="1030" y="921"/>
                  </a:cubicBezTo>
                  <a:cubicBezTo>
                    <a:pt x="1051" y="941"/>
                    <a:pt x="1078" y="951"/>
                    <a:pt x="1104" y="951"/>
                  </a:cubicBezTo>
                  <a:cubicBezTo>
                    <a:pt x="1132" y="951"/>
                    <a:pt x="1160" y="940"/>
                    <a:pt x="1180" y="919"/>
                  </a:cubicBezTo>
                  <a:cubicBezTo>
                    <a:pt x="1192" y="907"/>
                    <a:pt x="1200" y="893"/>
                    <a:pt x="1205" y="878"/>
                  </a:cubicBezTo>
                  <a:cubicBezTo>
                    <a:pt x="1220" y="885"/>
                    <a:pt x="1236" y="889"/>
                    <a:pt x="1252" y="889"/>
                  </a:cubicBezTo>
                  <a:cubicBezTo>
                    <a:pt x="1280" y="889"/>
                    <a:pt x="1308" y="878"/>
                    <a:pt x="1328" y="856"/>
                  </a:cubicBezTo>
                  <a:cubicBezTo>
                    <a:pt x="1348" y="836"/>
                    <a:pt x="1359" y="809"/>
                    <a:pt x="1358" y="781"/>
                  </a:cubicBezTo>
                  <a:cubicBezTo>
                    <a:pt x="1358" y="753"/>
                    <a:pt x="1346" y="726"/>
                    <a:pt x="1326" y="707"/>
                  </a:cubicBezTo>
                  <a:cubicBezTo>
                    <a:pt x="1304" y="685"/>
                    <a:pt x="1304" y="685"/>
                    <a:pt x="1304" y="685"/>
                  </a:cubicBezTo>
                  <a:cubicBezTo>
                    <a:pt x="1370" y="650"/>
                    <a:pt x="1370" y="650"/>
                    <a:pt x="1370" y="650"/>
                  </a:cubicBezTo>
                  <a:cubicBezTo>
                    <a:pt x="1370" y="677"/>
                    <a:pt x="1370" y="677"/>
                    <a:pt x="1370" y="677"/>
                  </a:cubicBezTo>
                  <a:cubicBezTo>
                    <a:pt x="1370" y="712"/>
                    <a:pt x="1398" y="741"/>
                    <a:pt x="1434" y="741"/>
                  </a:cubicBezTo>
                  <a:cubicBezTo>
                    <a:pt x="1606" y="741"/>
                    <a:pt x="1606" y="741"/>
                    <a:pt x="1606" y="741"/>
                  </a:cubicBezTo>
                  <a:cubicBezTo>
                    <a:pt x="1624" y="741"/>
                    <a:pt x="1638" y="727"/>
                    <a:pt x="1638" y="709"/>
                  </a:cubicBezTo>
                  <a:cubicBezTo>
                    <a:pt x="1638" y="497"/>
                    <a:pt x="1638" y="497"/>
                    <a:pt x="1638" y="497"/>
                  </a:cubicBezTo>
                  <a:cubicBezTo>
                    <a:pt x="1638" y="479"/>
                    <a:pt x="1624" y="465"/>
                    <a:pt x="1606" y="465"/>
                  </a:cubicBezTo>
                  <a:cubicBezTo>
                    <a:pt x="1589" y="465"/>
                    <a:pt x="1574" y="479"/>
                    <a:pt x="1574" y="497"/>
                  </a:cubicBezTo>
                  <a:cubicBezTo>
                    <a:pt x="1574" y="677"/>
                    <a:pt x="1574" y="677"/>
                    <a:pt x="1574" y="677"/>
                  </a:cubicBezTo>
                  <a:cubicBezTo>
                    <a:pt x="1434" y="677"/>
                    <a:pt x="1434" y="677"/>
                    <a:pt x="1434" y="677"/>
                  </a:cubicBezTo>
                  <a:cubicBezTo>
                    <a:pt x="1434" y="70"/>
                    <a:pt x="1434" y="70"/>
                    <a:pt x="1434" y="70"/>
                  </a:cubicBezTo>
                  <a:cubicBezTo>
                    <a:pt x="1574" y="70"/>
                    <a:pt x="1574" y="70"/>
                    <a:pt x="1574" y="70"/>
                  </a:cubicBezTo>
                  <a:cubicBezTo>
                    <a:pt x="1574" y="249"/>
                    <a:pt x="1574" y="249"/>
                    <a:pt x="1574" y="249"/>
                  </a:cubicBezTo>
                  <a:cubicBezTo>
                    <a:pt x="1574" y="267"/>
                    <a:pt x="1589" y="281"/>
                    <a:pt x="1606" y="281"/>
                  </a:cubicBezTo>
                  <a:close/>
                  <a:moveTo>
                    <a:pt x="481" y="690"/>
                  </a:moveTo>
                  <a:cubicBezTo>
                    <a:pt x="455" y="721"/>
                    <a:pt x="455" y="721"/>
                    <a:pt x="455" y="721"/>
                  </a:cubicBezTo>
                  <a:cubicBezTo>
                    <a:pt x="441" y="737"/>
                    <a:pt x="418" y="740"/>
                    <a:pt x="402" y="726"/>
                  </a:cubicBezTo>
                  <a:cubicBezTo>
                    <a:pt x="385" y="713"/>
                    <a:pt x="383" y="689"/>
                    <a:pt x="396" y="673"/>
                  </a:cubicBezTo>
                  <a:cubicBezTo>
                    <a:pt x="422" y="642"/>
                    <a:pt x="422" y="642"/>
                    <a:pt x="422" y="642"/>
                  </a:cubicBezTo>
                  <a:cubicBezTo>
                    <a:pt x="429" y="634"/>
                    <a:pt x="438" y="629"/>
                    <a:pt x="448" y="628"/>
                  </a:cubicBezTo>
                  <a:cubicBezTo>
                    <a:pt x="449" y="628"/>
                    <a:pt x="450" y="628"/>
                    <a:pt x="452" y="628"/>
                  </a:cubicBezTo>
                  <a:cubicBezTo>
                    <a:pt x="460" y="628"/>
                    <a:pt x="469" y="631"/>
                    <a:pt x="476" y="637"/>
                  </a:cubicBezTo>
                  <a:cubicBezTo>
                    <a:pt x="492" y="650"/>
                    <a:pt x="494" y="674"/>
                    <a:pt x="481" y="690"/>
                  </a:cubicBezTo>
                  <a:close/>
                  <a:moveTo>
                    <a:pt x="588" y="778"/>
                  </a:moveTo>
                  <a:cubicBezTo>
                    <a:pt x="562" y="810"/>
                    <a:pt x="562" y="810"/>
                    <a:pt x="562" y="810"/>
                  </a:cubicBezTo>
                  <a:cubicBezTo>
                    <a:pt x="549" y="826"/>
                    <a:pt x="525" y="828"/>
                    <a:pt x="509" y="815"/>
                  </a:cubicBezTo>
                  <a:cubicBezTo>
                    <a:pt x="501" y="809"/>
                    <a:pt x="497" y="800"/>
                    <a:pt x="496" y="790"/>
                  </a:cubicBezTo>
                  <a:cubicBezTo>
                    <a:pt x="495" y="780"/>
                    <a:pt x="498" y="770"/>
                    <a:pt x="504" y="762"/>
                  </a:cubicBezTo>
                  <a:cubicBezTo>
                    <a:pt x="530" y="730"/>
                    <a:pt x="530" y="730"/>
                    <a:pt x="530" y="730"/>
                  </a:cubicBezTo>
                  <a:cubicBezTo>
                    <a:pt x="537" y="723"/>
                    <a:pt x="546" y="718"/>
                    <a:pt x="556" y="717"/>
                  </a:cubicBezTo>
                  <a:cubicBezTo>
                    <a:pt x="557" y="717"/>
                    <a:pt x="558" y="717"/>
                    <a:pt x="559" y="717"/>
                  </a:cubicBezTo>
                  <a:cubicBezTo>
                    <a:pt x="568" y="717"/>
                    <a:pt x="576" y="720"/>
                    <a:pt x="583" y="725"/>
                  </a:cubicBezTo>
                  <a:cubicBezTo>
                    <a:pt x="591" y="732"/>
                    <a:pt x="596" y="741"/>
                    <a:pt x="597" y="751"/>
                  </a:cubicBezTo>
                  <a:cubicBezTo>
                    <a:pt x="598" y="761"/>
                    <a:pt x="595" y="771"/>
                    <a:pt x="588" y="778"/>
                  </a:cubicBezTo>
                  <a:close/>
                  <a:moveTo>
                    <a:pt x="696" y="867"/>
                  </a:moveTo>
                  <a:cubicBezTo>
                    <a:pt x="670" y="899"/>
                    <a:pt x="670" y="899"/>
                    <a:pt x="670" y="899"/>
                  </a:cubicBezTo>
                  <a:cubicBezTo>
                    <a:pt x="664" y="907"/>
                    <a:pt x="655" y="911"/>
                    <a:pt x="645" y="912"/>
                  </a:cubicBezTo>
                  <a:cubicBezTo>
                    <a:pt x="635" y="913"/>
                    <a:pt x="625" y="910"/>
                    <a:pt x="617" y="904"/>
                  </a:cubicBezTo>
                  <a:cubicBezTo>
                    <a:pt x="609" y="898"/>
                    <a:pt x="604" y="888"/>
                    <a:pt x="603" y="878"/>
                  </a:cubicBezTo>
                  <a:cubicBezTo>
                    <a:pt x="602" y="868"/>
                    <a:pt x="605" y="859"/>
                    <a:pt x="612" y="851"/>
                  </a:cubicBezTo>
                  <a:cubicBezTo>
                    <a:pt x="638" y="819"/>
                    <a:pt x="638" y="819"/>
                    <a:pt x="638" y="819"/>
                  </a:cubicBezTo>
                  <a:cubicBezTo>
                    <a:pt x="645" y="810"/>
                    <a:pt x="656" y="805"/>
                    <a:pt x="667" y="805"/>
                  </a:cubicBezTo>
                  <a:cubicBezTo>
                    <a:pt x="676" y="805"/>
                    <a:pt x="684" y="808"/>
                    <a:pt x="691" y="814"/>
                  </a:cubicBezTo>
                  <a:cubicBezTo>
                    <a:pt x="707" y="827"/>
                    <a:pt x="709" y="851"/>
                    <a:pt x="696" y="867"/>
                  </a:cubicBezTo>
                  <a:close/>
                  <a:moveTo>
                    <a:pt x="804" y="956"/>
                  </a:moveTo>
                  <a:cubicBezTo>
                    <a:pt x="778" y="988"/>
                    <a:pt x="778" y="988"/>
                    <a:pt x="778" y="988"/>
                  </a:cubicBezTo>
                  <a:cubicBezTo>
                    <a:pt x="771" y="995"/>
                    <a:pt x="762" y="1000"/>
                    <a:pt x="752" y="1001"/>
                  </a:cubicBezTo>
                  <a:cubicBezTo>
                    <a:pt x="742" y="1002"/>
                    <a:pt x="732" y="999"/>
                    <a:pt x="725" y="993"/>
                  </a:cubicBezTo>
                  <a:cubicBezTo>
                    <a:pt x="709" y="979"/>
                    <a:pt x="706" y="956"/>
                    <a:pt x="720" y="939"/>
                  </a:cubicBezTo>
                  <a:cubicBezTo>
                    <a:pt x="746" y="908"/>
                    <a:pt x="746" y="908"/>
                    <a:pt x="746" y="908"/>
                  </a:cubicBezTo>
                  <a:cubicBezTo>
                    <a:pt x="752" y="900"/>
                    <a:pt x="761" y="895"/>
                    <a:pt x="771" y="894"/>
                  </a:cubicBezTo>
                  <a:cubicBezTo>
                    <a:pt x="772" y="894"/>
                    <a:pt x="774" y="894"/>
                    <a:pt x="775" y="894"/>
                  </a:cubicBezTo>
                  <a:cubicBezTo>
                    <a:pt x="784" y="894"/>
                    <a:pt x="792" y="897"/>
                    <a:pt x="799" y="903"/>
                  </a:cubicBezTo>
                  <a:cubicBezTo>
                    <a:pt x="807" y="909"/>
                    <a:pt x="811" y="918"/>
                    <a:pt x="812" y="928"/>
                  </a:cubicBezTo>
                  <a:cubicBezTo>
                    <a:pt x="813" y="938"/>
                    <a:pt x="810" y="948"/>
                    <a:pt x="804" y="956"/>
                  </a:cubicBezTo>
                  <a:close/>
                  <a:moveTo>
                    <a:pt x="1282" y="812"/>
                  </a:moveTo>
                  <a:cubicBezTo>
                    <a:pt x="1266" y="828"/>
                    <a:pt x="1240" y="829"/>
                    <a:pt x="1223" y="813"/>
                  </a:cubicBezTo>
                  <a:cubicBezTo>
                    <a:pt x="1117" y="710"/>
                    <a:pt x="1117" y="710"/>
                    <a:pt x="1117" y="710"/>
                  </a:cubicBezTo>
                  <a:cubicBezTo>
                    <a:pt x="1117" y="709"/>
                    <a:pt x="1117" y="709"/>
                    <a:pt x="1117" y="709"/>
                  </a:cubicBezTo>
                  <a:cubicBezTo>
                    <a:pt x="1012" y="608"/>
                    <a:pt x="1012" y="608"/>
                    <a:pt x="1012" y="608"/>
                  </a:cubicBezTo>
                  <a:cubicBezTo>
                    <a:pt x="999" y="595"/>
                    <a:pt x="979" y="596"/>
                    <a:pt x="967" y="608"/>
                  </a:cubicBezTo>
                  <a:cubicBezTo>
                    <a:pt x="954" y="621"/>
                    <a:pt x="955" y="641"/>
                    <a:pt x="967" y="654"/>
                  </a:cubicBezTo>
                  <a:cubicBezTo>
                    <a:pt x="1134" y="815"/>
                    <a:pt x="1134" y="815"/>
                    <a:pt x="1134" y="815"/>
                  </a:cubicBezTo>
                  <a:cubicBezTo>
                    <a:pt x="1150" y="831"/>
                    <a:pt x="1150" y="858"/>
                    <a:pt x="1134" y="874"/>
                  </a:cubicBezTo>
                  <a:cubicBezTo>
                    <a:pt x="1118" y="891"/>
                    <a:pt x="1092" y="891"/>
                    <a:pt x="1075" y="875"/>
                  </a:cubicBezTo>
                  <a:cubicBezTo>
                    <a:pt x="909" y="714"/>
                    <a:pt x="909" y="714"/>
                    <a:pt x="909" y="714"/>
                  </a:cubicBezTo>
                  <a:cubicBezTo>
                    <a:pt x="909" y="713"/>
                    <a:pt x="908" y="713"/>
                    <a:pt x="908" y="713"/>
                  </a:cubicBezTo>
                  <a:cubicBezTo>
                    <a:pt x="828" y="635"/>
                    <a:pt x="828" y="635"/>
                    <a:pt x="828" y="635"/>
                  </a:cubicBezTo>
                  <a:cubicBezTo>
                    <a:pt x="815" y="623"/>
                    <a:pt x="795" y="623"/>
                    <a:pt x="783" y="636"/>
                  </a:cubicBezTo>
                  <a:cubicBezTo>
                    <a:pt x="771" y="649"/>
                    <a:pt x="771" y="669"/>
                    <a:pt x="783" y="681"/>
                  </a:cubicBezTo>
                  <a:cubicBezTo>
                    <a:pt x="950" y="843"/>
                    <a:pt x="950" y="843"/>
                    <a:pt x="950" y="843"/>
                  </a:cubicBezTo>
                  <a:cubicBezTo>
                    <a:pt x="966" y="859"/>
                    <a:pt x="967" y="885"/>
                    <a:pt x="950" y="902"/>
                  </a:cubicBezTo>
                  <a:cubicBezTo>
                    <a:pt x="943" y="910"/>
                    <a:pt x="932" y="915"/>
                    <a:pt x="921" y="915"/>
                  </a:cubicBezTo>
                  <a:cubicBezTo>
                    <a:pt x="910" y="915"/>
                    <a:pt x="899" y="911"/>
                    <a:pt x="891" y="903"/>
                  </a:cubicBezTo>
                  <a:cubicBezTo>
                    <a:pt x="845" y="858"/>
                    <a:pt x="845" y="858"/>
                    <a:pt x="845" y="858"/>
                  </a:cubicBezTo>
                  <a:cubicBezTo>
                    <a:pt x="843" y="857"/>
                    <a:pt x="842" y="856"/>
                    <a:pt x="841" y="855"/>
                  </a:cubicBezTo>
                  <a:cubicBezTo>
                    <a:pt x="841" y="854"/>
                    <a:pt x="840" y="854"/>
                    <a:pt x="839" y="853"/>
                  </a:cubicBezTo>
                  <a:cubicBezTo>
                    <a:pt x="819" y="836"/>
                    <a:pt x="793" y="829"/>
                    <a:pt x="768" y="830"/>
                  </a:cubicBezTo>
                  <a:cubicBezTo>
                    <a:pt x="765" y="806"/>
                    <a:pt x="753" y="782"/>
                    <a:pt x="732" y="765"/>
                  </a:cubicBezTo>
                  <a:cubicBezTo>
                    <a:pt x="711" y="747"/>
                    <a:pt x="685" y="740"/>
                    <a:pt x="660" y="742"/>
                  </a:cubicBezTo>
                  <a:cubicBezTo>
                    <a:pt x="657" y="716"/>
                    <a:pt x="644" y="693"/>
                    <a:pt x="624" y="676"/>
                  </a:cubicBezTo>
                  <a:cubicBezTo>
                    <a:pt x="604" y="659"/>
                    <a:pt x="578" y="651"/>
                    <a:pt x="552" y="653"/>
                  </a:cubicBezTo>
                  <a:cubicBezTo>
                    <a:pt x="549" y="628"/>
                    <a:pt x="537" y="604"/>
                    <a:pt x="516" y="587"/>
                  </a:cubicBezTo>
                  <a:cubicBezTo>
                    <a:pt x="495" y="570"/>
                    <a:pt x="469" y="562"/>
                    <a:pt x="442" y="564"/>
                  </a:cubicBezTo>
                  <a:cubicBezTo>
                    <a:pt x="415" y="567"/>
                    <a:pt x="390" y="580"/>
                    <a:pt x="373" y="601"/>
                  </a:cubicBezTo>
                  <a:cubicBezTo>
                    <a:pt x="347" y="633"/>
                    <a:pt x="347" y="633"/>
                    <a:pt x="347" y="633"/>
                  </a:cubicBezTo>
                  <a:cubicBezTo>
                    <a:pt x="345" y="635"/>
                    <a:pt x="343" y="638"/>
                    <a:pt x="341" y="641"/>
                  </a:cubicBezTo>
                  <a:cubicBezTo>
                    <a:pt x="319" y="626"/>
                    <a:pt x="295" y="616"/>
                    <a:pt x="269" y="611"/>
                  </a:cubicBezTo>
                  <a:cubicBezTo>
                    <a:pt x="269" y="132"/>
                    <a:pt x="269" y="132"/>
                    <a:pt x="269" y="132"/>
                  </a:cubicBezTo>
                  <a:cubicBezTo>
                    <a:pt x="390" y="132"/>
                    <a:pt x="390" y="132"/>
                    <a:pt x="390" y="132"/>
                  </a:cubicBezTo>
                  <a:cubicBezTo>
                    <a:pt x="392" y="132"/>
                    <a:pt x="394" y="132"/>
                    <a:pt x="396" y="132"/>
                  </a:cubicBezTo>
                  <a:cubicBezTo>
                    <a:pt x="658" y="81"/>
                    <a:pt x="658" y="81"/>
                    <a:pt x="658" y="81"/>
                  </a:cubicBezTo>
                  <a:cubicBezTo>
                    <a:pt x="702" y="72"/>
                    <a:pt x="747" y="71"/>
                    <a:pt x="791" y="78"/>
                  </a:cubicBezTo>
                  <a:cubicBezTo>
                    <a:pt x="758" y="92"/>
                    <a:pt x="727" y="113"/>
                    <a:pt x="701" y="140"/>
                  </a:cubicBezTo>
                  <a:cubicBezTo>
                    <a:pt x="458" y="379"/>
                    <a:pt x="458" y="379"/>
                    <a:pt x="458" y="379"/>
                  </a:cubicBezTo>
                  <a:cubicBezTo>
                    <a:pt x="414" y="423"/>
                    <a:pt x="413" y="494"/>
                    <a:pt x="456" y="539"/>
                  </a:cubicBezTo>
                  <a:cubicBezTo>
                    <a:pt x="478" y="561"/>
                    <a:pt x="508" y="573"/>
                    <a:pt x="538" y="573"/>
                  </a:cubicBezTo>
                  <a:cubicBezTo>
                    <a:pt x="557" y="573"/>
                    <a:pt x="576" y="569"/>
                    <a:pt x="594" y="559"/>
                  </a:cubicBezTo>
                  <a:cubicBezTo>
                    <a:pt x="848" y="415"/>
                    <a:pt x="848" y="415"/>
                    <a:pt x="848" y="415"/>
                  </a:cubicBezTo>
                  <a:cubicBezTo>
                    <a:pt x="935" y="415"/>
                    <a:pt x="935" y="415"/>
                    <a:pt x="935" y="415"/>
                  </a:cubicBezTo>
                  <a:cubicBezTo>
                    <a:pt x="1282" y="753"/>
                    <a:pt x="1282" y="753"/>
                    <a:pt x="1282" y="753"/>
                  </a:cubicBezTo>
                  <a:cubicBezTo>
                    <a:pt x="1290" y="760"/>
                    <a:pt x="1294" y="771"/>
                    <a:pt x="1294" y="782"/>
                  </a:cubicBezTo>
                  <a:cubicBezTo>
                    <a:pt x="1294" y="793"/>
                    <a:pt x="1290" y="804"/>
                    <a:pt x="1282" y="812"/>
                  </a:cubicBezTo>
                  <a:close/>
                  <a:moveTo>
                    <a:pt x="1370" y="577"/>
                  </a:moveTo>
                  <a:cubicBezTo>
                    <a:pt x="1256" y="638"/>
                    <a:pt x="1256" y="638"/>
                    <a:pt x="1256" y="638"/>
                  </a:cubicBezTo>
                  <a:cubicBezTo>
                    <a:pt x="1027" y="415"/>
                    <a:pt x="1027" y="415"/>
                    <a:pt x="1027" y="415"/>
                  </a:cubicBezTo>
                  <a:cubicBezTo>
                    <a:pt x="1050" y="415"/>
                    <a:pt x="1050" y="415"/>
                    <a:pt x="1050" y="415"/>
                  </a:cubicBezTo>
                  <a:cubicBezTo>
                    <a:pt x="1067" y="415"/>
                    <a:pt x="1082" y="401"/>
                    <a:pt x="1082" y="383"/>
                  </a:cubicBezTo>
                  <a:cubicBezTo>
                    <a:pt x="1082" y="366"/>
                    <a:pt x="1067" y="351"/>
                    <a:pt x="1050" y="351"/>
                  </a:cubicBezTo>
                  <a:cubicBezTo>
                    <a:pt x="839" y="351"/>
                    <a:pt x="839" y="351"/>
                    <a:pt x="839" y="351"/>
                  </a:cubicBezTo>
                  <a:cubicBezTo>
                    <a:pt x="834" y="351"/>
                    <a:pt x="828" y="353"/>
                    <a:pt x="824" y="355"/>
                  </a:cubicBezTo>
                  <a:cubicBezTo>
                    <a:pt x="562" y="503"/>
                    <a:pt x="562" y="503"/>
                    <a:pt x="562" y="503"/>
                  </a:cubicBezTo>
                  <a:cubicBezTo>
                    <a:pt x="543" y="514"/>
                    <a:pt x="518" y="510"/>
                    <a:pt x="502" y="494"/>
                  </a:cubicBezTo>
                  <a:cubicBezTo>
                    <a:pt x="484" y="475"/>
                    <a:pt x="484" y="444"/>
                    <a:pt x="503" y="425"/>
                  </a:cubicBezTo>
                  <a:cubicBezTo>
                    <a:pt x="746" y="185"/>
                    <a:pt x="746" y="185"/>
                    <a:pt x="746" y="185"/>
                  </a:cubicBezTo>
                  <a:cubicBezTo>
                    <a:pt x="791" y="140"/>
                    <a:pt x="852" y="115"/>
                    <a:pt x="917" y="115"/>
                  </a:cubicBezTo>
                  <a:cubicBezTo>
                    <a:pt x="1370" y="115"/>
                    <a:pt x="1370" y="115"/>
                    <a:pt x="1370" y="115"/>
                  </a:cubicBezTo>
                  <a:lnTo>
                    <a:pt x="1370" y="577"/>
                  </a:lnTo>
                  <a:close/>
                  <a:moveTo>
                    <a:pt x="1370" y="577"/>
                  </a:moveTo>
                  <a:cubicBezTo>
                    <a:pt x="1370" y="577"/>
                    <a:pt x="1370" y="577"/>
                    <a:pt x="1370" y="5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86"/>
            <p:cNvSpPr>
              <a:spLocks noEditPoints="1"/>
            </p:cNvSpPr>
            <p:nvPr/>
          </p:nvSpPr>
          <p:spPr bwMode="auto">
            <a:xfrm>
              <a:off x="4661" y="2043"/>
              <a:ext cx="121" cy="121"/>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87"/>
            <p:cNvSpPr>
              <a:spLocks noEditPoints="1"/>
            </p:cNvSpPr>
            <p:nvPr/>
          </p:nvSpPr>
          <p:spPr bwMode="auto">
            <a:xfrm>
              <a:off x="1682" y="2043"/>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1" name="Group 198"/>
          <p:cNvGrpSpPr>
            <a:grpSpLocks noChangeAspect="1"/>
          </p:cNvGrpSpPr>
          <p:nvPr/>
        </p:nvGrpSpPr>
        <p:grpSpPr bwMode="auto">
          <a:xfrm>
            <a:off x="4283638" y="1860791"/>
            <a:ext cx="457200" cy="457200"/>
            <a:chOff x="719" y="802"/>
            <a:chExt cx="3101" cy="3101"/>
          </a:xfrm>
          <a:solidFill>
            <a:schemeClr val="accent1"/>
          </a:solidFill>
        </p:grpSpPr>
        <p:sp>
          <p:nvSpPr>
            <p:cNvPr id="203" name="Freeform 199"/>
            <p:cNvSpPr>
              <a:spLocks noEditPoints="1"/>
            </p:cNvSpPr>
            <p:nvPr/>
          </p:nvSpPr>
          <p:spPr bwMode="auto">
            <a:xfrm>
              <a:off x="2209" y="1226"/>
              <a:ext cx="1187" cy="2253"/>
            </a:xfrm>
            <a:custGeom>
              <a:avLst/>
              <a:gdLst>
                <a:gd name="T0" fmla="*/ 627 w 627"/>
                <a:gd name="T1" fmla="*/ 495 h 1190"/>
                <a:gd name="T2" fmla="*/ 600 w 627"/>
                <a:gd name="T3" fmla="*/ 463 h 1190"/>
                <a:gd name="T4" fmla="*/ 521 w 627"/>
                <a:gd name="T5" fmla="*/ 450 h 1190"/>
                <a:gd name="T6" fmla="*/ 480 w 627"/>
                <a:gd name="T7" fmla="*/ 352 h 1190"/>
                <a:gd name="T8" fmla="*/ 527 w 627"/>
                <a:gd name="T9" fmla="*/ 287 h 1190"/>
                <a:gd name="T10" fmla="*/ 524 w 627"/>
                <a:gd name="T11" fmla="*/ 245 h 1190"/>
                <a:gd name="T12" fmla="*/ 382 w 627"/>
                <a:gd name="T13" fmla="*/ 103 h 1190"/>
                <a:gd name="T14" fmla="*/ 340 w 627"/>
                <a:gd name="T15" fmla="*/ 100 h 1190"/>
                <a:gd name="T16" fmla="*/ 275 w 627"/>
                <a:gd name="T17" fmla="*/ 147 h 1190"/>
                <a:gd name="T18" fmla="*/ 177 w 627"/>
                <a:gd name="T19" fmla="*/ 106 h 1190"/>
                <a:gd name="T20" fmla="*/ 164 w 627"/>
                <a:gd name="T21" fmla="*/ 27 h 1190"/>
                <a:gd name="T22" fmla="*/ 132 w 627"/>
                <a:gd name="T23" fmla="*/ 0 h 1190"/>
                <a:gd name="T24" fmla="*/ 32 w 627"/>
                <a:gd name="T25" fmla="*/ 0 h 1190"/>
                <a:gd name="T26" fmla="*/ 0 w 627"/>
                <a:gd name="T27" fmla="*/ 32 h 1190"/>
                <a:gd name="T28" fmla="*/ 32 w 627"/>
                <a:gd name="T29" fmla="*/ 64 h 1190"/>
                <a:gd name="T30" fmla="*/ 105 w 627"/>
                <a:gd name="T31" fmla="*/ 64 h 1190"/>
                <a:gd name="T32" fmla="*/ 116 w 627"/>
                <a:gd name="T33" fmla="*/ 134 h 1190"/>
                <a:gd name="T34" fmla="*/ 136 w 627"/>
                <a:gd name="T35" fmla="*/ 159 h 1190"/>
                <a:gd name="T36" fmla="*/ 267 w 627"/>
                <a:gd name="T37" fmla="*/ 213 h 1190"/>
                <a:gd name="T38" fmla="*/ 299 w 627"/>
                <a:gd name="T39" fmla="*/ 210 h 1190"/>
                <a:gd name="T40" fmla="*/ 356 w 627"/>
                <a:gd name="T41" fmla="*/ 168 h 1190"/>
                <a:gd name="T42" fmla="*/ 459 w 627"/>
                <a:gd name="T43" fmla="*/ 271 h 1190"/>
                <a:gd name="T44" fmla="*/ 418 w 627"/>
                <a:gd name="T45" fmla="*/ 329 h 1190"/>
                <a:gd name="T46" fmla="*/ 414 w 627"/>
                <a:gd name="T47" fmla="*/ 360 h 1190"/>
                <a:gd name="T48" fmla="*/ 469 w 627"/>
                <a:gd name="T49" fmla="*/ 491 h 1190"/>
                <a:gd name="T50" fmla="*/ 493 w 627"/>
                <a:gd name="T51" fmla="*/ 511 h 1190"/>
                <a:gd name="T52" fmla="*/ 563 w 627"/>
                <a:gd name="T53" fmla="*/ 522 h 1190"/>
                <a:gd name="T54" fmla="*/ 563 w 627"/>
                <a:gd name="T55" fmla="*/ 668 h 1190"/>
                <a:gd name="T56" fmla="*/ 493 w 627"/>
                <a:gd name="T57" fmla="*/ 679 h 1190"/>
                <a:gd name="T58" fmla="*/ 469 w 627"/>
                <a:gd name="T59" fmla="*/ 699 h 1190"/>
                <a:gd name="T60" fmla="*/ 414 w 627"/>
                <a:gd name="T61" fmla="*/ 830 h 1190"/>
                <a:gd name="T62" fmla="*/ 418 w 627"/>
                <a:gd name="T63" fmla="*/ 862 h 1190"/>
                <a:gd name="T64" fmla="*/ 460 w 627"/>
                <a:gd name="T65" fmla="*/ 919 h 1190"/>
                <a:gd name="T66" fmla="*/ 356 w 627"/>
                <a:gd name="T67" fmla="*/ 1022 h 1190"/>
                <a:gd name="T68" fmla="*/ 299 w 627"/>
                <a:gd name="T69" fmla="*/ 981 h 1190"/>
                <a:gd name="T70" fmla="*/ 268 w 627"/>
                <a:gd name="T71" fmla="*/ 977 h 1190"/>
                <a:gd name="T72" fmla="*/ 136 w 627"/>
                <a:gd name="T73" fmla="*/ 1032 h 1190"/>
                <a:gd name="T74" fmla="*/ 117 w 627"/>
                <a:gd name="T75" fmla="*/ 1056 h 1190"/>
                <a:gd name="T76" fmla="*/ 105 w 627"/>
                <a:gd name="T77" fmla="*/ 1126 h 1190"/>
                <a:gd name="T78" fmla="*/ 32 w 627"/>
                <a:gd name="T79" fmla="*/ 1126 h 1190"/>
                <a:gd name="T80" fmla="*/ 0 w 627"/>
                <a:gd name="T81" fmla="*/ 1158 h 1190"/>
                <a:gd name="T82" fmla="*/ 32 w 627"/>
                <a:gd name="T83" fmla="*/ 1190 h 1190"/>
                <a:gd name="T84" fmla="*/ 133 w 627"/>
                <a:gd name="T85" fmla="*/ 1190 h 1190"/>
                <a:gd name="T86" fmla="*/ 164 w 627"/>
                <a:gd name="T87" fmla="*/ 1163 h 1190"/>
                <a:gd name="T88" fmla="*/ 177 w 627"/>
                <a:gd name="T89" fmla="*/ 1084 h 1190"/>
                <a:gd name="T90" fmla="*/ 276 w 627"/>
                <a:gd name="T91" fmla="*/ 1043 h 1190"/>
                <a:gd name="T92" fmla="*/ 341 w 627"/>
                <a:gd name="T93" fmla="*/ 1090 h 1190"/>
                <a:gd name="T94" fmla="*/ 382 w 627"/>
                <a:gd name="T95" fmla="*/ 1087 h 1190"/>
                <a:gd name="T96" fmla="*/ 524 w 627"/>
                <a:gd name="T97" fmla="*/ 945 h 1190"/>
                <a:gd name="T98" fmla="*/ 527 w 627"/>
                <a:gd name="T99" fmla="*/ 903 h 1190"/>
                <a:gd name="T100" fmla="*/ 480 w 627"/>
                <a:gd name="T101" fmla="*/ 838 h 1190"/>
                <a:gd name="T102" fmla="*/ 521 w 627"/>
                <a:gd name="T103" fmla="*/ 740 h 1190"/>
                <a:gd name="T104" fmla="*/ 600 w 627"/>
                <a:gd name="T105" fmla="*/ 727 h 1190"/>
                <a:gd name="T106" fmla="*/ 627 w 627"/>
                <a:gd name="T107" fmla="*/ 695 h 1190"/>
                <a:gd name="T108" fmla="*/ 627 w 627"/>
                <a:gd name="T109" fmla="*/ 495 h 1190"/>
                <a:gd name="T110" fmla="*/ 627 w 627"/>
                <a:gd name="T111" fmla="*/ 495 h 1190"/>
                <a:gd name="T112" fmla="*/ 627 w 627"/>
                <a:gd name="T113" fmla="*/ 495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7" h="1190">
                  <a:moveTo>
                    <a:pt x="627" y="495"/>
                  </a:moveTo>
                  <a:cubicBezTo>
                    <a:pt x="627" y="479"/>
                    <a:pt x="616" y="465"/>
                    <a:pt x="600" y="463"/>
                  </a:cubicBezTo>
                  <a:cubicBezTo>
                    <a:pt x="521" y="450"/>
                    <a:pt x="521" y="450"/>
                    <a:pt x="521" y="450"/>
                  </a:cubicBezTo>
                  <a:cubicBezTo>
                    <a:pt x="480" y="352"/>
                    <a:pt x="480" y="352"/>
                    <a:pt x="480" y="352"/>
                  </a:cubicBezTo>
                  <a:cubicBezTo>
                    <a:pt x="527" y="287"/>
                    <a:pt x="527" y="287"/>
                    <a:pt x="527" y="287"/>
                  </a:cubicBezTo>
                  <a:cubicBezTo>
                    <a:pt x="536" y="274"/>
                    <a:pt x="535" y="256"/>
                    <a:pt x="524" y="245"/>
                  </a:cubicBezTo>
                  <a:cubicBezTo>
                    <a:pt x="382" y="103"/>
                    <a:pt x="382" y="103"/>
                    <a:pt x="382" y="103"/>
                  </a:cubicBezTo>
                  <a:cubicBezTo>
                    <a:pt x="371" y="92"/>
                    <a:pt x="353" y="91"/>
                    <a:pt x="340" y="100"/>
                  </a:cubicBezTo>
                  <a:cubicBezTo>
                    <a:pt x="275" y="147"/>
                    <a:pt x="275" y="147"/>
                    <a:pt x="275" y="147"/>
                  </a:cubicBezTo>
                  <a:cubicBezTo>
                    <a:pt x="177" y="106"/>
                    <a:pt x="177" y="106"/>
                    <a:pt x="177" y="106"/>
                  </a:cubicBezTo>
                  <a:cubicBezTo>
                    <a:pt x="164" y="27"/>
                    <a:pt x="164" y="27"/>
                    <a:pt x="164" y="27"/>
                  </a:cubicBezTo>
                  <a:cubicBezTo>
                    <a:pt x="162" y="11"/>
                    <a:pt x="148" y="0"/>
                    <a:pt x="132" y="0"/>
                  </a:cubicBezTo>
                  <a:cubicBezTo>
                    <a:pt x="32" y="0"/>
                    <a:pt x="32" y="0"/>
                    <a:pt x="32" y="0"/>
                  </a:cubicBezTo>
                  <a:cubicBezTo>
                    <a:pt x="15" y="0"/>
                    <a:pt x="0" y="14"/>
                    <a:pt x="0" y="32"/>
                  </a:cubicBezTo>
                  <a:cubicBezTo>
                    <a:pt x="0" y="50"/>
                    <a:pt x="15" y="64"/>
                    <a:pt x="32" y="64"/>
                  </a:cubicBezTo>
                  <a:cubicBezTo>
                    <a:pt x="105" y="64"/>
                    <a:pt x="105" y="64"/>
                    <a:pt x="105" y="64"/>
                  </a:cubicBezTo>
                  <a:cubicBezTo>
                    <a:pt x="116" y="134"/>
                    <a:pt x="116" y="134"/>
                    <a:pt x="116" y="134"/>
                  </a:cubicBezTo>
                  <a:cubicBezTo>
                    <a:pt x="118" y="145"/>
                    <a:pt x="125" y="154"/>
                    <a:pt x="136" y="159"/>
                  </a:cubicBezTo>
                  <a:cubicBezTo>
                    <a:pt x="267" y="213"/>
                    <a:pt x="267" y="213"/>
                    <a:pt x="267" y="213"/>
                  </a:cubicBezTo>
                  <a:cubicBezTo>
                    <a:pt x="278" y="217"/>
                    <a:pt x="290" y="216"/>
                    <a:pt x="299" y="210"/>
                  </a:cubicBezTo>
                  <a:cubicBezTo>
                    <a:pt x="356" y="168"/>
                    <a:pt x="356" y="168"/>
                    <a:pt x="356" y="168"/>
                  </a:cubicBezTo>
                  <a:cubicBezTo>
                    <a:pt x="459" y="271"/>
                    <a:pt x="459" y="271"/>
                    <a:pt x="459" y="271"/>
                  </a:cubicBezTo>
                  <a:cubicBezTo>
                    <a:pt x="418" y="329"/>
                    <a:pt x="418" y="329"/>
                    <a:pt x="418" y="329"/>
                  </a:cubicBezTo>
                  <a:cubicBezTo>
                    <a:pt x="411" y="338"/>
                    <a:pt x="410" y="349"/>
                    <a:pt x="414" y="360"/>
                  </a:cubicBezTo>
                  <a:cubicBezTo>
                    <a:pt x="469" y="491"/>
                    <a:pt x="469" y="491"/>
                    <a:pt x="469" y="491"/>
                  </a:cubicBezTo>
                  <a:cubicBezTo>
                    <a:pt x="473" y="502"/>
                    <a:pt x="482" y="509"/>
                    <a:pt x="493" y="511"/>
                  </a:cubicBezTo>
                  <a:cubicBezTo>
                    <a:pt x="563" y="522"/>
                    <a:pt x="563" y="522"/>
                    <a:pt x="563" y="522"/>
                  </a:cubicBezTo>
                  <a:cubicBezTo>
                    <a:pt x="563" y="668"/>
                    <a:pt x="563" y="668"/>
                    <a:pt x="563" y="668"/>
                  </a:cubicBezTo>
                  <a:cubicBezTo>
                    <a:pt x="493" y="679"/>
                    <a:pt x="493" y="679"/>
                    <a:pt x="493" y="679"/>
                  </a:cubicBezTo>
                  <a:cubicBezTo>
                    <a:pt x="482" y="681"/>
                    <a:pt x="473" y="688"/>
                    <a:pt x="469" y="699"/>
                  </a:cubicBezTo>
                  <a:cubicBezTo>
                    <a:pt x="414" y="830"/>
                    <a:pt x="414" y="830"/>
                    <a:pt x="414" y="830"/>
                  </a:cubicBezTo>
                  <a:cubicBezTo>
                    <a:pt x="410" y="841"/>
                    <a:pt x="411" y="853"/>
                    <a:pt x="418" y="862"/>
                  </a:cubicBezTo>
                  <a:cubicBezTo>
                    <a:pt x="460" y="919"/>
                    <a:pt x="460" y="919"/>
                    <a:pt x="460" y="919"/>
                  </a:cubicBezTo>
                  <a:cubicBezTo>
                    <a:pt x="356" y="1022"/>
                    <a:pt x="356" y="1022"/>
                    <a:pt x="356" y="1022"/>
                  </a:cubicBezTo>
                  <a:cubicBezTo>
                    <a:pt x="299" y="981"/>
                    <a:pt x="299" y="981"/>
                    <a:pt x="299" y="981"/>
                  </a:cubicBezTo>
                  <a:cubicBezTo>
                    <a:pt x="290" y="974"/>
                    <a:pt x="278" y="973"/>
                    <a:pt x="268" y="977"/>
                  </a:cubicBezTo>
                  <a:cubicBezTo>
                    <a:pt x="136" y="1032"/>
                    <a:pt x="136" y="1032"/>
                    <a:pt x="136" y="1032"/>
                  </a:cubicBezTo>
                  <a:cubicBezTo>
                    <a:pt x="126" y="1036"/>
                    <a:pt x="118" y="1045"/>
                    <a:pt x="117" y="1056"/>
                  </a:cubicBezTo>
                  <a:cubicBezTo>
                    <a:pt x="105" y="1126"/>
                    <a:pt x="105" y="1126"/>
                    <a:pt x="105" y="1126"/>
                  </a:cubicBezTo>
                  <a:cubicBezTo>
                    <a:pt x="32" y="1126"/>
                    <a:pt x="32" y="1126"/>
                    <a:pt x="32" y="1126"/>
                  </a:cubicBezTo>
                  <a:cubicBezTo>
                    <a:pt x="15" y="1126"/>
                    <a:pt x="0" y="1141"/>
                    <a:pt x="0" y="1158"/>
                  </a:cubicBezTo>
                  <a:cubicBezTo>
                    <a:pt x="0" y="1176"/>
                    <a:pt x="15" y="1190"/>
                    <a:pt x="32" y="1190"/>
                  </a:cubicBezTo>
                  <a:cubicBezTo>
                    <a:pt x="133" y="1190"/>
                    <a:pt x="133" y="1190"/>
                    <a:pt x="133" y="1190"/>
                  </a:cubicBezTo>
                  <a:cubicBezTo>
                    <a:pt x="149" y="1190"/>
                    <a:pt x="162" y="1179"/>
                    <a:pt x="164" y="1163"/>
                  </a:cubicBezTo>
                  <a:cubicBezTo>
                    <a:pt x="177" y="1084"/>
                    <a:pt x="177" y="1084"/>
                    <a:pt x="177" y="1084"/>
                  </a:cubicBezTo>
                  <a:cubicBezTo>
                    <a:pt x="276" y="1043"/>
                    <a:pt x="276" y="1043"/>
                    <a:pt x="276" y="1043"/>
                  </a:cubicBezTo>
                  <a:cubicBezTo>
                    <a:pt x="341" y="1090"/>
                    <a:pt x="341" y="1090"/>
                    <a:pt x="341" y="1090"/>
                  </a:cubicBezTo>
                  <a:cubicBezTo>
                    <a:pt x="354" y="1099"/>
                    <a:pt x="371" y="1098"/>
                    <a:pt x="382" y="1087"/>
                  </a:cubicBezTo>
                  <a:cubicBezTo>
                    <a:pt x="524" y="945"/>
                    <a:pt x="524" y="945"/>
                    <a:pt x="524" y="945"/>
                  </a:cubicBezTo>
                  <a:cubicBezTo>
                    <a:pt x="535" y="934"/>
                    <a:pt x="537" y="916"/>
                    <a:pt x="527" y="903"/>
                  </a:cubicBezTo>
                  <a:cubicBezTo>
                    <a:pt x="480" y="838"/>
                    <a:pt x="480" y="838"/>
                    <a:pt x="480" y="838"/>
                  </a:cubicBezTo>
                  <a:cubicBezTo>
                    <a:pt x="521" y="740"/>
                    <a:pt x="521" y="740"/>
                    <a:pt x="521" y="740"/>
                  </a:cubicBezTo>
                  <a:cubicBezTo>
                    <a:pt x="600" y="727"/>
                    <a:pt x="600" y="727"/>
                    <a:pt x="600" y="727"/>
                  </a:cubicBezTo>
                  <a:cubicBezTo>
                    <a:pt x="616" y="724"/>
                    <a:pt x="627" y="711"/>
                    <a:pt x="627" y="695"/>
                  </a:cubicBezTo>
                  <a:lnTo>
                    <a:pt x="627" y="495"/>
                  </a:lnTo>
                  <a:close/>
                  <a:moveTo>
                    <a:pt x="627" y="495"/>
                  </a:moveTo>
                  <a:cubicBezTo>
                    <a:pt x="627" y="495"/>
                    <a:pt x="627" y="495"/>
                    <a:pt x="627"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200"/>
            <p:cNvSpPr>
              <a:spLocks noEditPoints="1"/>
            </p:cNvSpPr>
            <p:nvPr/>
          </p:nvSpPr>
          <p:spPr bwMode="auto">
            <a:xfrm>
              <a:off x="2209" y="2748"/>
              <a:ext cx="123" cy="123"/>
            </a:xfrm>
            <a:custGeom>
              <a:avLst/>
              <a:gdLst>
                <a:gd name="T0" fmla="*/ 32 w 65"/>
                <a:gd name="T1" fmla="*/ 1 h 65"/>
                <a:gd name="T2" fmla="*/ 0 w 65"/>
                <a:gd name="T3" fmla="*/ 33 h 65"/>
                <a:gd name="T4" fmla="*/ 32 w 65"/>
                <a:gd name="T5" fmla="*/ 65 h 65"/>
                <a:gd name="T6" fmla="*/ 34 w 65"/>
                <a:gd name="T7" fmla="*/ 65 h 65"/>
                <a:gd name="T8" fmla="*/ 64 w 65"/>
                <a:gd name="T9" fmla="*/ 31 h 65"/>
                <a:gd name="T10" fmla="*/ 32 w 65"/>
                <a:gd name="T11" fmla="*/ 1 h 65"/>
                <a:gd name="T12" fmla="*/ 32 w 65"/>
                <a:gd name="T13" fmla="*/ 1 h 65"/>
                <a:gd name="T14" fmla="*/ 32 w 65"/>
                <a:gd name="T15" fmla="*/ 1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5">
                  <a:moveTo>
                    <a:pt x="32" y="1"/>
                  </a:moveTo>
                  <a:cubicBezTo>
                    <a:pt x="14" y="1"/>
                    <a:pt x="0" y="15"/>
                    <a:pt x="0" y="33"/>
                  </a:cubicBezTo>
                  <a:cubicBezTo>
                    <a:pt x="0" y="50"/>
                    <a:pt x="15" y="65"/>
                    <a:pt x="32" y="65"/>
                  </a:cubicBezTo>
                  <a:cubicBezTo>
                    <a:pt x="33" y="65"/>
                    <a:pt x="33" y="65"/>
                    <a:pt x="34" y="65"/>
                  </a:cubicBezTo>
                  <a:cubicBezTo>
                    <a:pt x="51" y="64"/>
                    <a:pt x="65" y="49"/>
                    <a:pt x="64" y="31"/>
                  </a:cubicBezTo>
                  <a:cubicBezTo>
                    <a:pt x="64" y="14"/>
                    <a:pt x="49" y="0"/>
                    <a:pt x="32" y="1"/>
                  </a:cubicBezTo>
                  <a:close/>
                  <a:moveTo>
                    <a:pt x="32" y="1"/>
                  </a:moveTo>
                  <a:cubicBezTo>
                    <a:pt x="32" y="1"/>
                    <a:pt x="32" y="1"/>
                    <a:pt x="3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01"/>
            <p:cNvSpPr>
              <a:spLocks noEditPoints="1"/>
            </p:cNvSpPr>
            <p:nvPr/>
          </p:nvSpPr>
          <p:spPr bwMode="auto">
            <a:xfrm>
              <a:off x="2209" y="1836"/>
              <a:ext cx="579" cy="982"/>
            </a:xfrm>
            <a:custGeom>
              <a:avLst/>
              <a:gdLst>
                <a:gd name="T0" fmla="*/ 32 w 306"/>
                <a:gd name="T1" fmla="*/ 0 h 519"/>
                <a:gd name="T2" fmla="*/ 0 w 306"/>
                <a:gd name="T3" fmla="*/ 32 h 519"/>
                <a:gd name="T4" fmla="*/ 32 w 306"/>
                <a:gd name="T5" fmla="*/ 64 h 519"/>
                <a:gd name="T6" fmla="*/ 242 w 306"/>
                <a:gd name="T7" fmla="*/ 273 h 519"/>
                <a:gd name="T8" fmla="*/ 130 w 306"/>
                <a:gd name="T9" fmla="*/ 459 h 519"/>
                <a:gd name="T10" fmla="*/ 116 w 306"/>
                <a:gd name="T11" fmla="*/ 502 h 519"/>
                <a:gd name="T12" fmla="*/ 145 w 306"/>
                <a:gd name="T13" fmla="*/ 519 h 519"/>
                <a:gd name="T14" fmla="*/ 160 w 306"/>
                <a:gd name="T15" fmla="*/ 515 h 519"/>
                <a:gd name="T16" fmla="*/ 306 w 306"/>
                <a:gd name="T17" fmla="*/ 273 h 519"/>
                <a:gd name="T18" fmla="*/ 32 w 306"/>
                <a:gd name="T19" fmla="*/ 0 h 519"/>
                <a:gd name="T20" fmla="*/ 32 w 306"/>
                <a:gd name="T21" fmla="*/ 0 h 519"/>
                <a:gd name="T22" fmla="*/ 32 w 306"/>
                <a:gd name="T23"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6" h="519">
                  <a:moveTo>
                    <a:pt x="32" y="0"/>
                  </a:moveTo>
                  <a:cubicBezTo>
                    <a:pt x="15" y="0"/>
                    <a:pt x="0" y="14"/>
                    <a:pt x="0" y="32"/>
                  </a:cubicBezTo>
                  <a:cubicBezTo>
                    <a:pt x="0" y="49"/>
                    <a:pt x="15" y="64"/>
                    <a:pt x="32" y="64"/>
                  </a:cubicBezTo>
                  <a:cubicBezTo>
                    <a:pt x="148" y="64"/>
                    <a:pt x="242" y="158"/>
                    <a:pt x="242" y="273"/>
                  </a:cubicBezTo>
                  <a:cubicBezTo>
                    <a:pt x="242" y="351"/>
                    <a:pt x="199" y="422"/>
                    <a:pt x="130" y="459"/>
                  </a:cubicBezTo>
                  <a:cubicBezTo>
                    <a:pt x="114" y="467"/>
                    <a:pt x="108" y="486"/>
                    <a:pt x="116" y="502"/>
                  </a:cubicBezTo>
                  <a:cubicBezTo>
                    <a:pt x="122" y="513"/>
                    <a:pt x="133" y="519"/>
                    <a:pt x="145" y="519"/>
                  </a:cubicBezTo>
                  <a:cubicBezTo>
                    <a:pt x="150" y="519"/>
                    <a:pt x="155" y="518"/>
                    <a:pt x="160" y="515"/>
                  </a:cubicBezTo>
                  <a:cubicBezTo>
                    <a:pt x="250" y="468"/>
                    <a:pt x="306" y="375"/>
                    <a:pt x="306" y="273"/>
                  </a:cubicBezTo>
                  <a:cubicBezTo>
                    <a:pt x="306" y="122"/>
                    <a:pt x="18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02"/>
            <p:cNvSpPr>
              <a:spLocks noEditPoints="1"/>
            </p:cNvSpPr>
            <p:nvPr/>
          </p:nvSpPr>
          <p:spPr bwMode="auto">
            <a:xfrm>
              <a:off x="719" y="3492"/>
              <a:ext cx="413" cy="411"/>
            </a:xfrm>
            <a:custGeom>
              <a:avLst/>
              <a:gdLst>
                <a:gd name="T0" fmla="*/ 186 w 218"/>
                <a:gd name="T1" fmla="*/ 0 h 217"/>
                <a:gd name="T2" fmla="*/ 32 w 218"/>
                <a:gd name="T3" fmla="*/ 0 h 217"/>
                <a:gd name="T4" fmla="*/ 0 w 218"/>
                <a:gd name="T5" fmla="*/ 32 h 217"/>
                <a:gd name="T6" fmla="*/ 0 w 218"/>
                <a:gd name="T7" fmla="*/ 185 h 217"/>
                <a:gd name="T8" fmla="*/ 32 w 218"/>
                <a:gd name="T9" fmla="*/ 217 h 217"/>
                <a:gd name="T10" fmla="*/ 186 w 218"/>
                <a:gd name="T11" fmla="*/ 217 h 217"/>
                <a:gd name="T12" fmla="*/ 218 w 218"/>
                <a:gd name="T13" fmla="*/ 185 h 217"/>
                <a:gd name="T14" fmla="*/ 218 w 218"/>
                <a:gd name="T15" fmla="*/ 32 h 217"/>
                <a:gd name="T16" fmla="*/ 186 w 218"/>
                <a:gd name="T17" fmla="*/ 0 h 217"/>
                <a:gd name="T18" fmla="*/ 154 w 218"/>
                <a:gd name="T19" fmla="*/ 153 h 217"/>
                <a:gd name="T20" fmla="*/ 64 w 218"/>
                <a:gd name="T21" fmla="*/ 153 h 217"/>
                <a:gd name="T22" fmla="*/ 64 w 218"/>
                <a:gd name="T23" fmla="*/ 64 h 217"/>
                <a:gd name="T24" fmla="*/ 154 w 218"/>
                <a:gd name="T25" fmla="*/ 64 h 217"/>
                <a:gd name="T26" fmla="*/ 154 w 218"/>
                <a:gd name="T27" fmla="*/ 153 h 217"/>
                <a:gd name="T28" fmla="*/ 154 w 218"/>
                <a:gd name="T29" fmla="*/ 153 h 217"/>
                <a:gd name="T30" fmla="*/ 154 w 218"/>
                <a:gd name="T31" fmla="*/ 15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 h="217">
                  <a:moveTo>
                    <a:pt x="186" y="0"/>
                  </a:moveTo>
                  <a:cubicBezTo>
                    <a:pt x="32" y="0"/>
                    <a:pt x="32" y="0"/>
                    <a:pt x="32" y="0"/>
                  </a:cubicBezTo>
                  <a:cubicBezTo>
                    <a:pt x="14" y="0"/>
                    <a:pt x="0" y="14"/>
                    <a:pt x="0" y="32"/>
                  </a:cubicBezTo>
                  <a:cubicBezTo>
                    <a:pt x="0" y="185"/>
                    <a:pt x="0" y="185"/>
                    <a:pt x="0" y="185"/>
                  </a:cubicBezTo>
                  <a:cubicBezTo>
                    <a:pt x="0" y="203"/>
                    <a:pt x="14" y="217"/>
                    <a:pt x="32" y="217"/>
                  </a:cubicBezTo>
                  <a:cubicBezTo>
                    <a:pt x="186" y="217"/>
                    <a:pt x="186" y="217"/>
                    <a:pt x="186" y="217"/>
                  </a:cubicBezTo>
                  <a:cubicBezTo>
                    <a:pt x="203" y="217"/>
                    <a:pt x="218" y="203"/>
                    <a:pt x="218" y="185"/>
                  </a:cubicBezTo>
                  <a:cubicBezTo>
                    <a:pt x="218" y="32"/>
                    <a:pt x="218" y="32"/>
                    <a:pt x="218" y="32"/>
                  </a:cubicBezTo>
                  <a:cubicBezTo>
                    <a:pt x="218" y="14"/>
                    <a:pt x="203" y="0"/>
                    <a:pt x="186" y="0"/>
                  </a:cubicBezTo>
                  <a:close/>
                  <a:moveTo>
                    <a:pt x="154" y="153"/>
                  </a:moveTo>
                  <a:cubicBezTo>
                    <a:pt x="64" y="153"/>
                    <a:pt x="64" y="153"/>
                    <a:pt x="64" y="153"/>
                  </a:cubicBezTo>
                  <a:cubicBezTo>
                    <a:pt x="64" y="64"/>
                    <a:pt x="64" y="64"/>
                    <a:pt x="64" y="64"/>
                  </a:cubicBezTo>
                  <a:cubicBezTo>
                    <a:pt x="154" y="64"/>
                    <a:pt x="154" y="64"/>
                    <a:pt x="154" y="64"/>
                  </a:cubicBezTo>
                  <a:lnTo>
                    <a:pt x="154" y="153"/>
                  </a:lnTo>
                  <a:close/>
                  <a:moveTo>
                    <a:pt x="154" y="153"/>
                  </a:moveTo>
                  <a:cubicBezTo>
                    <a:pt x="154" y="153"/>
                    <a:pt x="154" y="153"/>
                    <a:pt x="154" y="1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03"/>
            <p:cNvSpPr>
              <a:spLocks noEditPoints="1"/>
            </p:cNvSpPr>
            <p:nvPr/>
          </p:nvSpPr>
          <p:spPr bwMode="auto">
            <a:xfrm>
              <a:off x="3409" y="3492"/>
              <a:ext cx="411" cy="411"/>
            </a:xfrm>
            <a:custGeom>
              <a:avLst/>
              <a:gdLst>
                <a:gd name="T0" fmla="*/ 185 w 217"/>
                <a:gd name="T1" fmla="*/ 0 h 217"/>
                <a:gd name="T2" fmla="*/ 32 w 217"/>
                <a:gd name="T3" fmla="*/ 0 h 217"/>
                <a:gd name="T4" fmla="*/ 0 w 217"/>
                <a:gd name="T5" fmla="*/ 32 h 217"/>
                <a:gd name="T6" fmla="*/ 0 w 217"/>
                <a:gd name="T7" fmla="*/ 185 h 217"/>
                <a:gd name="T8" fmla="*/ 32 w 217"/>
                <a:gd name="T9" fmla="*/ 217 h 217"/>
                <a:gd name="T10" fmla="*/ 185 w 217"/>
                <a:gd name="T11" fmla="*/ 217 h 217"/>
                <a:gd name="T12" fmla="*/ 217 w 217"/>
                <a:gd name="T13" fmla="*/ 185 h 217"/>
                <a:gd name="T14" fmla="*/ 217 w 217"/>
                <a:gd name="T15" fmla="*/ 32 h 217"/>
                <a:gd name="T16" fmla="*/ 185 w 217"/>
                <a:gd name="T17" fmla="*/ 0 h 217"/>
                <a:gd name="T18" fmla="*/ 153 w 217"/>
                <a:gd name="T19" fmla="*/ 153 h 217"/>
                <a:gd name="T20" fmla="*/ 64 w 217"/>
                <a:gd name="T21" fmla="*/ 153 h 217"/>
                <a:gd name="T22" fmla="*/ 64 w 217"/>
                <a:gd name="T23" fmla="*/ 64 h 217"/>
                <a:gd name="T24" fmla="*/ 153 w 217"/>
                <a:gd name="T25" fmla="*/ 64 h 217"/>
                <a:gd name="T26" fmla="*/ 153 w 217"/>
                <a:gd name="T27" fmla="*/ 153 h 217"/>
                <a:gd name="T28" fmla="*/ 153 w 217"/>
                <a:gd name="T29" fmla="*/ 153 h 217"/>
                <a:gd name="T30" fmla="*/ 153 w 217"/>
                <a:gd name="T31" fmla="*/ 15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7" h="217">
                  <a:moveTo>
                    <a:pt x="185" y="0"/>
                  </a:moveTo>
                  <a:cubicBezTo>
                    <a:pt x="32" y="0"/>
                    <a:pt x="32" y="0"/>
                    <a:pt x="32" y="0"/>
                  </a:cubicBezTo>
                  <a:cubicBezTo>
                    <a:pt x="14" y="0"/>
                    <a:pt x="0" y="14"/>
                    <a:pt x="0" y="32"/>
                  </a:cubicBezTo>
                  <a:cubicBezTo>
                    <a:pt x="0" y="185"/>
                    <a:pt x="0" y="185"/>
                    <a:pt x="0" y="185"/>
                  </a:cubicBezTo>
                  <a:cubicBezTo>
                    <a:pt x="0" y="203"/>
                    <a:pt x="14" y="217"/>
                    <a:pt x="32" y="217"/>
                  </a:cubicBezTo>
                  <a:cubicBezTo>
                    <a:pt x="185" y="217"/>
                    <a:pt x="185" y="217"/>
                    <a:pt x="185" y="217"/>
                  </a:cubicBezTo>
                  <a:cubicBezTo>
                    <a:pt x="203" y="217"/>
                    <a:pt x="217" y="203"/>
                    <a:pt x="217" y="185"/>
                  </a:cubicBezTo>
                  <a:cubicBezTo>
                    <a:pt x="217" y="32"/>
                    <a:pt x="217" y="32"/>
                    <a:pt x="217" y="32"/>
                  </a:cubicBezTo>
                  <a:cubicBezTo>
                    <a:pt x="217" y="14"/>
                    <a:pt x="203" y="0"/>
                    <a:pt x="185" y="0"/>
                  </a:cubicBezTo>
                  <a:close/>
                  <a:moveTo>
                    <a:pt x="153" y="153"/>
                  </a:moveTo>
                  <a:cubicBezTo>
                    <a:pt x="64" y="153"/>
                    <a:pt x="64" y="153"/>
                    <a:pt x="64" y="153"/>
                  </a:cubicBezTo>
                  <a:cubicBezTo>
                    <a:pt x="64" y="64"/>
                    <a:pt x="64" y="64"/>
                    <a:pt x="64" y="64"/>
                  </a:cubicBezTo>
                  <a:cubicBezTo>
                    <a:pt x="153" y="64"/>
                    <a:pt x="153" y="64"/>
                    <a:pt x="153" y="64"/>
                  </a:cubicBezTo>
                  <a:lnTo>
                    <a:pt x="153" y="153"/>
                  </a:lnTo>
                  <a:close/>
                  <a:moveTo>
                    <a:pt x="153" y="153"/>
                  </a:moveTo>
                  <a:cubicBezTo>
                    <a:pt x="153" y="153"/>
                    <a:pt x="153" y="153"/>
                    <a:pt x="153" y="1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04"/>
            <p:cNvSpPr>
              <a:spLocks noEditPoints="1"/>
            </p:cNvSpPr>
            <p:nvPr/>
          </p:nvSpPr>
          <p:spPr bwMode="auto">
            <a:xfrm>
              <a:off x="719" y="802"/>
              <a:ext cx="413" cy="413"/>
            </a:xfrm>
            <a:custGeom>
              <a:avLst/>
              <a:gdLst>
                <a:gd name="T0" fmla="*/ 186 w 218"/>
                <a:gd name="T1" fmla="*/ 0 h 218"/>
                <a:gd name="T2" fmla="*/ 32 w 218"/>
                <a:gd name="T3" fmla="*/ 0 h 218"/>
                <a:gd name="T4" fmla="*/ 0 w 218"/>
                <a:gd name="T5" fmla="*/ 32 h 218"/>
                <a:gd name="T6" fmla="*/ 0 w 218"/>
                <a:gd name="T7" fmla="*/ 186 h 218"/>
                <a:gd name="T8" fmla="*/ 32 w 218"/>
                <a:gd name="T9" fmla="*/ 218 h 218"/>
                <a:gd name="T10" fmla="*/ 186 w 218"/>
                <a:gd name="T11" fmla="*/ 218 h 218"/>
                <a:gd name="T12" fmla="*/ 218 w 218"/>
                <a:gd name="T13" fmla="*/ 186 h 218"/>
                <a:gd name="T14" fmla="*/ 218 w 218"/>
                <a:gd name="T15" fmla="*/ 32 h 218"/>
                <a:gd name="T16" fmla="*/ 186 w 218"/>
                <a:gd name="T17" fmla="*/ 0 h 218"/>
                <a:gd name="T18" fmla="*/ 154 w 218"/>
                <a:gd name="T19" fmla="*/ 154 h 218"/>
                <a:gd name="T20" fmla="*/ 64 w 218"/>
                <a:gd name="T21" fmla="*/ 154 h 218"/>
                <a:gd name="T22" fmla="*/ 64 w 218"/>
                <a:gd name="T23" fmla="*/ 64 h 218"/>
                <a:gd name="T24" fmla="*/ 154 w 218"/>
                <a:gd name="T25" fmla="*/ 64 h 218"/>
                <a:gd name="T26" fmla="*/ 154 w 218"/>
                <a:gd name="T27" fmla="*/ 154 h 218"/>
                <a:gd name="T28" fmla="*/ 154 w 218"/>
                <a:gd name="T29" fmla="*/ 154 h 218"/>
                <a:gd name="T30" fmla="*/ 154 w 218"/>
                <a:gd name="T31" fmla="*/ 15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 h="218">
                  <a:moveTo>
                    <a:pt x="186" y="0"/>
                  </a:moveTo>
                  <a:cubicBezTo>
                    <a:pt x="32" y="0"/>
                    <a:pt x="32" y="0"/>
                    <a:pt x="32" y="0"/>
                  </a:cubicBezTo>
                  <a:cubicBezTo>
                    <a:pt x="14" y="0"/>
                    <a:pt x="0" y="14"/>
                    <a:pt x="0" y="32"/>
                  </a:cubicBezTo>
                  <a:cubicBezTo>
                    <a:pt x="0" y="186"/>
                    <a:pt x="0" y="186"/>
                    <a:pt x="0" y="186"/>
                  </a:cubicBezTo>
                  <a:cubicBezTo>
                    <a:pt x="0" y="203"/>
                    <a:pt x="14" y="218"/>
                    <a:pt x="32" y="218"/>
                  </a:cubicBezTo>
                  <a:cubicBezTo>
                    <a:pt x="186" y="218"/>
                    <a:pt x="186" y="218"/>
                    <a:pt x="186" y="218"/>
                  </a:cubicBezTo>
                  <a:cubicBezTo>
                    <a:pt x="203" y="218"/>
                    <a:pt x="218" y="203"/>
                    <a:pt x="218" y="186"/>
                  </a:cubicBezTo>
                  <a:cubicBezTo>
                    <a:pt x="218" y="32"/>
                    <a:pt x="218" y="32"/>
                    <a:pt x="218" y="32"/>
                  </a:cubicBezTo>
                  <a:cubicBezTo>
                    <a:pt x="218" y="14"/>
                    <a:pt x="203" y="0"/>
                    <a:pt x="186" y="0"/>
                  </a:cubicBezTo>
                  <a:close/>
                  <a:moveTo>
                    <a:pt x="154" y="154"/>
                  </a:moveTo>
                  <a:cubicBezTo>
                    <a:pt x="64" y="154"/>
                    <a:pt x="64" y="154"/>
                    <a:pt x="64" y="154"/>
                  </a:cubicBezTo>
                  <a:cubicBezTo>
                    <a:pt x="64" y="64"/>
                    <a:pt x="64" y="64"/>
                    <a:pt x="64" y="64"/>
                  </a:cubicBezTo>
                  <a:cubicBezTo>
                    <a:pt x="154" y="64"/>
                    <a:pt x="154" y="64"/>
                    <a:pt x="154" y="64"/>
                  </a:cubicBezTo>
                  <a:lnTo>
                    <a:pt x="154" y="154"/>
                  </a:lnTo>
                  <a:close/>
                  <a:moveTo>
                    <a:pt x="154" y="154"/>
                  </a:moveTo>
                  <a:cubicBezTo>
                    <a:pt x="154" y="154"/>
                    <a:pt x="154" y="154"/>
                    <a:pt x="154"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205"/>
            <p:cNvSpPr>
              <a:spLocks noEditPoints="1"/>
            </p:cNvSpPr>
            <p:nvPr/>
          </p:nvSpPr>
          <p:spPr bwMode="auto">
            <a:xfrm>
              <a:off x="3409" y="802"/>
              <a:ext cx="411" cy="413"/>
            </a:xfrm>
            <a:custGeom>
              <a:avLst/>
              <a:gdLst>
                <a:gd name="T0" fmla="*/ 185 w 217"/>
                <a:gd name="T1" fmla="*/ 0 h 218"/>
                <a:gd name="T2" fmla="*/ 32 w 217"/>
                <a:gd name="T3" fmla="*/ 0 h 218"/>
                <a:gd name="T4" fmla="*/ 0 w 217"/>
                <a:gd name="T5" fmla="*/ 32 h 218"/>
                <a:gd name="T6" fmla="*/ 0 w 217"/>
                <a:gd name="T7" fmla="*/ 186 h 218"/>
                <a:gd name="T8" fmla="*/ 32 w 217"/>
                <a:gd name="T9" fmla="*/ 218 h 218"/>
                <a:gd name="T10" fmla="*/ 185 w 217"/>
                <a:gd name="T11" fmla="*/ 218 h 218"/>
                <a:gd name="T12" fmla="*/ 217 w 217"/>
                <a:gd name="T13" fmla="*/ 186 h 218"/>
                <a:gd name="T14" fmla="*/ 217 w 217"/>
                <a:gd name="T15" fmla="*/ 32 h 218"/>
                <a:gd name="T16" fmla="*/ 185 w 217"/>
                <a:gd name="T17" fmla="*/ 0 h 218"/>
                <a:gd name="T18" fmla="*/ 153 w 217"/>
                <a:gd name="T19" fmla="*/ 154 h 218"/>
                <a:gd name="T20" fmla="*/ 64 w 217"/>
                <a:gd name="T21" fmla="*/ 154 h 218"/>
                <a:gd name="T22" fmla="*/ 64 w 217"/>
                <a:gd name="T23" fmla="*/ 64 h 218"/>
                <a:gd name="T24" fmla="*/ 153 w 217"/>
                <a:gd name="T25" fmla="*/ 64 h 218"/>
                <a:gd name="T26" fmla="*/ 153 w 217"/>
                <a:gd name="T27" fmla="*/ 154 h 218"/>
                <a:gd name="T28" fmla="*/ 153 w 217"/>
                <a:gd name="T29" fmla="*/ 154 h 218"/>
                <a:gd name="T30" fmla="*/ 153 w 217"/>
                <a:gd name="T31" fmla="*/ 15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7" h="218">
                  <a:moveTo>
                    <a:pt x="185" y="0"/>
                  </a:moveTo>
                  <a:cubicBezTo>
                    <a:pt x="32" y="0"/>
                    <a:pt x="32" y="0"/>
                    <a:pt x="32" y="0"/>
                  </a:cubicBezTo>
                  <a:cubicBezTo>
                    <a:pt x="14" y="0"/>
                    <a:pt x="0" y="14"/>
                    <a:pt x="0" y="32"/>
                  </a:cubicBezTo>
                  <a:cubicBezTo>
                    <a:pt x="0" y="186"/>
                    <a:pt x="0" y="186"/>
                    <a:pt x="0" y="186"/>
                  </a:cubicBezTo>
                  <a:cubicBezTo>
                    <a:pt x="0" y="203"/>
                    <a:pt x="14" y="218"/>
                    <a:pt x="32" y="218"/>
                  </a:cubicBezTo>
                  <a:cubicBezTo>
                    <a:pt x="185" y="218"/>
                    <a:pt x="185" y="218"/>
                    <a:pt x="185" y="218"/>
                  </a:cubicBezTo>
                  <a:cubicBezTo>
                    <a:pt x="203" y="218"/>
                    <a:pt x="217" y="203"/>
                    <a:pt x="217" y="186"/>
                  </a:cubicBezTo>
                  <a:cubicBezTo>
                    <a:pt x="217" y="32"/>
                    <a:pt x="217" y="32"/>
                    <a:pt x="217" y="32"/>
                  </a:cubicBezTo>
                  <a:cubicBezTo>
                    <a:pt x="217" y="14"/>
                    <a:pt x="203" y="0"/>
                    <a:pt x="185" y="0"/>
                  </a:cubicBezTo>
                  <a:close/>
                  <a:moveTo>
                    <a:pt x="153" y="154"/>
                  </a:moveTo>
                  <a:cubicBezTo>
                    <a:pt x="64" y="154"/>
                    <a:pt x="64" y="154"/>
                    <a:pt x="64" y="154"/>
                  </a:cubicBezTo>
                  <a:cubicBezTo>
                    <a:pt x="64" y="64"/>
                    <a:pt x="64" y="64"/>
                    <a:pt x="64" y="64"/>
                  </a:cubicBezTo>
                  <a:cubicBezTo>
                    <a:pt x="153" y="64"/>
                    <a:pt x="153" y="64"/>
                    <a:pt x="153" y="64"/>
                  </a:cubicBezTo>
                  <a:lnTo>
                    <a:pt x="153" y="154"/>
                  </a:lnTo>
                  <a:close/>
                  <a:moveTo>
                    <a:pt x="153" y="154"/>
                  </a:moveTo>
                  <a:cubicBezTo>
                    <a:pt x="153" y="154"/>
                    <a:pt x="153" y="154"/>
                    <a:pt x="153"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06"/>
            <p:cNvSpPr>
              <a:spLocks noEditPoints="1"/>
            </p:cNvSpPr>
            <p:nvPr/>
          </p:nvSpPr>
          <p:spPr bwMode="auto">
            <a:xfrm>
              <a:off x="3555" y="3150"/>
              <a:ext cx="121" cy="181"/>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07"/>
            <p:cNvSpPr>
              <a:spLocks noEditPoints="1"/>
            </p:cNvSpPr>
            <p:nvPr/>
          </p:nvSpPr>
          <p:spPr bwMode="auto">
            <a:xfrm>
              <a:off x="3555" y="2847"/>
              <a:ext cx="121" cy="181"/>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208"/>
            <p:cNvSpPr>
              <a:spLocks noEditPoints="1"/>
            </p:cNvSpPr>
            <p:nvPr/>
          </p:nvSpPr>
          <p:spPr bwMode="auto">
            <a:xfrm>
              <a:off x="3555" y="1383"/>
              <a:ext cx="121" cy="131"/>
            </a:xfrm>
            <a:custGeom>
              <a:avLst/>
              <a:gdLst>
                <a:gd name="T0" fmla="*/ 32 w 64"/>
                <a:gd name="T1" fmla="*/ 0 h 69"/>
                <a:gd name="T2" fmla="*/ 0 w 64"/>
                <a:gd name="T3" fmla="*/ 32 h 69"/>
                <a:gd name="T4" fmla="*/ 0 w 64"/>
                <a:gd name="T5" fmla="*/ 37 h 69"/>
                <a:gd name="T6" fmla="*/ 32 w 64"/>
                <a:gd name="T7" fmla="*/ 69 h 69"/>
                <a:gd name="T8" fmla="*/ 64 w 64"/>
                <a:gd name="T9" fmla="*/ 37 h 69"/>
                <a:gd name="T10" fmla="*/ 64 w 64"/>
                <a:gd name="T11" fmla="*/ 32 h 69"/>
                <a:gd name="T12" fmla="*/ 32 w 64"/>
                <a:gd name="T13" fmla="*/ 0 h 69"/>
                <a:gd name="T14" fmla="*/ 32 w 64"/>
                <a:gd name="T15" fmla="*/ 0 h 69"/>
                <a:gd name="T16" fmla="*/ 32 w 64"/>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9">
                  <a:moveTo>
                    <a:pt x="32" y="0"/>
                  </a:moveTo>
                  <a:cubicBezTo>
                    <a:pt x="14" y="0"/>
                    <a:pt x="0" y="15"/>
                    <a:pt x="0" y="32"/>
                  </a:cubicBezTo>
                  <a:cubicBezTo>
                    <a:pt x="0" y="37"/>
                    <a:pt x="0" y="37"/>
                    <a:pt x="0" y="37"/>
                  </a:cubicBezTo>
                  <a:cubicBezTo>
                    <a:pt x="0" y="55"/>
                    <a:pt x="14" y="69"/>
                    <a:pt x="32" y="69"/>
                  </a:cubicBezTo>
                  <a:cubicBezTo>
                    <a:pt x="49" y="69"/>
                    <a:pt x="64" y="55"/>
                    <a:pt x="64" y="37"/>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209"/>
            <p:cNvSpPr>
              <a:spLocks noEditPoints="1"/>
            </p:cNvSpPr>
            <p:nvPr/>
          </p:nvSpPr>
          <p:spPr bwMode="auto">
            <a:xfrm>
              <a:off x="3555" y="2544"/>
              <a:ext cx="121" cy="182"/>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10"/>
            <p:cNvSpPr>
              <a:spLocks noEditPoints="1"/>
            </p:cNvSpPr>
            <p:nvPr/>
          </p:nvSpPr>
          <p:spPr bwMode="auto">
            <a:xfrm>
              <a:off x="3555" y="1635"/>
              <a:ext cx="121" cy="182"/>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11"/>
            <p:cNvSpPr>
              <a:spLocks noEditPoints="1"/>
            </p:cNvSpPr>
            <p:nvPr/>
          </p:nvSpPr>
          <p:spPr bwMode="auto">
            <a:xfrm>
              <a:off x="3555" y="2241"/>
              <a:ext cx="121" cy="182"/>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212"/>
            <p:cNvSpPr>
              <a:spLocks noEditPoints="1"/>
            </p:cNvSpPr>
            <p:nvPr/>
          </p:nvSpPr>
          <p:spPr bwMode="auto">
            <a:xfrm>
              <a:off x="3555" y="1938"/>
              <a:ext cx="121" cy="182"/>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213"/>
            <p:cNvSpPr>
              <a:spLocks noEditPoints="1"/>
            </p:cNvSpPr>
            <p:nvPr/>
          </p:nvSpPr>
          <p:spPr bwMode="auto">
            <a:xfrm>
              <a:off x="865" y="2241"/>
              <a:ext cx="121" cy="182"/>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214"/>
            <p:cNvSpPr>
              <a:spLocks noEditPoints="1"/>
            </p:cNvSpPr>
            <p:nvPr/>
          </p:nvSpPr>
          <p:spPr bwMode="auto">
            <a:xfrm>
              <a:off x="865" y="2544"/>
              <a:ext cx="121" cy="182"/>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215"/>
            <p:cNvSpPr>
              <a:spLocks noEditPoints="1"/>
            </p:cNvSpPr>
            <p:nvPr/>
          </p:nvSpPr>
          <p:spPr bwMode="auto">
            <a:xfrm>
              <a:off x="865" y="1383"/>
              <a:ext cx="121" cy="131"/>
            </a:xfrm>
            <a:custGeom>
              <a:avLst/>
              <a:gdLst>
                <a:gd name="T0" fmla="*/ 32 w 64"/>
                <a:gd name="T1" fmla="*/ 0 h 69"/>
                <a:gd name="T2" fmla="*/ 0 w 64"/>
                <a:gd name="T3" fmla="*/ 32 h 69"/>
                <a:gd name="T4" fmla="*/ 0 w 64"/>
                <a:gd name="T5" fmla="*/ 37 h 69"/>
                <a:gd name="T6" fmla="*/ 32 w 64"/>
                <a:gd name="T7" fmla="*/ 69 h 69"/>
                <a:gd name="T8" fmla="*/ 64 w 64"/>
                <a:gd name="T9" fmla="*/ 37 h 69"/>
                <a:gd name="T10" fmla="*/ 64 w 64"/>
                <a:gd name="T11" fmla="*/ 32 h 69"/>
                <a:gd name="T12" fmla="*/ 32 w 64"/>
                <a:gd name="T13" fmla="*/ 0 h 69"/>
                <a:gd name="T14" fmla="*/ 32 w 64"/>
                <a:gd name="T15" fmla="*/ 0 h 69"/>
                <a:gd name="T16" fmla="*/ 32 w 64"/>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9">
                  <a:moveTo>
                    <a:pt x="32" y="0"/>
                  </a:moveTo>
                  <a:cubicBezTo>
                    <a:pt x="14" y="0"/>
                    <a:pt x="0" y="15"/>
                    <a:pt x="0" y="32"/>
                  </a:cubicBezTo>
                  <a:cubicBezTo>
                    <a:pt x="0" y="37"/>
                    <a:pt x="0" y="37"/>
                    <a:pt x="0" y="37"/>
                  </a:cubicBezTo>
                  <a:cubicBezTo>
                    <a:pt x="0" y="55"/>
                    <a:pt x="14" y="69"/>
                    <a:pt x="32" y="69"/>
                  </a:cubicBezTo>
                  <a:cubicBezTo>
                    <a:pt x="49" y="69"/>
                    <a:pt x="64" y="55"/>
                    <a:pt x="64" y="37"/>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216"/>
            <p:cNvSpPr>
              <a:spLocks noEditPoints="1"/>
            </p:cNvSpPr>
            <p:nvPr/>
          </p:nvSpPr>
          <p:spPr bwMode="auto">
            <a:xfrm>
              <a:off x="865" y="1938"/>
              <a:ext cx="121" cy="182"/>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217"/>
            <p:cNvSpPr>
              <a:spLocks noEditPoints="1"/>
            </p:cNvSpPr>
            <p:nvPr/>
          </p:nvSpPr>
          <p:spPr bwMode="auto">
            <a:xfrm>
              <a:off x="865" y="2847"/>
              <a:ext cx="121" cy="181"/>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218"/>
            <p:cNvSpPr>
              <a:spLocks noEditPoints="1"/>
            </p:cNvSpPr>
            <p:nvPr/>
          </p:nvSpPr>
          <p:spPr bwMode="auto">
            <a:xfrm>
              <a:off x="865" y="1635"/>
              <a:ext cx="121" cy="182"/>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219"/>
            <p:cNvSpPr>
              <a:spLocks noEditPoints="1"/>
            </p:cNvSpPr>
            <p:nvPr/>
          </p:nvSpPr>
          <p:spPr bwMode="auto">
            <a:xfrm>
              <a:off x="865" y="3150"/>
              <a:ext cx="121" cy="181"/>
            </a:xfrm>
            <a:custGeom>
              <a:avLst/>
              <a:gdLst>
                <a:gd name="T0" fmla="*/ 32 w 64"/>
                <a:gd name="T1" fmla="*/ 0 h 96"/>
                <a:gd name="T2" fmla="*/ 0 w 64"/>
                <a:gd name="T3" fmla="*/ 32 h 96"/>
                <a:gd name="T4" fmla="*/ 0 w 64"/>
                <a:gd name="T5" fmla="*/ 64 h 96"/>
                <a:gd name="T6" fmla="*/ 32 w 64"/>
                <a:gd name="T7" fmla="*/ 96 h 96"/>
                <a:gd name="T8" fmla="*/ 64 w 64"/>
                <a:gd name="T9" fmla="*/ 64 h 96"/>
                <a:gd name="T10" fmla="*/ 64 w 64"/>
                <a:gd name="T11" fmla="*/ 32 h 96"/>
                <a:gd name="T12" fmla="*/ 32 w 64"/>
                <a:gd name="T13" fmla="*/ 0 h 96"/>
                <a:gd name="T14" fmla="*/ 32 w 64"/>
                <a:gd name="T15" fmla="*/ 0 h 96"/>
                <a:gd name="T16" fmla="*/ 32 w 64"/>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6">
                  <a:moveTo>
                    <a:pt x="32" y="0"/>
                  </a:moveTo>
                  <a:cubicBezTo>
                    <a:pt x="14" y="0"/>
                    <a:pt x="0" y="15"/>
                    <a:pt x="0" y="32"/>
                  </a:cubicBezTo>
                  <a:cubicBezTo>
                    <a:pt x="0" y="64"/>
                    <a:pt x="0" y="64"/>
                    <a:pt x="0" y="64"/>
                  </a:cubicBezTo>
                  <a:cubicBezTo>
                    <a:pt x="0" y="82"/>
                    <a:pt x="14" y="96"/>
                    <a:pt x="32" y="96"/>
                  </a:cubicBezTo>
                  <a:cubicBezTo>
                    <a:pt x="49" y="96"/>
                    <a:pt x="64" y="82"/>
                    <a:pt x="64" y="64"/>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220"/>
            <p:cNvSpPr>
              <a:spLocks noEditPoints="1"/>
            </p:cNvSpPr>
            <p:nvPr/>
          </p:nvSpPr>
          <p:spPr bwMode="auto">
            <a:xfrm>
              <a:off x="2508" y="364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4"/>
                    <a:pt x="0" y="32"/>
                  </a:cubicBezTo>
                  <a:cubicBezTo>
                    <a:pt x="0" y="50"/>
                    <a:pt x="14" y="64"/>
                    <a:pt x="32" y="64"/>
                  </a:cubicBezTo>
                  <a:cubicBezTo>
                    <a:pt x="64" y="64"/>
                    <a:pt x="64" y="64"/>
                    <a:pt x="64" y="64"/>
                  </a:cubicBezTo>
                  <a:cubicBezTo>
                    <a:pt x="81" y="64"/>
                    <a:pt x="96" y="50"/>
                    <a:pt x="96" y="32"/>
                  </a:cubicBezTo>
                  <a:cubicBezTo>
                    <a:pt x="96" y="14"/>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221"/>
            <p:cNvSpPr>
              <a:spLocks noEditPoints="1"/>
            </p:cNvSpPr>
            <p:nvPr/>
          </p:nvSpPr>
          <p:spPr bwMode="auto">
            <a:xfrm>
              <a:off x="1902" y="364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4"/>
                    <a:pt x="0" y="32"/>
                  </a:cubicBezTo>
                  <a:cubicBezTo>
                    <a:pt x="0" y="50"/>
                    <a:pt x="14" y="64"/>
                    <a:pt x="32" y="64"/>
                  </a:cubicBezTo>
                  <a:cubicBezTo>
                    <a:pt x="64" y="64"/>
                    <a:pt x="64" y="64"/>
                    <a:pt x="64" y="64"/>
                  </a:cubicBezTo>
                  <a:cubicBezTo>
                    <a:pt x="81" y="64"/>
                    <a:pt x="96" y="50"/>
                    <a:pt x="96" y="32"/>
                  </a:cubicBezTo>
                  <a:cubicBezTo>
                    <a:pt x="96" y="14"/>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222"/>
            <p:cNvSpPr>
              <a:spLocks noEditPoints="1"/>
            </p:cNvSpPr>
            <p:nvPr/>
          </p:nvSpPr>
          <p:spPr bwMode="auto">
            <a:xfrm>
              <a:off x="2205" y="364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4"/>
                    <a:pt x="0" y="32"/>
                  </a:cubicBezTo>
                  <a:cubicBezTo>
                    <a:pt x="0" y="50"/>
                    <a:pt x="14" y="64"/>
                    <a:pt x="32" y="64"/>
                  </a:cubicBezTo>
                  <a:cubicBezTo>
                    <a:pt x="64" y="64"/>
                    <a:pt x="64" y="64"/>
                    <a:pt x="64" y="64"/>
                  </a:cubicBezTo>
                  <a:cubicBezTo>
                    <a:pt x="81" y="64"/>
                    <a:pt x="96" y="50"/>
                    <a:pt x="96" y="32"/>
                  </a:cubicBezTo>
                  <a:cubicBezTo>
                    <a:pt x="96" y="14"/>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223"/>
            <p:cNvSpPr>
              <a:spLocks noEditPoints="1"/>
            </p:cNvSpPr>
            <p:nvPr/>
          </p:nvSpPr>
          <p:spPr bwMode="auto">
            <a:xfrm>
              <a:off x="1599" y="364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4"/>
                    <a:pt x="0" y="32"/>
                  </a:cubicBezTo>
                  <a:cubicBezTo>
                    <a:pt x="0" y="50"/>
                    <a:pt x="14" y="64"/>
                    <a:pt x="32" y="64"/>
                  </a:cubicBezTo>
                  <a:cubicBezTo>
                    <a:pt x="64" y="64"/>
                    <a:pt x="64" y="64"/>
                    <a:pt x="64" y="64"/>
                  </a:cubicBezTo>
                  <a:cubicBezTo>
                    <a:pt x="81" y="64"/>
                    <a:pt x="96" y="50"/>
                    <a:pt x="96" y="32"/>
                  </a:cubicBezTo>
                  <a:cubicBezTo>
                    <a:pt x="96" y="14"/>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224"/>
            <p:cNvSpPr>
              <a:spLocks noEditPoints="1"/>
            </p:cNvSpPr>
            <p:nvPr/>
          </p:nvSpPr>
          <p:spPr bwMode="auto">
            <a:xfrm>
              <a:off x="2811" y="364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4"/>
                    <a:pt x="0" y="32"/>
                  </a:cubicBezTo>
                  <a:cubicBezTo>
                    <a:pt x="0" y="50"/>
                    <a:pt x="14" y="64"/>
                    <a:pt x="32" y="64"/>
                  </a:cubicBezTo>
                  <a:cubicBezTo>
                    <a:pt x="64" y="64"/>
                    <a:pt x="64" y="64"/>
                    <a:pt x="64" y="64"/>
                  </a:cubicBezTo>
                  <a:cubicBezTo>
                    <a:pt x="81" y="64"/>
                    <a:pt x="96" y="50"/>
                    <a:pt x="96" y="32"/>
                  </a:cubicBezTo>
                  <a:cubicBezTo>
                    <a:pt x="96" y="14"/>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225"/>
            <p:cNvSpPr>
              <a:spLocks noEditPoints="1"/>
            </p:cNvSpPr>
            <p:nvPr/>
          </p:nvSpPr>
          <p:spPr bwMode="auto">
            <a:xfrm>
              <a:off x="1296" y="364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4"/>
                    <a:pt x="0" y="32"/>
                  </a:cubicBezTo>
                  <a:cubicBezTo>
                    <a:pt x="0" y="50"/>
                    <a:pt x="14" y="64"/>
                    <a:pt x="32" y="64"/>
                  </a:cubicBezTo>
                  <a:cubicBezTo>
                    <a:pt x="64" y="64"/>
                    <a:pt x="64" y="64"/>
                    <a:pt x="64" y="64"/>
                  </a:cubicBezTo>
                  <a:cubicBezTo>
                    <a:pt x="81" y="64"/>
                    <a:pt x="96" y="50"/>
                    <a:pt x="96" y="32"/>
                  </a:cubicBezTo>
                  <a:cubicBezTo>
                    <a:pt x="96" y="14"/>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226"/>
            <p:cNvSpPr>
              <a:spLocks noEditPoints="1"/>
            </p:cNvSpPr>
            <p:nvPr/>
          </p:nvSpPr>
          <p:spPr bwMode="auto">
            <a:xfrm>
              <a:off x="3114" y="3642"/>
              <a:ext cx="130" cy="121"/>
            </a:xfrm>
            <a:custGeom>
              <a:avLst/>
              <a:gdLst>
                <a:gd name="T0" fmla="*/ 37 w 69"/>
                <a:gd name="T1" fmla="*/ 0 h 64"/>
                <a:gd name="T2" fmla="*/ 32 w 69"/>
                <a:gd name="T3" fmla="*/ 0 h 64"/>
                <a:gd name="T4" fmla="*/ 0 w 69"/>
                <a:gd name="T5" fmla="*/ 32 h 64"/>
                <a:gd name="T6" fmla="*/ 32 w 69"/>
                <a:gd name="T7" fmla="*/ 64 h 64"/>
                <a:gd name="T8" fmla="*/ 37 w 69"/>
                <a:gd name="T9" fmla="*/ 64 h 64"/>
                <a:gd name="T10" fmla="*/ 69 w 69"/>
                <a:gd name="T11" fmla="*/ 32 h 64"/>
                <a:gd name="T12" fmla="*/ 37 w 69"/>
                <a:gd name="T13" fmla="*/ 0 h 64"/>
                <a:gd name="T14" fmla="*/ 37 w 69"/>
                <a:gd name="T15" fmla="*/ 0 h 64"/>
                <a:gd name="T16" fmla="*/ 37 w 69"/>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4">
                  <a:moveTo>
                    <a:pt x="37" y="0"/>
                  </a:moveTo>
                  <a:cubicBezTo>
                    <a:pt x="32" y="0"/>
                    <a:pt x="32" y="0"/>
                    <a:pt x="32" y="0"/>
                  </a:cubicBezTo>
                  <a:cubicBezTo>
                    <a:pt x="14" y="0"/>
                    <a:pt x="0" y="14"/>
                    <a:pt x="0" y="32"/>
                  </a:cubicBezTo>
                  <a:cubicBezTo>
                    <a:pt x="0" y="50"/>
                    <a:pt x="14" y="64"/>
                    <a:pt x="32" y="64"/>
                  </a:cubicBezTo>
                  <a:cubicBezTo>
                    <a:pt x="37" y="64"/>
                    <a:pt x="37" y="64"/>
                    <a:pt x="37" y="64"/>
                  </a:cubicBezTo>
                  <a:cubicBezTo>
                    <a:pt x="54" y="64"/>
                    <a:pt x="69" y="50"/>
                    <a:pt x="69" y="32"/>
                  </a:cubicBezTo>
                  <a:cubicBezTo>
                    <a:pt x="69" y="14"/>
                    <a:pt x="54" y="0"/>
                    <a:pt x="37" y="0"/>
                  </a:cubicBezTo>
                  <a:close/>
                  <a:moveTo>
                    <a:pt x="37" y="0"/>
                  </a:moveTo>
                  <a:cubicBezTo>
                    <a:pt x="37"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227"/>
            <p:cNvSpPr>
              <a:spLocks noEditPoints="1"/>
            </p:cNvSpPr>
            <p:nvPr/>
          </p:nvSpPr>
          <p:spPr bwMode="auto">
            <a:xfrm>
              <a:off x="2508" y="95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228"/>
            <p:cNvSpPr>
              <a:spLocks noEditPoints="1"/>
            </p:cNvSpPr>
            <p:nvPr/>
          </p:nvSpPr>
          <p:spPr bwMode="auto">
            <a:xfrm>
              <a:off x="2205" y="95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229"/>
            <p:cNvSpPr>
              <a:spLocks noEditPoints="1"/>
            </p:cNvSpPr>
            <p:nvPr/>
          </p:nvSpPr>
          <p:spPr bwMode="auto">
            <a:xfrm>
              <a:off x="3114" y="952"/>
              <a:ext cx="130" cy="121"/>
            </a:xfrm>
            <a:custGeom>
              <a:avLst/>
              <a:gdLst>
                <a:gd name="T0" fmla="*/ 37 w 69"/>
                <a:gd name="T1" fmla="*/ 0 h 64"/>
                <a:gd name="T2" fmla="*/ 32 w 69"/>
                <a:gd name="T3" fmla="*/ 0 h 64"/>
                <a:gd name="T4" fmla="*/ 0 w 69"/>
                <a:gd name="T5" fmla="*/ 32 h 64"/>
                <a:gd name="T6" fmla="*/ 32 w 69"/>
                <a:gd name="T7" fmla="*/ 64 h 64"/>
                <a:gd name="T8" fmla="*/ 37 w 69"/>
                <a:gd name="T9" fmla="*/ 64 h 64"/>
                <a:gd name="T10" fmla="*/ 69 w 69"/>
                <a:gd name="T11" fmla="*/ 32 h 64"/>
                <a:gd name="T12" fmla="*/ 37 w 69"/>
                <a:gd name="T13" fmla="*/ 0 h 64"/>
                <a:gd name="T14" fmla="*/ 37 w 69"/>
                <a:gd name="T15" fmla="*/ 0 h 64"/>
                <a:gd name="T16" fmla="*/ 37 w 69"/>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4">
                  <a:moveTo>
                    <a:pt x="37" y="0"/>
                  </a:moveTo>
                  <a:cubicBezTo>
                    <a:pt x="32" y="0"/>
                    <a:pt x="32" y="0"/>
                    <a:pt x="32" y="0"/>
                  </a:cubicBezTo>
                  <a:cubicBezTo>
                    <a:pt x="14" y="0"/>
                    <a:pt x="0" y="15"/>
                    <a:pt x="0" y="32"/>
                  </a:cubicBezTo>
                  <a:cubicBezTo>
                    <a:pt x="0" y="50"/>
                    <a:pt x="14" y="64"/>
                    <a:pt x="32" y="64"/>
                  </a:cubicBezTo>
                  <a:cubicBezTo>
                    <a:pt x="37" y="64"/>
                    <a:pt x="37" y="64"/>
                    <a:pt x="37" y="64"/>
                  </a:cubicBezTo>
                  <a:cubicBezTo>
                    <a:pt x="54" y="64"/>
                    <a:pt x="69" y="50"/>
                    <a:pt x="69" y="32"/>
                  </a:cubicBezTo>
                  <a:cubicBezTo>
                    <a:pt x="69" y="15"/>
                    <a:pt x="54" y="0"/>
                    <a:pt x="37" y="0"/>
                  </a:cubicBezTo>
                  <a:close/>
                  <a:moveTo>
                    <a:pt x="37" y="0"/>
                  </a:moveTo>
                  <a:cubicBezTo>
                    <a:pt x="37"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230"/>
            <p:cNvSpPr>
              <a:spLocks noEditPoints="1"/>
            </p:cNvSpPr>
            <p:nvPr/>
          </p:nvSpPr>
          <p:spPr bwMode="auto">
            <a:xfrm>
              <a:off x="2811" y="95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231"/>
            <p:cNvSpPr>
              <a:spLocks noEditPoints="1"/>
            </p:cNvSpPr>
            <p:nvPr/>
          </p:nvSpPr>
          <p:spPr bwMode="auto">
            <a:xfrm>
              <a:off x="1902" y="95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32"/>
            <p:cNvSpPr>
              <a:spLocks noEditPoints="1"/>
            </p:cNvSpPr>
            <p:nvPr/>
          </p:nvSpPr>
          <p:spPr bwMode="auto">
            <a:xfrm>
              <a:off x="1599" y="95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233"/>
            <p:cNvSpPr>
              <a:spLocks noEditPoints="1"/>
            </p:cNvSpPr>
            <p:nvPr/>
          </p:nvSpPr>
          <p:spPr bwMode="auto">
            <a:xfrm>
              <a:off x="1296" y="95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234"/>
            <p:cNvSpPr>
              <a:spLocks noEditPoints="1"/>
            </p:cNvSpPr>
            <p:nvPr/>
          </p:nvSpPr>
          <p:spPr bwMode="auto">
            <a:xfrm>
              <a:off x="1580" y="2105"/>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8"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235"/>
            <p:cNvSpPr>
              <a:spLocks noEditPoints="1"/>
            </p:cNvSpPr>
            <p:nvPr/>
          </p:nvSpPr>
          <p:spPr bwMode="auto">
            <a:xfrm>
              <a:off x="1580" y="1198"/>
              <a:ext cx="510" cy="2281"/>
            </a:xfrm>
            <a:custGeom>
              <a:avLst/>
              <a:gdLst>
                <a:gd name="T0" fmla="*/ 200 w 269"/>
                <a:gd name="T1" fmla="*/ 0 h 1205"/>
                <a:gd name="T2" fmla="*/ 68 w 269"/>
                <a:gd name="T3" fmla="*/ 0 h 1205"/>
                <a:gd name="T4" fmla="*/ 0 w 269"/>
                <a:gd name="T5" fmla="*/ 68 h 1205"/>
                <a:gd name="T6" fmla="*/ 0 w 269"/>
                <a:gd name="T7" fmla="*/ 400 h 1205"/>
                <a:gd name="T8" fmla="*/ 32 w 269"/>
                <a:gd name="T9" fmla="*/ 432 h 1205"/>
                <a:gd name="T10" fmla="*/ 64 w 269"/>
                <a:gd name="T11" fmla="*/ 400 h 1205"/>
                <a:gd name="T12" fmla="*/ 64 w 269"/>
                <a:gd name="T13" fmla="*/ 261 h 1205"/>
                <a:gd name="T14" fmla="*/ 205 w 269"/>
                <a:gd name="T15" fmla="*/ 261 h 1205"/>
                <a:gd name="T16" fmla="*/ 205 w 269"/>
                <a:gd name="T17" fmla="*/ 907 h 1205"/>
                <a:gd name="T18" fmla="*/ 64 w 269"/>
                <a:gd name="T19" fmla="*/ 907 h 1205"/>
                <a:gd name="T20" fmla="*/ 64 w 269"/>
                <a:gd name="T21" fmla="*/ 636 h 1205"/>
                <a:gd name="T22" fmla="*/ 32 w 269"/>
                <a:gd name="T23" fmla="*/ 604 h 1205"/>
                <a:gd name="T24" fmla="*/ 0 w 269"/>
                <a:gd name="T25" fmla="*/ 636 h 1205"/>
                <a:gd name="T26" fmla="*/ 0 w 269"/>
                <a:gd name="T27" fmla="*/ 939 h 1205"/>
                <a:gd name="T28" fmla="*/ 2 w 269"/>
                <a:gd name="T29" fmla="*/ 952 h 1205"/>
                <a:gd name="T30" fmla="*/ 105 w 269"/>
                <a:gd name="T31" fmla="*/ 1186 h 1205"/>
                <a:gd name="T32" fmla="*/ 134 w 269"/>
                <a:gd name="T33" fmla="*/ 1205 h 1205"/>
                <a:gd name="T34" fmla="*/ 164 w 269"/>
                <a:gd name="T35" fmla="*/ 1186 h 1205"/>
                <a:gd name="T36" fmla="*/ 266 w 269"/>
                <a:gd name="T37" fmla="*/ 952 h 1205"/>
                <a:gd name="T38" fmla="*/ 269 w 269"/>
                <a:gd name="T39" fmla="*/ 939 h 1205"/>
                <a:gd name="T40" fmla="*/ 269 w 269"/>
                <a:gd name="T41" fmla="*/ 68 h 1205"/>
                <a:gd name="T42" fmla="*/ 200 w 269"/>
                <a:gd name="T43" fmla="*/ 0 h 1205"/>
                <a:gd name="T44" fmla="*/ 134 w 269"/>
                <a:gd name="T45" fmla="*/ 1094 h 1205"/>
                <a:gd name="T46" fmla="*/ 81 w 269"/>
                <a:gd name="T47" fmla="*/ 971 h 1205"/>
                <a:gd name="T48" fmla="*/ 188 w 269"/>
                <a:gd name="T49" fmla="*/ 971 h 1205"/>
                <a:gd name="T50" fmla="*/ 134 w 269"/>
                <a:gd name="T51" fmla="*/ 1094 h 1205"/>
                <a:gd name="T52" fmla="*/ 205 w 269"/>
                <a:gd name="T53" fmla="*/ 197 h 1205"/>
                <a:gd name="T54" fmla="*/ 64 w 269"/>
                <a:gd name="T55" fmla="*/ 197 h 1205"/>
                <a:gd name="T56" fmla="*/ 64 w 269"/>
                <a:gd name="T57" fmla="*/ 68 h 1205"/>
                <a:gd name="T58" fmla="*/ 68 w 269"/>
                <a:gd name="T59" fmla="*/ 64 h 1205"/>
                <a:gd name="T60" fmla="*/ 200 w 269"/>
                <a:gd name="T61" fmla="*/ 64 h 1205"/>
                <a:gd name="T62" fmla="*/ 205 w 269"/>
                <a:gd name="T63" fmla="*/ 68 h 1205"/>
                <a:gd name="T64" fmla="*/ 205 w 269"/>
                <a:gd name="T65" fmla="*/ 197 h 1205"/>
                <a:gd name="T66" fmla="*/ 205 w 269"/>
                <a:gd name="T67" fmla="*/ 197 h 1205"/>
                <a:gd name="T68" fmla="*/ 205 w 269"/>
                <a:gd name="T69" fmla="*/ 197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9" h="1205">
                  <a:moveTo>
                    <a:pt x="200" y="0"/>
                  </a:moveTo>
                  <a:cubicBezTo>
                    <a:pt x="68" y="0"/>
                    <a:pt x="68" y="0"/>
                    <a:pt x="68" y="0"/>
                  </a:cubicBezTo>
                  <a:cubicBezTo>
                    <a:pt x="31" y="0"/>
                    <a:pt x="0" y="30"/>
                    <a:pt x="0" y="68"/>
                  </a:cubicBezTo>
                  <a:cubicBezTo>
                    <a:pt x="0" y="400"/>
                    <a:pt x="0" y="400"/>
                    <a:pt x="0" y="400"/>
                  </a:cubicBezTo>
                  <a:cubicBezTo>
                    <a:pt x="0" y="418"/>
                    <a:pt x="14" y="432"/>
                    <a:pt x="32" y="432"/>
                  </a:cubicBezTo>
                  <a:cubicBezTo>
                    <a:pt x="49" y="432"/>
                    <a:pt x="64" y="418"/>
                    <a:pt x="64" y="400"/>
                  </a:cubicBezTo>
                  <a:cubicBezTo>
                    <a:pt x="64" y="261"/>
                    <a:pt x="64" y="261"/>
                    <a:pt x="64" y="261"/>
                  </a:cubicBezTo>
                  <a:cubicBezTo>
                    <a:pt x="205" y="261"/>
                    <a:pt x="205" y="261"/>
                    <a:pt x="205" y="261"/>
                  </a:cubicBezTo>
                  <a:cubicBezTo>
                    <a:pt x="205" y="907"/>
                    <a:pt x="205" y="907"/>
                    <a:pt x="205" y="907"/>
                  </a:cubicBezTo>
                  <a:cubicBezTo>
                    <a:pt x="64" y="907"/>
                    <a:pt x="64" y="907"/>
                    <a:pt x="64" y="907"/>
                  </a:cubicBezTo>
                  <a:cubicBezTo>
                    <a:pt x="64" y="636"/>
                    <a:pt x="64" y="636"/>
                    <a:pt x="64" y="636"/>
                  </a:cubicBezTo>
                  <a:cubicBezTo>
                    <a:pt x="64" y="618"/>
                    <a:pt x="49" y="604"/>
                    <a:pt x="32" y="604"/>
                  </a:cubicBezTo>
                  <a:cubicBezTo>
                    <a:pt x="14" y="604"/>
                    <a:pt x="0" y="618"/>
                    <a:pt x="0" y="636"/>
                  </a:cubicBezTo>
                  <a:cubicBezTo>
                    <a:pt x="0" y="939"/>
                    <a:pt x="0" y="939"/>
                    <a:pt x="0" y="939"/>
                  </a:cubicBezTo>
                  <a:cubicBezTo>
                    <a:pt x="0" y="944"/>
                    <a:pt x="1" y="948"/>
                    <a:pt x="2" y="952"/>
                  </a:cubicBezTo>
                  <a:cubicBezTo>
                    <a:pt x="105" y="1186"/>
                    <a:pt x="105" y="1186"/>
                    <a:pt x="105" y="1186"/>
                  </a:cubicBezTo>
                  <a:cubicBezTo>
                    <a:pt x="110" y="1198"/>
                    <a:pt x="121" y="1205"/>
                    <a:pt x="134" y="1205"/>
                  </a:cubicBezTo>
                  <a:cubicBezTo>
                    <a:pt x="147" y="1205"/>
                    <a:pt x="158" y="1198"/>
                    <a:pt x="164" y="1186"/>
                  </a:cubicBezTo>
                  <a:cubicBezTo>
                    <a:pt x="266" y="952"/>
                    <a:pt x="266" y="952"/>
                    <a:pt x="266" y="952"/>
                  </a:cubicBezTo>
                  <a:cubicBezTo>
                    <a:pt x="268" y="948"/>
                    <a:pt x="269" y="944"/>
                    <a:pt x="269" y="939"/>
                  </a:cubicBezTo>
                  <a:cubicBezTo>
                    <a:pt x="269" y="68"/>
                    <a:pt x="269" y="68"/>
                    <a:pt x="269" y="68"/>
                  </a:cubicBezTo>
                  <a:cubicBezTo>
                    <a:pt x="269" y="30"/>
                    <a:pt x="238" y="0"/>
                    <a:pt x="200" y="0"/>
                  </a:cubicBezTo>
                  <a:close/>
                  <a:moveTo>
                    <a:pt x="134" y="1094"/>
                  </a:moveTo>
                  <a:cubicBezTo>
                    <a:pt x="81" y="971"/>
                    <a:pt x="81" y="971"/>
                    <a:pt x="81" y="971"/>
                  </a:cubicBezTo>
                  <a:cubicBezTo>
                    <a:pt x="188" y="971"/>
                    <a:pt x="188" y="971"/>
                    <a:pt x="188" y="971"/>
                  </a:cubicBezTo>
                  <a:lnTo>
                    <a:pt x="134" y="1094"/>
                  </a:lnTo>
                  <a:close/>
                  <a:moveTo>
                    <a:pt x="205" y="197"/>
                  </a:moveTo>
                  <a:cubicBezTo>
                    <a:pt x="64" y="197"/>
                    <a:pt x="64" y="197"/>
                    <a:pt x="64" y="197"/>
                  </a:cubicBezTo>
                  <a:cubicBezTo>
                    <a:pt x="64" y="68"/>
                    <a:pt x="64" y="68"/>
                    <a:pt x="64" y="68"/>
                  </a:cubicBezTo>
                  <a:cubicBezTo>
                    <a:pt x="64" y="66"/>
                    <a:pt x="66" y="64"/>
                    <a:pt x="68" y="64"/>
                  </a:cubicBezTo>
                  <a:cubicBezTo>
                    <a:pt x="200" y="64"/>
                    <a:pt x="200" y="64"/>
                    <a:pt x="200" y="64"/>
                  </a:cubicBezTo>
                  <a:cubicBezTo>
                    <a:pt x="203" y="64"/>
                    <a:pt x="205" y="66"/>
                    <a:pt x="205" y="68"/>
                  </a:cubicBezTo>
                  <a:lnTo>
                    <a:pt x="205" y="197"/>
                  </a:lnTo>
                  <a:close/>
                  <a:moveTo>
                    <a:pt x="205" y="197"/>
                  </a:moveTo>
                  <a:cubicBezTo>
                    <a:pt x="205" y="197"/>
                    <a:pt x="205" y="197"/>
                    <a:pt x="205" y="1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5" name="Group 252"/>
          <p:cNvGrpSpPr>
            <a:grpSpLocks noChangeAspect="1"/>
          </p:cNvGrpSpPr>
          <p:nvPr/>
        </p:nvGrpSpPr>
        <p:grpSpPr bwMode="auto">
          <a:xfrm>
            <a:off x="10664458" y="1860791"/>
            <a:ext cx="457200" cy="457200"/>
            <a:chOff x="1702" y="912"/>
            <a:chExt cx="3101" cy="3101"/>
          </a:xfrm>
          <a:solidFill>
            <a:schemeClr val="accent1"/>
          </a:solidFill>
        </p:grpSpPr>
        <p:sp>
          <p:nvSpPr>
            <p:cNvPr id="257" name="Freeform 253"/>
            <p:cNvSpPr>
              <a:spLocks noEditPoints="1"/>
            </p:cNvSpPr>
            <p:nvPr/>
          </p:nvSpPr>
          <p:spPr bwMode="auto">
            <a:xfrm>
              <a:off x="2141" y="946"/>
              <a:ext cx="2215" cy="3067"/>
            </a:xfrm>
            <a:custGeom>
              <a:avLst/>
              <a:gdLst>
                <a:gd name="T0" fmla="*/ 748 w 1170"/>
                <a:gd name="T1" fmla="*/ 5 h 1620"/>
                <a:gd name="T2" fmla="*/ 731 w 1170"/>
                <a:gd name="T3" fmla="*/ 66 h 1620"/>
                <a:gd name="T4" fmla="*/ 945 w 1170"/>
                <a:gd name="T5" fmla="*/ 939 h 1620"/>
                <a:gd name="T6" fmla="*/ 805 w 1170"/>
                <a:gd name="T7" fmla="*/ 1271 h 1620"/>
                <a:gd name="T8" fmla="*/ 739 w 1170"/>
                <a:gd name="T9" fmla="*/ 1300 h 1620"/>
                <a:gd name="T10" fmla="*/ 760 w 1170"/>
                <a:gd name="T11" fmla="*/ 911 h 1620"/>
                <a:gd name="T12" fmla="*/ 852 w 1170"/>
                <a:gd name="T13" fmla="*/ 592 h 1620"/>
                <a:gd name="T14" fmla="*/ 715 w 1170"/>
                <a:gd name="T15" fmla="*/ 306 h 1620"/>
                <a:gd name="T16" fmla="*/ 587 w 1170"/>
                <a:gd name="T17" fmla="*/ 155 h 1620"/>
                <a:gd name="T18" fmla="*/ 460 w 1170"/>
                <a:gd name="T19" fmla="*/ 306 h 1620"/>
                <a:gd name="T20" fmla="*/ 323 w 1170"/>
                <a:gd name="T21" fmla="*/ 592 h 1620"/>
                <a:gd name="T22" fmla="*/ 414 w 1170"/>
                <a:gd name="T23" fmla="*/ 911 h 1620"/>
                <a:gd name="T24" fmla="*/ 436 w 1170"/>
                <a:gd name="T25" fmla="*/ 1300 h 1620"/>
                <a:gd name="T26" fmla="*/ 370 w 1170"/>
                <a:gd name="T27" fmla="*/ 1271 h 1620"/>
                <a:gd name="T28" fmla="*/ 69 w 1170"/>
                <a:gd name="T29" fmla="*/ 574 h 1620"/>
                <a:gd name="T30" fmla="*/ 461 w 1170"/>
                <a:gd name="T31" fmla="*/ 28 h 1620"/>
                <a:gd name="T32" fmla="*/ 5 w 1170"/>
                <a:gd name="T33" fmla="*/ 575 h 1620"/>
                <a:gd name="T34" fmla="*/ 306 w 1170"/>
                <a:gd name="T35" fmla="*/ 1271 h 1620"/>
                <a:gd name="T36" fmla="*/ 371 w 1170"/>
                <a:gd name="T37" fmla="*/ 1513 h 1620"/>
                <a:gd name="T38" fmla="*/ 696 w 1170"/>
                <a:gd name="T39" fmla="*/ 1620 h 1620"/>
                <a:gd name="T40" fmla="*/ 803 w 1170"/>
                <a:gd name="T41" fmla="*/ 1360 h 1620"/>
                <a:gd name="T42" fmla="*/ 869 w 1170"/>
                <a:gd name="T43" fmla="*/ 1270 h 1620"/>
                <a:gd name="T44" fmla="*/ 1170 w 1170"/>
                <a:gd name="T45" fmla="*/ 564 h 1620"/>
                <a:gd name="T46" fmla="*/ 524 w 1170"/>
                <a:gd name="T47" fmla="*/ 282 h 1620"/>
                <a:gd name="T48" fmla="*/ 651 w 1170"/>
                <a:gd name="T49" fmla="*/ 282 h 1620"/>
                <a:gd name="T50" fmla="*/ 587 w 1170"/>
                <a:gd name="T51" fmla="*/ 370 h 1620"/>
                <a:gd name="T52" fmla="*/ 524 w 1170"/>
                <a:gd name="T53" fmla="*/ 282 h 1620"/>
                <a:gd name="T54" fmla="*/ 436 w 1170"/>
                <a:gd name="T55" fmla="*/ 847 h 1620"/>
                <a:gd name="T56" fmla="*/ 387 w 1170"/>
                <a:gd name="T57" fmla="*/ 819 h 1620"/>
                <a:gd name="T58" fmla="*/ 545 w 1170"/>
                <a:gd name="T59" fmla="*/ 434 h 1620"/>
                <a:gd name="T60" fmla="*/ 788 w 1170"/>
                <a:gd name="T61" fmla="*/ 592 h 1620"/>
                <a:gd name="T62" fmla="*/ 760 w 1170"/>
                <a:gd name="T63" fmla="*/ 847 h 1620"/>
                <a:gd name="T64" fmla="*/ 739 w 1170"/>
                <a:gd name="T65" fmla="*/ 723 h 1620"/>
                <a:gd name="T66" fmla="*/ 675 w 1170"/>
                <a:gd name="T67" fmla="*/ 723 h 1620"/>
                <a:gd name="T68" fmla="*/ 500 w 1170"/>
                <a:gd name="T69" fmla="*/ 746 h 1620"/>
                <a:gd name="T70" fmla="*/ 468 w 1170"/>
                <a:gd name="T71" fmla="*/ 572 h 1620"/>
                <a:gd name="T72" fmla="*/ 588 w 1170"/>
                <a:gd name="T73" fmla="*/ 865 h 1620"/>
                <a:gd name="T74" fmla="*/ 556 w 1170"/>
                <a:gd name="T75" fmla="*/ 1300 h 1620"/>
                <a:gd name="T76" fmla="*/ 500 w 1170"/>
                <a:gd name="T77" fmla="*/ 810 h 1620"/>
                <a:gd name="T78" fmla="*/ 675 w 1170"/>
                <a:gd name="T79" fmla="*/ 1300 h 1620"/>
                <a:gd name="T80" fmla="*/ 620 w 1170"/>
                <a:gd name="T81" fmla="*/ 897 h 1620"/>
                <a:gd name="T82" fmla="*/ 739 w 1170"/>
                <a:gd name="T83" fmla="*/ 1513 h 1620"/>
                <a:gd name="T84" fmla="*/ 478 w 1170"/>
                <a:gd name="T85" fmla="*/ 1556 h 1620"/>
                <a:gd name="T86" fmla="*/ 435 w 1170"/>
                <a:gd name="T87" fmla="*/ 1492 h 1620"/>
                <a:gd name="T88" fmla="*/ 635 w 1170"/>
                <a:gd name="T89" fmla="*/ 1460 h 1620"/>
                <a:gd name="T90" fmla="*/ 435 w 1170"/>
                <a:gd name="T91" fmla="*/ 1428 h 1620"/>
                <a:gd name="T92" fmla="*/ 739 w 1170"/>
                <a:gd name="T93" fmla="*/ 1364 h 1620"/>
                <a:gd name="T94" fmla="*/ 739 w 1170"/>
                <a:gd name="T95" fmla="*/ 1513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70" h="1620">
                  <a:moveTo>
                    <a:pt x="1050" y="211"/>
                  </a:moveTo>
                  <a:cubicBezTo>
                    <a:pt x="975" y="112"/>
                    <a:pt x="867" y="39"/>
                    <a:pt x="748" y="5"/>
                  </a:cubicBezTo>
                  <a:cubicBezTo>
                    <a:pt x="731" y="0"/>
                    <a:pt x="713" y="9"/>
                    <a:pt x="709" y="26"/>
                  </a:cubicBezTo>
                  <a:cubicBezTo>
                    <a:pt x="704" y="43"/>
                    <a:pt x="714" y="61"/>
                    <a:pt x="731" y="66"/>
                  </a:cubicBezTo>
                  <a:cubicBezTo>
                    <a:pt x="951" y="129"/>
                    <a:pt x="1106" y="334"/>
                    <a:pt x="1106" y="564"/>
                  </a:cubicBezTo>
                  <a:cubicBezTo>
                    <a:pt x="1106" y="707"/>
                    <a:pt x="1049" y="841"/>
                    <a:pt x="945" y="939"/>
                  </a:cubicBezTo>
                  <a:cubicBezTo>
                    <a:pt x="856" y="1024"/>
                    <a:pt x="805" y="1145"/>
                    <a:pt x="805" y="1270"/>
                  </a:cubicBezTo>
                  <a:cubicBezTo>
                    <a:pt x="805" y="1271"/>
                    <a:pt x="805" y="1271"/>
                    <a:pt x="805" y="1271"/>
                  </a:cubicBezTo>
                  <a:cubicBezTo>
                    <a:pt x="805" y="1287"/>
                    <a:pt x="792" y="1300"/>
                    <a:pt x="776" y="1300"/>
                  </a:cubicBezTo>
                  <a:cubicBezTo>
                    <a:pt x="739" y="1300"/>
                    <a:pt x="739" y="1300"/>
                    <a:pt x="739" y="1300"/>
                  </a:cubicBezTo>
                  <a:cubicBezTo>
                    <a:pt x="739" y="911"/>
                    <a:pt x="739" y="911"/>
                    <a:pt x="739" y="911"/>
                  </a:cubicBezTo>
                  <a:cubicBezTo>
                    <a:pt x="760" y="911"/>
                    <a:pt x="760" y="911"/>
                    <a:pt x="760" y="911"/>
                  </a:cubicBezTo>
                  <a:cubicBezTo>
                    <a:pt x="811" y="911"/>
                    <a:pt x="852" y="870"/>
                    <a:pt x="852" y="819"/>
                  </a:cubicBezTo>
                  <a:cubicBezTo>
                    <a:pt x="852" y="592"/>
                    <a:pt x="852" y="592"/>
                    <a:pt x="852" y="592"/>
                  </a:cubicBezTo>
                  <a:cubicBezTo>
                    <a:pt x="852" y="491"/>
                    <a:pt x="784" y="406"/>
                    <a:pt x="692" y="379"/>
                  </a:cubicBezTo>
                  <a:cubicBezTo>
                    <a:pt x="706" y="358"/>
                    <a:pt x="715" y="333"/>
                    <a:pt x="715" y="306"/>
                  </a:cubicBezTo>
                  <a:cubicBezTo>
                    <a:pt x="715" y="282"/>
                    <a:pt x="715" y="282"/>
                    <a:pt x="715" y="282"/>
                  </a:cubicBezTo>
                  <a:cubicBezTo>
                    <a:pt x="715" y="212"/>
                    <a:pt x="657" y="155"/>
                    <a:pt x="587" y="155"/>
                  </a:cubicBezTo>
                  <a:cubicBezTo>
                    <a:pt x="517" y="155"/>
                    <a:pt x="460" y="212"/>
                    <a:pt x="460" y="282"/>
                  </a:cubicBezTo>
                  <a:cubicBezTo>
                    <a:pt x="460" y="306"/>
                    <a:pt x="460" y="306"/>
                    <a:pt x="460" y="306"/>
                  </a:cubicBezTo>
                  <a:cubicBezTo>
                    <a:pt x="460" y="333"/>
                    <a:pt x="468" y="358"/>
                    <a:pt x="483" y="379"/>
                  </a:cubicBezTo>
                  <a:cubicBezTo>
                    <a:pt x="390" y="406"/>
                    <a:pt x="323" y="491"/>
                    <a:pt x="323" y="592"/>
                  </a:cubicBezTo>
                  <a:cubicBezTo>
                    <a:pt x="323" y="819"/>
                    <a:pt x="323" y="819"/>
                    <a:pt x="323" y="819"/>
                  </a:cubicBezTo>
                  <a:cubicBezTo>
                    <a:pt x="323" y="870"/>
                    <a:pt x="364" y="911"/>
                    <a:pt x="414" y="911"/>
                  </a:cubicBezTo>
                  <a:cubicBezTo>
                    <a:pt x="436" y="911"/>
                    <a:pt x="436" y="911"/>
                    <a:pt x="436" y="911"/>
                  </a:cubicBezTo>
                  <a:cubicBezTo>
                    <a:pt x="436" y="1300"/>
                    <a:pt x="436" y="1300"/>
                    <a:pt x="436" y="1300"/>
                  </a:cubicBezTo>
                  <a:cubicBezTo>
                    <a:pt x="399" y="1300"/>
                    <a:pt x="399" y="1300"/>
                    <a:pt x="399" y="1300"/>
                  </a:cubicBezTo>
                  <a:cubicBezTo>
                    <a:pt x="383" y="1300"/>
                    <a:pt x="370" y="1287"/>
                    <a:pt x="370" y="1271"/>
                  </a:cubicBezTo>
                  <a:cubicBezTo>
                    <a:pt x="370" y="1146"/>
                    <a:pt x="319" y="1025"/>
                    <a:pt x="229" y="939"/>
                  </a:cubicBezTo>
                  <a:cubicBezTo>
                    <a:pt x="128" y="843"/>
                    <a:pt x="71" y="713"/>
                    <a:pt x="69" y="574"/>
                  </a:cubicBezTo>
                  <a:cubicBezTo>
                    <a:pt x="65" y="343"/>
                    <a:pt x="217" y="135"/>
                    <a:pt x="440" y="68"/>
                  </a:cubicBezTo>
                  <a:cubicBezTo>
                    <a:pt x="457" y="63"/>
                    <a:pt x="466" y="45"/>
                    <a:pt x="461" y="28"/>
                  </a:cubicBezTo>
                  <a:cubicBezTo>
                    <a:pt x="456" y="11"/>
                    <a:pt x="438" y="1"/>
                    <a:pt x="421" y="6"/>
                  </a:cubicBezTo>
                  <a:cubicBezTo>
                    <a:pt x="172" y="82"/>
                    <a:pt x="0" y="315"/>
                    <a:pt x="5" y="575"/>
                  </a:cubicBezTo>
                  <a:cubicBezTo>
                    <a:pt x="8" y="731"/>
                    <a:pt x="72" y="877"/>
                    <a:pt x="185" y="986"/>
                  </a:cubicBezTo>
                  <a:cubicBezTo>
                    <a:pt x="262" y="1059"/>
                    <a:pt x="306" y="1163"/>
                    <a:pt x="306" y="1271"/>
                  </a:cubicBezTo>
                  <a:cubicBezTo>
                    <a:pt x="306" y="1313"/>
                    <a:pt x="333" y="1348"/>
                    <a:pt x="371" y="1360"/>
                  </a:cubicBezTo>
                  <a:cubicBezTo>
                    <a:pt x="371" y="1513"/>
                    <a:pt x="371" y="1513"/>
                    <a:pt x="371" y="1513"/>
                  </a:cubicBezTo>
                  <a:cubicBezTo>
                    <a:pt x="371" y="1572"/>
                    <a:pt x="419" y="1620"/>
                    <a:pt x="478" y="1620"/>
                  </a:cubicBezTo>
                  <a:cubicBezTo>
                    <a:pt x="696" y="1620"/>
                    <a:pt x="696" y="1620"/>
                    <a:pt x="696" y="1620"/>
                  </a:cubicBezTo>
                  <a:cubicBezTo>
                    <a:pt x="755" y="1620"/>
                    <a:pt x="803" y="1572"/>
                    <a:pt x="803" y="1513"/>
                  </a:cubicBezTo>
                  <a:cubicBezTo>
                    <a:pt x="803" y="1360"/>
                    <a:pt x="803" y="1360"/>
                    <a:pt x="803" y="1360"/>
                  </a:cubicBezTo>
                  <a:cubicBezTo>
                    <a:pt x="841" y="1349"/>
                    <a:pt x="869" y="1313"/>
                    <a:pt x="869" y="1271"/>
                  </a:cubicBezTo>
                  <a:cubicBezTo>
                    <a:pt x="869" y="1270"/>
                    <a:pt x="869" y="1270"/>
                    <a:pt x="869" y="1270"/>
                  </a:cubicBezTo>
                  <a:cubicBezTo>
                    <a:pt x="869" y="1162"/>
                    <a:pt x="913" y="1059"/>
                    <a:pt x="989" y="986"/>
                  </a:cubicBezTo>
                  <a:cubicBezTo>
                    <a:pt x="1106" y="875"/>
                    <a:pt x="1170" y="725"/>
                    <a:pt x="1170" y="564"/>
                  </a:cubicBezTo>
                  <a:cubicBezTo>
                    <a:pt x="1170" y="435"/>
                    <a:pt x="1128" y="313"/>
                    <a:pt x="1050" y="211"/>
                  </a:cubicBezTo>
                  <a:close/>
                  <a:moveTo>
                    <a:pt x="524" y="282"/>
                  </a:moveTo>
                  <a:cubicBezTo>
                    <a:pt x="524" y="247"/>
                    <a:pt x="552" y="219"/>
                    <a:pt x="587" y="219"/>
                  </a:cubicBezTo>
                  <a:cubicBezTo>
                    <a:pt x="622" y="219"/>
                    <a:pt x="651" y="247"/>
                    <a:pt x="651" y="282"/>
                  </a:cubicBezTo>
                  <a:cubicBezTo>
                    <a:pt x="651" y="306"/>
                    <a:pt x="651" y="306"/>
                    <a:pt x="651" y="306"/>
                  </a:cubicBezTo>
                  <a:cubicBezTo>
                    <a:pt x="651" y="341"/>
                    <a:pt x="622" y="370"/>
                    <a:pt x="587" y="370"/>
                  </a:cubicBezTo>
                  <a:cubicBezTo>
                    <a:pt x="552" y="370"/>
                    <a:pt x="524" y="341"/>
                    <a:pt x="524" y="306"/>
                  </a:cubicBezTo>
                  <a:lnTo>
                    <a:pt x="524" y="282"/>
                  </a:lnTo>
                  <a:close/>
                  <a:moveTo>
                    <a:pt x="436" y="604"/>
                  </a:moveTo>
                  <a:cubicBezTo>
                    <a:pt x="436" y="847"/>
                    <a:pt x="436" y="847"/>
                    <a:pt x="436" y="847"/>
                  </a:cubicBezTo>
                  <a:cubicBezTo>
                    <a:pt x="414" y="847"/>
                    <a:pt x="414" y="847"/>
                    <a:pt x="414" y="847"/>
                  </a:cubicBezTo>
                  <a:cubicBezTo>
                    <a:pt x="399" y="847"/>
                    <a:pt x="387" y="834"/>
                    <a:pt x="387" y="819"/>
                  </a:cubicBezTo>
                  <a:cubicBezTo>
                    <a:pt x="387" y="592"/>
                    <a:pt x="387" y="592"/>
                    <a:pt x="387" y="592"/>
                  </a:cubicBezTo>
                  <a:cubicBezTo>
                    <a:pt x="387" y="505"/>
                    <a:pt x="458" y="434"/>
                    <a:pt x="545" y="434"/>
                  </a:cubicBezTo>
                  <a:cubicBezTo>
                    <a:pt x="629" y="434"/>
                    <a:pt x="629" y="434"/>
                    <a:pt x="629" y="434"/>
                  </a:cubicBezTo>
                  <a:cubicBezTo>
                    <a:pt x="717" y="434"/>
                    <a:pt x="788" y="505"/>
                    <a:pt x="788" y="592"/>
                  </a:cubicBezTo>
                  <a:cubicBezTo>
                    <a:pt x="788" y="819"/>
                    <a:pt x="788" y="819"/>
                    <a:pt x="788" y="819"/>
                  </a:cubicBezTo>
                  <a:cubicBezTo>
                    <a:pt x="788" y="834"/>
                    <a:pt x="775" y="847"/>
                    <a:pt x="760" y="847"/>
                  </a:cubicBezTo>
                  <a:cubicBezTo>
                    <a:pt x="739" y="847"/>
                    <a:pt x="739" y="847"/>
                    <a:pt x="739" y="847"/>
                  </a:cubicBezTo>
                  <a:cubicBezTo>
                    <a:pt x="739" y="723"/>
                    <a:pt x="739" y="723"/>
                    <a:pt x="739" y="723"/>
                  </a:cubicBezTo>
                  <a:cubicBezTo>
                    <a:pt x="739" y="706"/>
                    <a:pt x="724" y="691"/>
                    <a:pt x="707" y="691"/>
                  </a:cubicBezTo>
                  <a:cubicBezTo>
                    <a:pt x="689" y="691"/>
                    <a:pt x="675" y="706"/>
                    <a:pt x="675" y="723"/>
                  </a:cubicBezTo>
                  <a:cubicBezTo>
                    <a:pt x="675" y="746"/>
                    <a:pt x="675" y="746"/>
                    <a:pt x="675" y="746"/>
                  </a:cubicBezTo>
                  <a:cubicBezTo>
                    <a:pt x="500" y="746"/>
                    <a:pt x="500" y="746"/>
                    <a:pt x="500" y="746"/>
                  </a:cubicBezTo>
                  <a:cubicBezTo>
                    <a:pt x="500" y="604"/>
                    <a:pt x="500" y="604"/>
                    <a:pt x="500" y="604"/>
                  </a:cubicBezTo>
                  <a:cubicBezTo>
                    <a:pt x="500" y="587"/>
                    <a:pt x="486" y="572"/>
                    <a:pt x="468" y="572"/>
                  </a:cubicBezTo>
                  <a:cubicBezTo>
                    <a:pt x="451" y="572"/>
                    <a:pt x="436" y="587"/>
                    <a:pt x="436" y="604"/>
                  </a:cubicBezTo>
                  <a:close/>
                  <a:moveTo>
                    <a:pt x="588" y="865"/>
                  </a:moveTo>
                  <a:cubicBezTo>
                    <a:pt x="570" y="865"/>
                    <a:pt x="556" y="879"/>
                    <a:pt x="556" y="897"/>
                  </a:cubicBezTo>
                  <a:cubicBezTo>
                    <a:pt x="556" y="1300"/>
                    <a:pt x="556" y="1300"/>
                    <a:pt x="556" y="1300"/>
                  </a:cubicBezTo>
                  <a:cubicBezTo>
                    <a:pt x="500" y="1300"/>
                    <a:pt x="500" y="1300"/>
                    <a:pt x="500" y="1300"/>
                  </a:cubicBezTo>
                  <a:cubicBezTo>
                    <a:pt x="500" y="810"/>
                    <a:pt x="500" y="810"/>
                    <a:pt x="500" y="810"/>
                  </a:cubicBezTo>
                  <a:cubicBezTo>
                    <a:pt x="675" y="810"/>
                    <a:pt x="675" y="810"/>
                    <a:pt x="675" y="810"/>
                  </a:cubicBezTo>
                  <a:cubicBezTo>
                    <a:pt x="675" y="1300"/>
                    <a:pt x="675" y="1300"/>
                    <a:pt x="675" y="1300"/>
                  </a:cubicBezTo>
                  <a:cubicBezTo>
                    <a:pt x="620" y="1300"/>
                    <a:pt x="620" y="1300"/>
                    <a:pt x="620" y="1300"/>
                  </a:cubicBezTo>
                  <a:cubicBezTo>
                    <a:pt x="620" y="897"/>
                    <a:pt x="620" y="897"/>
                    <a:pt x="620" y="897"/>
                  </a:cubicBezTo>
                  <a:cubicBezTo>
                    <a:pt x="620" y="879"/>
                    <a:pt x="605" y="865"/>
                    <a:pt x="588" y="865"/>
                  </a:cubicBezTo>
                  <a:close/>
                  <a:moveTo>
                    <a:pt x="739" y="1513"/>
                  </a:moveTo>
                  <a:cubicBezTo>
                    <a:pt x="739" y="1537"/>
                    <a:pt x="720" y="1556"/>
                    <a:pt x="696" y="1556"/>
                  </a:cubicBezTo>
                  <a:cubicBezTo>
                    <a:pt x="478" y="1556"/>
                    <a:pt x="478" y="1556"/>
                    <a:pt x="478" y="1556"/>
                  </a:cubicBezTo>
                  <a:cubicBezTo>
                    <a:pt x="455" y="1556"/>
                    <a:pt x="435" y="1537"/>
                    <a:pt x="435" y="1513"/>
                  </a:cubicBezTo>
                  <a:cubicBezTo>
                    <a:pt x="435" y="1492"/>
                    <a:pt x="435" y="1492"/>
                    <a:pt x="435" y="1492"/>
                  </a:cubicBezTo>
                  <a:cubicBezTo>
                    <a:pt x="603" y="1492"/>
                    <a:pt x="603" y="1492"/>
                    <a:pt x="603" y="1492"/>
                  </a:cubicBezTo>
                  <a:cubicBezTo>
                    <a:pt x="621" y="1492"/>
                    <a:pt x="635" y="1478"/>
                    <a:pt x="635" y="1460"/>
                  </a:cubicBezTo>
                  <a:cubicBezTo>
                    <a:pt x="635" y="1443"/>
                    <a:pt x="621" y="1428"/>
                    <a:pt x="603" y="1428"/>
                  </a:cubicBezTo>
                  <a:cubicBezTo>
                    <a:pt x="435" y="1428"/>
                    <a:pt x="435" y="1428"/>
                    <a:pt x="435" y="1428"/>
                  </a:cubicBezTo>
                  <a:cubicBezTo>
                    <a:pt x="435" y="1364"/>
                    <a:pt x="435" y="1364"/>
                    <a:pt x="435" y="1364"/>
                  </a:cubicBezTo>
                  <a:cubicBezTo>
                    <a:pt x="739" y="1364"/>
                    <a:pt x="739" y="1364"/>
                    <a:pt x="739" y="1364"/>
                  </a:cubicBezTo>
                  <a:cubicBezTo>
                    <a:pt x="739" y="1513"/>
                    <a:pt x="739" y="1513"/>
                    <a:pt x="739" y="1513"/>
                  </a:cubicBezTo>
                  <a:close/>
                  <a:moveTo>
                    <a:pt x="739" y="1513"/>
                  </a:moveTo>
                  <a:cubicBezTo>
                    <a:pt x="739" y="1513"/>
                    <a:pt x="739" y="1513"/>
                    <a:pt x="739" y="15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254"/>
            <p:cNvSpPr>
              <a:spLocks noEditPoints="1"/>
            </p:cNvSpPr>
            <p:nvPr/>
          </p:nvSpPr>
          <p:spPr bwMode="auto">
            <a:xfrm>
              <a:off x="3190" y="912"/>
              <a:ext cx="129" cy="121"/>
            </a:xfrm>
            <a:custGeom>
              <a:avLst/>
              <a:gdLst>
                <a:gd name="T0" fmla="*/ 36 w 68"/>
                <a:gd name="T1" fmla="*/ 0 h 64"/>
                <a:gd name="T2" fmla="*/ 32 w 68"/>
                <a:gd name="T3" fmla="*/ 0 h 64"/>
                <a:gd name="T4" fmla="*/ 0 w 68"/>
                <a:gd name="T5" fmla="*/ 32 h 64"/>
                <a:gd name="T6" fmla="*/ 32 w 68"/>
                <a:gd name="T7" fmla="*/ 64 h 64"/>
                <a:gd name="T8" fmla="*/ 36 w 68"/>
                <a:gd name="T9" fmla="*/ 64 h 64"/>
                <a:gd name="T10" fmla="*/ 68 w 68"/>
                <a:gd name="T11" fmla="*/ 32 h 64"/>
                <a:gd name="T12" fmla="*/ 36 w 68"/>
                <a:gd name="T13" fmla="*/ 0 h 64"/>
                <a:gd name="T14" fmla="*/ 36 w 68"/>
                <a:gd name="T15" fmla="*/ 0 h 64"/>
                <a:gd name="T16" fmla="*/ 36 w 68"/>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4">
                  <a:moveTo>
                    <a:pt x="36" y="0"/>
                  </a:moveTo>
                  <a:cubicBezTo>
                    <a:pt x="32" y="0"/>
                    <a:pt x="32" y="0"/>
                    <a:pt x="32" y="0"/>
                  </a:cubicBezTo>
                  <a:cubicBezTo>
                    <a:pt x="14" y="0"/>
                    <a:pt x="0" y="14"/>
                    <a:pt x="0" y="32"/>
                  </a:cubicBezTo>
                  <a:cubicBezTo>
                    <a:pt x="0" y="50"/>
                    <a:pt x="14" y="64"/>
                    <a:pt x="32" y="64"/>
                  </a:cubicBezTo>
                  <a:cubicBezTo>
                    <a:pt x="36" y="64"/>
                    <a:pt x="36" y="64"/>
                    <a:pt x="36" y="64"/>
                  </a:cubicBezTo>
                  <a:cubicBezTo>
                    <a:pt x="53" y="64"/>
                    <a:pt x="67" y="50"/>
                    <a:pt x="68" y="32"/>
                  </a:cubicBezTo>
                  <a:cubicBezTo>
                    <a:pt x="68" y="14"/>
                    <a:pt x="53" y="0"/>
                    <a:pt x="36" y="0"/>
                  </a:cubicBezTo>
                  <a:close/>
                  <a:moveTo>
                    <a:pt x="36" y="0"/>
                  </a:move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255"/>
            <p:cNvSpPr>
              <a:spLocks noEditPoints="1"/>
            </p:cNvSpPr>
            <p:nvPr/>
          </p:nvSpPr>
          <p:spPr bwMode="auto">
            <a:xfrm>
              <a:off x="3419" y="2029"/>
              <a:ext cx="121" cy="121"/>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256"/>
            <p:cNvSpPr>
              <a:spLocks noEditPoints="1"/>
            </p:cNvSpPr>
            <p:nvPr/>
          </p:nvSpPr>
          <p:spPr bwMode="auto">
            <a:xfrm>
              <a:off x="4557" y="1955"/>
              <a:ext cx="246" cy="121"/>
            </a:xfrm>
            <a:custGeom>
              <a:avLst/>
              <a:gdLst>
                <a:gd name="T0" fmla="*/ 98 w 130"/>
                <a:gd name="T1" fmla="*/ 0 h 64"/>
                <a:gd name="T2" fmla="*/ 32 w 130"/>
                <a:gd name="T3" fmla="*/ 0 h 64"/>
                <a:gd name="T4" fmla="*/ 0 w 130"/>
                <a:gd name="T5" fmla="*/ 32 h 64"/>
                <a:gd name="T6" fmla="*/ 32 w 130"/>
                <a:gd name="T7" fmla="*/ 64 h 64"/>
                <a:gd name="T8" fmla="*/ 98 w 130"/>
                <a:gd name="T9" fmla="*/ 64 h 64"/>
                <a:gd name="T10" fmla="*/ 130 w 130"/>
                <a:gd name="T11" fmla="*/ 32 h 64"/>
                <a:gd name="T12" fmla="*/ 98 w 130"/>
                <a:gd name="T13" fmla="*/ 0 h 64"/>
                <a:gd name="T14" fmla="*/ 98 w 130"/>
                <a:gd name="T15" fmla="*/ 0 h 64"/>
                <a:gd name="T16" fmla="*/ 98 w 13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64">
                  <a:moveTo>
                    <a:pt x="98" y="0"/>
                  </a:moveTo>
                  <a:cubicBezTo>
                    <a:pt x="32" y="0"/>
                    <a:pt x="32" y="0"/>
                    <a:pt x="32" y="0"/>
                  </a:cubicBezTo>
                  <a:cubicBezTo>
                    <a:pt x="14" y="0"/>
                    <a:pt x="0" y="14"/>
                    <a:pt x="0" y="32"/>
                  </a:cubicBezTo>
                  <a:cubicBezTo>
                    <a:pt x="0" y="50"/>
                    <a:pt x="14" y="64"/>
                    <a:pt x="32" y="64"/>
                  </a:cubicBezTo>
                  <a:cubicBezTo>
                    <a:pt x="98" y="64"/>
                    <a:pt x="98" y="64"/>
                    <a:pt x="98" y="64"/>
                  </a:cubicBezTo>
                  <a:cubicBezTo>
                    <a:pt x="116" y="64"/>
                    <a:pt x="130" y="50"/>
                    <a:pt x="130" y="32"/>
                  </a:cubicBezTo>
                  <a:cubicBezTo>
                    <a:pt x="130" y="14"/>
                    <a:pt x="116" y="0"/>
                    <a:pt x="98" y="0"/>
                  </a:cubicBezTo>
                  <a:close/>
                  <a:moveTo>
                    <a:pt x="98" y="0"/>
                  </a:moveTo>
                  <a:cubicBezTo>
                    <a:pt x="98" y="0"/>
                    <a:pt x="98" y="0"/>
                    <a:pt x="9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257"/>
            <p:cNvSpPr>
              <a:spLocks noEditPoints="1"/>
            </p:cNvSpPr>
            <p:nvPr/>
          </p:nvSpPr>
          <p:spPr bwMode="auto">
            <a:xfrm>
              <a:off x="4470" y="2355"/>
              <a:ext cx="251" cy="244"/>
            </a:xfrm>
            <a:custGeom>
              <a:avLst/>
              <a:gdLst>
                <a:gd name="T0" fmla="*/ 120 w 133"/>
                <a:gd name="T1" fmla="*/ 75 h 129"/>
                <a:gd name="T2" fmla="*/ 58 w 133"/>
                <a:gd name="T3" fmla="*/ 12 h 129"/>
                <a:gd name="T4" fmla="*/ 12 w 133"/>
                <a:gd name="T5" fmla="*/ 12 h 129"/>
                <a:gd name="T6" fmla="*/ 12 w 133"/>
                <a:gd name="T7" fmla="*/ 57 h 129"/>
                <a:gd name="T8" fmla="*/ 75 w 133"/>
                <a:gd name="T9" fmla="*/ 120 h 129"/>
                <a:gd name="T10" fmla="*/ 97 w 133"/>
                <a:gd name="T11" fmla="*/ 129 h 129"/>
                <a:gd name="T12" fmla="*/ 120 w 133"/>
                <a:gd name="T13" fmla="*/ 120 h 129"/>
                <a:gd name="T14" fmla="*/ 120 w 133"/>
                <a:gd name="T15" fmla="*/ 75 h 129"/>
                <a:gd name="T16" fmla="*/ 120 w 133"/>
                <a:gd name="T17" fmla="*/ 75 h 129"/>
                <a:gd name="T18" fmla="*/ 120 w 133"/>
                <a:gd name="T19" fmla="*/ 7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29">
                  <a:moveTo>
                    <a:pt x="120" y="75"/>
                  </a:moveTo>
                  <a:cubicBezTo>
                    <a:pt x="58" y="12"/>
                    <a:pt x="58" y="12"/>
                    <a:pt x="58" y="12"/>
                  </a:cubicBezTo>
                  <a:cubicBezTo>
                    <a:pt x="45" y="0"/>
                    <a:pt x="25" y="0"/>
                    <a:pt x="12" y="12"/>
                  </a:cubicBezTo>
                  <a:cubicBezTo>
                    <a:pt x="0" y="25"/>
                    <a:pt x="0" y="45"/>
                    <a:pt x="12" y="57"/>
                  </a:cubicBezTo>
                  <a:cubicBezTo>
                    <a:pt x="75" y="120"/>
                    <a:pt x="75" y="120"/>
                    <a:pt x="75" y="120"/>
                  </a:cubicBezTo>
                  <a:cubicBezTo>
                    <a:pt x="81" y="126"/>
                    <a:pt x="89" y="129"/>
                    <a:pt x="97" y="129"/>
                  </a:cubicBezTo>
                  <a:cubicBezTo>
                    <a:pt x="106" y="129"/>
                    <a:pt x="114" y="126"/>
                    <a:pt x="120" y="120"/>
                  </a:cubicBezTo>
                  <a:cubicBezTo>
                    <a:pt x="133" y="107"/>
                    <a:pt x="133" y="87"/>
                    <a:pt x="120" y="75"/>
                  </a:cubicBezTo>
                  <a:close/>
                  <a:moveTo>
                    <a:pt x="120" y="75"/>
                  </a:moveTo>
                  <a:cubicBezTo>
                    <a:pt x="120" y="75"/>
                    <a:pt x="120" y="75"/>
                    <a:pt x="120" y="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258"/>
            <p:cNvSpPr>
              <a:spLocks noEditPoints="1"/>
            </p:cNvSpPr>
            <p:nvPr/>
          </p:nvSpPr>
          <p:spPr bwMode="auto">
            <a:xfrm>
              <a:off x="4468" y="1423"/>
              <a:ext cx="253" cy="248"/>
            </a:xfrm>
            <a:custGeom>
              <a:avLst/>
              <a:gdLst>
                <a:gd name="T0" fmla="*/ 121 w 134"/>
                <a:gd name="T1" fmla="*/ 13 h 131"/>
                <a:gd name="T2" fmla="*/ 76 w 134"/>
                <a:gd name="T3" fmla="*/ 13 h 131"/>
                <a:gd name="T4" fmla="*/ 13 w 134"/>
                <a:gd name="T5" fmla="*/ 76 h 131"/>
                <a:gd name="T6" fmla="*/ 13 w 134"/>
                <a:gd name="T7" fmla="*/ 121 h 131"/>
                <a:gd name="T8" fmla="*/ 36 w 134"/>
                <a:gd name="T9" fmla="*/ 131 h 131"/>
                <a:gd name="T10" fmla="*/ 58 w 134"/>
                <a:gd name="T11" fmla="*/ 121 h 131"/>
                <a:gd name="T12" fmla="*/ 121 w 134"/>
                <a:gd name="T13" fmla="*/ 58 h 131"/>
                <a:gd name="T14" fmla="*/ 121 w 134"/>
                <a:gd name="T15" fmla="*/ 13 h 131"/>
                <a:gd name="T16" fmla="*/ 121 w 134"/>
                <a:gd name="T17" fmla="*/ 13 h 131"/>
                <a:gd name="T18" fmla="*/ 121 w 134"/>
                <a:gd name="T19" fmla="*/ 1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1">
                  <a:moveTo>
                    <a:pt x="121" y="13"/>
                  </a:moveTo>
                  <a:cubicBezTo>
                    <a:pt x="109" y="0"/>
                    <a:pt x="88" y="0"/>
                    <a:pt x="76" y="13"/>
                  </a:cubicBezTo>
                  <a:cubicBezTo>
                    <a:pt x="13" y="76"/>
                    <a:pt x="13" y="76"/>
                    <a:pt x="13" y="76"/>
                  </a:cubicBezTo>
                  <a:cubicBezTo>
                    <a:pt x="0" y="88"/>
                    <a:pt x="0" y="109"/>
                    <a:pt x="13" y="121"/>
                  </a:cubicBezTo>
                  <a:cubicBezTo>
                    <a:pt x="19" y="127"/>
                    <a:pt x="27" y="131"/>
                    <a:pt x="36" y="131"/>
                  </a:cubicBezTo>
                  <a:cubicBezTo>
                    <a:pt x="44" y="131"/>
                    <a:pt x="52" y="127"/>
                    <a:pt x="58" y="121"/>
                  </a:cubicBezTo>
                  <a:cubicBezTo>
                    <a:pt x="121" y="58"/>
                    <a:pt x="121" y="58"/>
                    <a:pt x="121" y="58"/>
                  </a:cubicBezTo>
                  <a:cubicBezTo>
                    <a:pt x="134" y="46"/>
                    <a:pt x="134" y="25"/>
                    <a:pt x="121" y="13"/>
                  </a:cubicBezTo>
                  <a:close/>
                  <a:moveTo>
                    <a:pt x="121" y="13"/>
                  </a:moveTo>
                  <a:cubicBezTo>
                    <a:pt x="121" y="13"/>
                    <a:pt x="121" y="13"/>
                    <a:pt x="121"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259"/>
            <p:cNvSpPr>
              <a:spLocks noEditPoints="1"/>
            </p:cNvSpPr>
            <p:nvPr/>
          </p:nvSpPr>
          <p:spPr bwMode="auto">
            <a:xfrm>
              <a:off x="1702" y="1953"/>
              <a:ext cx="246" cy="121"/>
            </a:xfrm>
            <a:custGeom>
              <a:avLst/>
              <a:gdLst>
                <a:gd name="T0" fmla="*/ 98 w 130"/>
                <a:gd name="T1" fmla="*/ 0 h 64"/>
                <a:gd name="T2" fmla="*/ 32 w 130"/>
                <a:gd name="T3" fmla="*/ 0 h 64"/>
                <a:gd name="T4" fmla="*/ 0 w 130"/>
                <a:gd name="T5" fmla="*/ 32 h 64"/>
                <a:gd name="T6" fmla="*/ 32 w 130"/>
                <a:gd name="T7" fmla="*/ 64 h 64"/>
                <a:gd name="T8" fmla="*/ 98 w 130"/>
                <a:gd name="T9" fmla="*/ 64 h 64"/>
                <a:gd name="T10" fmla="*/ 130 w 130"/>
                <a:gd name="T11" fmla="*/ 32 h 64"/>
                <a:gd name="T12" fmla="*/ 98 w 130"/>
                <a:gd name="T13" fmla="*/ 0 h 64"/>
                <a:gd name="T14" fmla="*/ 98 w 130"/>
                <a:gd name="T15" fmla="*/ 0 h 64"/>
                <a:gd name="T16" fmla="*/ 98 w 13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64">
                  <a:moveTo>
                    <a:pt x="98" y="0"/>
                  </a:moveTo>
                  <a:cubicBezTo>
                    <a:pt x="32" y="0"/>
                    <a:pt x="32" y="0"/>
                    <a:pt x="32" y="0"/>
                  </a:cubicBezTo>
                  <a:cubicBezTo>
                    <a:pt x="14" y="0"/>
                    <a:pt x="0" y="14"/>
                    <a:pt x="0" y="32"/>
                  </a:cubicBezTo>
                  <a:cubicBezTo>
                    <a:pt x="0" y="49"/>
                    <a:pt x="14" y="64"/>
                    <a:pt x="32" y="64"/>
                  </a:cubicBezTo>
                  <a:cubicBezTo>
                    <a:pt x="98" y="64"/>
                    <a:pt x="98" y="64"/>
                    <a:pt x="98" y="64"/>
                  </a:cubicBezTo>
                  <a:cubicBezTo>
                    <a:pt x="116" y="64"/>
                    <a:pt x="130" y="49"/>
                    <a:pt x="130" y="32"/>
                  </a:cubicBezTo>
                  <a:cubicBezTo>
                    <a:pt x="130" y="14"/>
                    <a:pt x="116" y="0"/>
                    <a:pt x="98" y="0"/>
                  </a:cubicBezTo>
                  <a:close/>
                  <a:moveTo>
                    <a:pt x="98" y="0"/>
                  </a:moveTo>
                  <a:cubicBezTo>
                    <a:pt x="98" y="0"/>
                    <a:pt x="98" y="0"/>
                    <a:pt x="9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260"/>
            <p:cNvSpPr>
              <a:spLocks noEditPoints="1"/>
            </p:cNvSpPr>
            <p:nvPr/>
          </p:nvSpPr>
          <p:spPr bwMode="auto">
            <a:xfrm>
              <a:off x="1785" y="1423"/>
              <a:ext cx="252" cy="246"/>
            </a:xfrm>
            <a:custGeom>
              <a:avLst/>
              <a:gdLst>
                <a:gd name="T0" fmla="*/ 120 w 133"/>
                <a:gd name="T1" fmla="*/ 75 h 130"/>
                <a:gd name="T2" fmla="*/ 58 w 133"/>
                <a:gd name="T3" fmla="*/ 13 h 130"/>
                <a:gd name="T4" fmla="*/ 12 w 133"/>
                <a:gd name="T5" fmla="*/ 13 h 130"/>
                <a:gd name="T6" fmla="*/ 12 w 133"/>
                <a:gd name="T7" fmla="*/ 58 h 130"/>
                <a:gd name="T8" fmla="*/ 75 w 133"/>
                <a:gd name="T9" fmla="*/ 121 h 130"/>
                <a:gd name="T10" fmla="*/ 97 w 133"/>
                <a:gd name="T11" fmla="*/ 130 h 130"/>
                <a:gd name="T12" fmla="*/ 120 w 133"/>
                <a:gd name="T13" fmla="*/ 121 h 130"/>
                <a:gd name="T14" fmla="*/ 120 w 133"/>
                <a:gd name="T15" fmla="*/ 75 h 130"/>
                <a:gd name="T16" fmla="*/ 120 w 133"/>
                <a:gd name="T17" fmla="*/ 75 h 130"/>
                <a:gd name="T18" fmla="*/ 120 w 133"/>
                <a:gd name="T19" fmla="*/ 7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0">
                  <a:moveTo>
                    <a:pt x="120" y="75"/>
                  </a:moveTo>
                  <a:cubicBezTo>
                    <a:pt x="58" y="13"/>
                    <a:pt x="58" y="13"/>
                    <a:pt x="58" y="13"/>
                  </a:cubicBezTo>
                  <a:cubicBezTo>
                    <a:pt x="45" y="0"/>
                    <a:pt x="25" y="0"/>
                    <a:pt x="12" y="13"/>
                  </a:cubicBezTo>
                  <a:cubicBezTo>
                    <a:pt x="0" y="25"/>
                    <a:pt x="0" y="46"/>
                    <a:pt x="12" y="58"/>
                  </a:cubicBezTo>
                  <a:cubicBezTo>
                    <a:pt x="75" y="121"/>
                    <a:pt x="75" y="121"/>
                    <a:pt x="75" y="121"/>
                  </a:cubicBezTo>
                  <a:cubicBezTo>
                    <a:pt x="81" y="127"/>
                    <a:pt x="89" y="130"/>
                    <a:pt x="97" y="130"/>
                  </a:cubicBezTo>
                  <a:cubicBezTo>
                    <a:pt x="106" y="130"/>
                    <a:pt x="114" y="127"/>
                    <a:pt x="120" y="121"/>
                  </a:cubicBezTo>
                  <a:cubicBezTo>
                    <a:pt x="133" y="108"/>
                    <a:pt x="133" y="88"/>
                    <a:pt x="120" y="75"/>
                  </a:cubicBezTo>
                  <a:close/>
                  <a:moveTo>
                    <a:pt x="120" y="75"/>
                  </a:moveTo>
                  <a:cubicBezTo>
                    <a:pt x="120" y="75"/>
                    <a:pt x="120" y="75"/>
                    <a:pt x="120" y="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261"/>
            <p:cNvSpPr>
              <a:spLocks noEditPoints="1"/>
            </p:cNvSpPr>
            <p:nvPr/>
          </p:nvSpPr>
          <p:spPr bwMode="auto">
            <a:xfrm>
              <a:off x="1785" y="2353"/>
              <a:ext cx="252" cy="246"/>
            </a:xfrm>
            <a:custGeom>
              <a:avLst/>
              <a:gdLst>
                <a:gd name="T0" fmla="*/ 120 w 133"/>
                <a:gd name="T1" fmla="*/ 13 h 130"/>
                <a:gd name="T2" fmla="*/ 75 w 133"/>
                <a:gd name="T3" fmla="*/ 13 h 130"/>
                <a:gd name="T4" fmla="*/ 12 w 133"/>
                <a:gd name="T5" fmla="*/ 76 h 130"/>
                <a:gd name="T6" fmla="*/ 12 w 133"/>
                <a:gd name="T7" fmla="*/ 121 h 130"/>
                <a:gd name="T8" fmla="*/ 35 w 133"/>
                <a:gd name="T9" fmla="*/ 130 h 130"/>
                <a:gd name="T10" fmla="*/ 57 w 133"/>
                <a:gd name="T11" fmla="*/ 121 h 130"/>
                <a:gd name="T12" fmla="*/ 120 w 133"/>
                <a:gd name="T13" fmla="*/ 58 h 130"/>
                <a:gd name="T14" fmla="*/ 120 w 133"/>
                <a:gd name="T15" fmla="*/ 13 h 130"/>
                <a:gd name="T16" fmla="*/ 120 w 133"/>
                <a:gd name="T17" fmla="*/ 13 h 130"/>
                <a:gd name="T18" fmla="*/ 120 w 133"/>
                <a:gd name="T19" fmla="*/ 1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0">
                  <a:moveTo>
                    <a:pt x="120" y="13"/>
                  </a:moveTo>
                  <a:cubicBezTo>
                    <a:pt x="108" y="0"/>
                    <a:pt x="88" y="0"/>
                    <a:pt x="75" y="13"/>
                  </a:cubicBezTo>
                  <a:cubicBezTo>
                    <a:pt x="12" y="76"/>
                    <a:pt x="12" y="76"/>
                    <a:pt x="12" y="76"/>
                  </a:cubicBezTo>
                  <a:cubicBezTo>
                    <a:pt x="0" y="88"/>
                    <a:pt x="0" y="108"/>
                    <a:pt x="12" y="121"/>
                  </a:cubicBezTo>
                  <a:cubicBezTo>
                    <a:pt x="18" y="127"/>
                    <a:pt x="27" y="130"/>
                    <a:pt x="35" y="130"/>
                  </a:cubicBezTo>
                  <a:cubicBezTo>
                    <a:pt x="43" y="130"/>
                    <a:pt x="51" y="127"/>
                    <a:pt x="57" y="121"/>
                  </a:cubicBezTo>
                  <a:cubicBezTo>
                    <a:pt x="120" y="58"/>
                    <a:pt x="120" y="58"/>
                    <a:pt x="120" y="58"/>
                  </a:cubicBezTo>
                  <a:cubicBezTo>
                    <a:pt x="133" y="45"/>
                    <a:pt x="133" y="25"/>
                    <a:pt x="120" y="13"/>
                  </a:cubicBezTo>
                  <a:close/>
                  <a:moveTo>
                    <a:pt x="120" y="13"/>
                  </a:moveTo>
                  <a:cubicBezTo>
                    <a:pt x="120" y="13"/>
                    <a:pt x="120" y="13"/>
                    <a:pt x="120"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6" name="Group 264"/>
          <p:cNvGrpSpPr>
            <a:grpSpLocks noChangeAspect="1"/>
          </p:cNvGrpSpPr>
          <p:nvPr/>
        </p:nvGrpSpPr>
        <p:grpSpPr bwMode="auto">
          <a:xfrm>
            <a:off x="6020344" y="1860791"/>
            <a:ext cx="687013" cy="457200"/>
            <a:chOff x="849" y="573"/>
            <a:chExt cx="3115" cy="2073"/>
          </a:xfrm>
          <a:solidFill>
            <a:schemeClr val="accent1"/>
          </a:solidFill>
        </p:grpSpPr>
        <p:sp>
          <p:nvSpPr>
            <p:cNvPr id="268" name="Freeform 265"/>
            <p:cNvSpPr>
              <a:spLocks noEditPoints="1"/>
            </p:cNvSpPr>
            <p:nvPr/>
          </p:nvSpPr>
          <p:spPr bwMode="auto">
            <a:xfrm>
              <a:off x="2217" y="990"/>
              <a:ext cx="122"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66"/>
            <p:cNvSpPr>
              <a:spLocks noEditPoints="1"/>
            </p:cNvSpPr>
            <p:nvPr/>
          </p:nvSpPr>
          <p:spPr bwMode="auto">
            <a:xfrm>
              <a:off x="3622" y="2317"/>
              <a:ext cx="134" cy="128"/>
            </a:xfrm>
            <a:custGeom>
              <a:avLst/>
              <a:gdLst>
                <a:gd name="T0" fmla="*/ 59 w 71"/>
                <a:gd name="T1" fmla="*/ 13 h 68"/>
                <a:gd name="T2" fmla="*/ 14 w 71"/>
                <a:gd name="T3" fmla="*/ 12 h 68"/>
                <a:gd name="T4" fmla="*/ 13 w 71"/>
                <a:gd name="T5" fmla="*/ 13 h 68"/>
                <a:gd name="T6" fmla="*/ 13 w 71"/>
                <a:gd name="T7" fmla="*/ 59 h 68"/>
                <a:gd name="T8" fmla="*/ 36 w 71"/>
                <a:gd name="T9" fmla="*/ 68 h 68"/>
                <a:gd name="T10" fmla="*/ 58 w 71"/>
                <a:gd name="T11" fmla="*/ 58 h 68"/>
                <a:gd name="T12" fmla="*/ 59 w 71"/>
                <a:gd name="T13" fmla="*/ 13 h 68"/>
                <a:gd name="T14" fmla="*/ 59 w 71"/>
                <a:gd name="T15" fmla="*/ 13 h 68"/>
                <a:gd name="T16" fmla="*/ 59 w 71"/>
                <a:gd name="T17" fmla="*/ 1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68">
                  <a:moveTo>
                    <a:pt x="59" y="13"/>
                  </a:moveTo>
                  <a:cubicBezTo>
                    <a:pt x="47" y="0"/>
                    <a:pt x="26" y="0"/>
                    <a:pt x="14" y="12"/>
                  </a:cubicBezTo>
                  <a:cubicBezTo>
                    <a:pt x="13" y="13"/>
                    <a:pt x="13" y="13"/>
                    <a:pt x="13" y="13"/>
                  </a:cubicBezTo>
                  <a:cubicBezTo>
                    <a:pt x="0" y="26"/>
                    <a:pt x="1" y="46"/>
                    <a:pt x="13" y="59"/>
                  </a:cubicBezTo>
                  <a:cubicBezTo>
                    <a:pt x="19" y="65"/>
                    <a:pt x="27" y="68"/>
                    <a:pt x="36" y="68"/>
                  </a:cubicBezTo>
                  <a:cubicBezTo>
                    <a:pt x="44" y="68"/>
                    <a:pt x="52" y="65"/>
                    <a:pt x="58" y="58"/>
                  </a:cubicBezTo>
                  <a:cubicBezTo>
                    <a:pt x="71" y="46"/>
                    <a:pt x="71" y="26"/>
                    <a:pt x="59" y="13"/>
                  </a:cubicBezTo>
                  <a:close/>
                  <a:moveTo>
                    <a:pt x="59" y="13"/>
                  </a:moveTo>
                  <a:cubicBezTo>
                    <a:pt x="59" y="13"/>
                    <a:pt x="59" y="13"/>
                    <a:pt x="59"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67"/>
            <p:cNvSpPr>
              <a:spLocks noEditPoints="1"/>
            </p:cNvSpPr>
            <p:nvPr/>
          </p:nvSpPr>
          <p:spPr bwMode="auto">
            <a:xfrm>
              <a:off x="849" y="573"/>
              <a:ext cx="3115" cy="2073"/>
            </a:xfrm>
            <a:custGeom>
              <a:avLst/>
              <a:gdLst>
                <a:gd name="T0" fmla="*/ 1584 w 1646"/>
                <a:gd name="T1" fmla="*/ 501 h 1094"/>
                <a:gd name="T2" fmla="*/ 1577 w 1646"/>
                <a:gd name="T3" fmla="*/ 489 h 1094"/>
                <a:gd name="T4" fmla="*/ 1384 w 1646"/>
                <a:gd name="T5" fmla="*/ 186 h 1094"/>
                <a:gd name="T6" fmla="*/ 934 w 1646"/>
                <a:gd name="T7" fmla="*/ 87 h 1094"/>
                <a:gd name="T8" fmla="*/ 705 w 1646"/>
                <a:gd name="T9" fmla="*/ 87 h 1094"/>
                <a:gd name="T10" fmla="*/ 255 w 1646"/>
                <a:gd name="T11" fmla="*/ 186 h 1094"/>
                <a:gd name="T12" fmla="*/ 54 w 1646"/>
                <a:gd name="T13" fmla="*/ 502 h 1094"/>
                <a:gd name="T14" fmla="*/ 394 w 1646"/>
                <a:gd name="T15" fmla="*/ 1094 h 1094"/>
                <a:gd name="T16" fmla="*/ 819 w 1646"/>
                <a:gd name="T17" fmla="*/ 917 h 1094"/>
                <a:gd name="T18" fmla="*/ 967 w 1646"/>
                <a:gd name="T19" fmla="*/ 978 h 1094"/>
                <a:gd name="T20" fmla="*/ 1418 w 1646"/>
                <a:gd name="T21" fmla="*/ 1053 h 1094"/>
                <a:gd name="T22" fmla="*/ 1390 w 1646"/>
                <a:gd name="T23" fmla="*/ 996 h 1094"/>
                <a:gd name="T24" fmla="*/ 1006 w 1646"/>
                <a:gd name="T25" fmla="*/ 928 h 1094"/>
                <a:gd name="T26" fmla="*/ 1237 w 1646"/>
                <a:gd name="T27" fmla="*/ 829 h 1094"/>
                <a:gd name="T28" fmla="*/ 1282 w 1646"/>
                <a:gd name="T29" fmla="*/ 829 h 1094"/>
                <a:gd name="T30" fmla="*/ 1409 w 1646"/>
                <a:gd name="T31" fmla="*/ 756 h 1094"/>
                <a:gd name="T32" fmla="*/ 1441 w 1646"/>
                <a:gd name="T33" fmla="*/ 657 h 1094"/>
                <a:gd name="T34" fmla="*/ 1341 w 1646"/>
                <a:gd name="T35" fmla="*/ 625 h 1094"/>
                <a:gd name="T36" fmla="*/ 1333 w 1646"/>
                <a:gd name="T37" fmla="*/ 687 h 1094"/>
                <a:gd name="T38" fmla="*/ 1193 w 1646"/>
                <a:gd name="T39" fmla="*/ 695 h 1094"/>
                <a:gd name="T40" fmla="*/ 967 w 1646"/>
                <a:gd name="T41" fmla="*/ 877 h 1094"/>
                <a:gd name="T42" fmla="*/ 1478 w 1646"/>
                <a:gd name="T43" fmla="*/ 467 h 1094"/>
                <a:gd name="T44" fmla="*/ 1527 w 1646"/>
                <a:gd name="T45" fmla="*/ 529 h 1094"/>
                <a:gd name="T46" fmla="*/ 1550 w 1646"/>
                <a:gd name="T47" fmla="*/ 897 h 1094"/>
                <a:gd name="T48" fmla="*/ 1634 w 1646"/>
                <a:gd name="T49" fmla="*/ 644 h 1094"/>
                <a:gd name="T50" fmla="*/ 159 w 1646"/>
                <a:gd name="T51" fmla="*/ 931 h 1094"/>
                <a:gd name="T52" fmla="*/ 393 w 1646"/>
                <a:gd name="T53" fmla="*/ 829 h 1094"/>
                <a:gd name="T54" fmla="*/ 535 w 1646"/>
                <a:gd name="T55" fmla="*/ 733 h 1094"/>
                <a:gd name="T56" fmla="*/ 598 w 1646"/>
                <a:gd name="T57" fmla="*/ 724 h 1094"/>
                <a:gd name="T58" fmla="*/ 566 w 1646"/>
                <a:gd name="T59" fmla="*/ 625 h 1094"/>
                <a:gd name="T60" fmla="*/ 466 w 1646"/>
                <a:gd name="T61" fmla="*/ 657 h 1094"/>
                <a:gd name="T62" fmla="*/ 416 w 1646"/>
                <a:gd name="T63" fmla="*/ 761 h 1094"/>
                <a:gd name="T64" fmla="*/ 327 w 1646"/>
                <a:gd name="T65" fmla="*/ 686 h 1094"/>
                <a:gd name="T66" fmla="*/ 118 w 1646"/>
                <a:gd name="T67" fmla="*/ 881 h 1094"/>
                <a:gd name="T68" fmla="*/ 394 w 1646"/>
                <a:gd name="T69" fmla="*/ 370 h 1094"/>
                <a:gd name="T70" fmla="*/ 394 w 1646"/>
                <a:gd name="T71" fmla="*/ 1030 h 1094"/>
                <a:gd name="T72" fmla="*/ 774 w 1646"/>
                <a:gd name="T73" fmla="*/ 808 h 1094"/>
                <a:gd name="T74" fmla="*/ 864 w 1646"/>
                <a:gd name="T75" fmla="*/ 808 h 1094"/>
                <a:gd name="T76" fmla="*/ 967 w 1646"/>
                <a:gd name="T77" fmla="*/ 422 h 1094"/>
                <a:gd name="T78" fmla="*/ 915 w 1646"/>
                <a:gd name="T79" fmla="*/ 252 h 1094"/>
                <a:gd name="T80" fmla="*/ 851 w 1646"/>
                <a:gd name="T81" fmla="*/ 252 h 1094"/>
                <a:gd name="T82" fmla="*/ 851 w 1646"/>
                <a:gd name="T83" fmla="*/ 704 h 1094"/>
                <a:gd name="T84" fmla="*/ 819 w 1646"/>
                <a:gd name="T85" fmla="*/ 699 h 1094"/>
                <a:gd name="T86" fmla="*/ 787 w 1646"/>
                <a:gd name="T87" fmla="*/ 700 h 1094"/>
                <a:gd name="T88" fmla="*/ 755 w 1646"/>
                <a:gd name="T89" fmla="*/ 329 h 1094"/>
                <a:gd name="T90" fmla="*/ 723 w 1646"/>
                <a:gd name="T91" fmla="*/ 485 h 1094"/>
                <a:gd name="T92" fmla="*/ 232 w 1646"/>
                <a:gd name="T93" fmla="*/ 341 h 1094"/>
                <a:gd name="T94" fmla="*/ 436 w 1646"/>
                <a:gd name="T95" fmla="*/ 151 h 1094"/>
                <a:gd name="T96" fmla="*/ 765 w 1646"/>
                <a:gd name="T97" fmla="*/ 119 h 1094"/>
                <a:gd name="T98" fmla="*/ 875 w 1646"/>
                <a:gd name="T99" fmla="*/ 119 h 1094"/>
                <a:gd name="T100" fmla="*/ 1202 w 1646"/>
                <a:gd name="T101" fmla="*/ 151 h 1094"/>
                <a:gd name="T102" fmla="*/ 1407 w 1646"/>
                <a:gd name="T103" fmla="*/ 341 h 1094"/>
                <a:gd name="T104" fmla="*/ 967 w 1646"/>
                <a:gd name="T105" fmla="*/ 42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46" h="1094">
                  <a:moveTo>
                    <a:pt x="1634" y="644"/>
                  </a:moveTo>
                  <a:cubicBezTo>
                    <a:pt x="1627" y="592"/>
                    <a:pt x="1610" y="544"/>
                    <a:pt x="1584" y="501"/>
                  </a:cubicBezTo>
                  <a:cubicBezTo>
                    <a:pt x="1584" y="499"/>
                    <a:pt x="1583" y="498"/>
                    <a:pt x="1582" y="497"/>
                  </a:cubicBezTo>
                  <a:cubicBezTo>
                    <a:pt x="1577" y="489"/>
                    <a:pt x="1577" y="489"/>
                    <a:pt x="1577" y="489"/>
                  </a:cubicBezTo>
                  <a:cubicBezTo>
                    <a:pt x="1576" y="487"/>
                    <a:pt x="1575" y="485"/>
                    <a:pt x="1573" y="482"/>
                  </a:cubicBezTo>
                  <a:cubicBezTo>
                    <a:pt x="1384" y="186"/>
                    <a:pt x="1384" y="186"/>
                    <a:pt x="1384" y="186"/>
                  </a:cubicBezTo>
                  <a:cubicBezTo>
                    <a:pt x="1344" y="124"/>
                    <a:pt x="1276" y="87"/>
                    <a:pt x="1202" y="87"/>
                  </a:cubicBezTo>
                  <a:cubicBezTo>
                    <a:pt x="934" y="87"/>
                    <a:pt x="934" y="87"/>
                    <a:pt x="934" y="87"/>
                  </a:cubicBezTo>
                  <a:cubicBezTo>
                    <a:pt x="920" y="37"/>
                    <a:pt x="874" y="0"/>
                    <a:pt x="820" y="0"/>
                  </a:cubicBezTo>
                  <a:cubicBezTo>
                    <a:pt x="765" y="0"/>
                    <a:pt x="719" y="37"/>
                    <a:pt x="705" y="87"/>
                  </a:cubicBezTo>
                  <a:cubicBezTo>
                    <a:pt x="436" y="87"/>
                    <a:pt x="436" y="87"/>
                    <a:pt x="436" y="87"/>
                  </a:cubicBezTo>
                  <a:cubicBezTo>
                    <a:pt x="363" y="87"/>
                    <a:pt x="295" y="124"/>
                    <a:pt x="255" y="186"/>
                  </a:cubicBezTo>
                  <a:cubicBezTo>
                    <a:pt x="56" y="497"/>
                    <a:pt x="56" y="497"/>
                    <a:pt x="56" y="497"/>
                  </a:cubicBezTo>
                  <a:cubicBezTo>
                    <a:pt x="55" y="499"/>
                    <a:pt x="54" y="500"/>
                    <a:pt x="54" y="502"/>
                  </a:cubicBezTo>
                  <a:cubicBezTo>
                    <a:pt x="20" y="560"/>
                    <a:pt x="0" y="628"/>
                    <a:pt x="0" y="700"/>
                  </a:cubicBezTo>
                  <a:cubicBezTo>
                    <a:pt x="0" y="917"/>
                    <a:pt x="177" y="1094"/>
                    <a:pt x="394" y="1094"/>
                  </a:cubicBezTo>
                  <a:cubicBezTo>
                    <a:pt x="544" y="1094"/>
                    <a:pt x="675" y="1009"/>
                    <a:pt x="742" y="884"/>
                  </a:cubicBezTo>
                  <a:cubicBezTo>
                    <a:pt x="761" y="904"/>
                    <a:pt x="789" y="917"/>
                    <a:pt x="819" y="917"/>
                  </a:cubicBezTo>
                  <a:cubicBezTo>
                    <a:pt x="850" y="917"/>
                    <a:pt x="877" y="904"/>
                    <a:pt x="897" y="884"/>
                  </a:cubicBezTo>
                  <a:cubicBezTo>
                    <a:pt x="915" y="918"/>
                    <a:pt x="938" y="950"/>
                    <a:pt x="967" y="978"/>
                  </a:cubicBezTo>
                  <a:cubicBezTo>
                    <a:pt x="1042" y="1054"/>
                    <a:pt x="1143" y="1094"/>
                    <a:pt x="1245" y="1094"/>
                  </a:cubicBezTo>
                  <a:cubicBezTo>
                    <a:pt x="1304" y="1094"/>
                    <a:pt x="1363" y="1081"/>
                    <a:pt x="1418" y="1053"/>
                  </a:cubicBezTo>
                  <a:cubicBezTo>
                    <a:pt x="1434" y="1046"/>
                    <a:pt x="1441" y="1026"/>
                    <a:pt x="1433" y="1011"/>
                  </a:cubicBezTo>
                  <a:cubicBezTo>
                    <a:pt x="1425" y="995"/>
                    <a:pt x="1406" y="988"/>
                    <a:pt x="1390" y="996"/>
                  </a:cubicBezTo>
                  <a:cubicBezTo>
                    <a:pt x="1264" y="1058"/>
                    <a:pt x="1112" y="1033"/>
                    <a:pt x="1012" y="933"/>
                  </a:cubicBezTo>
                  <a:cubicBezTo>
                    <a:pt x="1010" y="931"/>
                    <a:pt x="1008" y="929"/>
                    <a:pt x="1006" y="928"/>
                  </a:cubicBezTo>
                  <a:cubicBezTo>
                    <a:pt x="1171" y="763"/>
                    <a:pt x="1171" y="763"/>
                    <a:pt x="1171" y="763"/>
                  </a:cubicBezTo>
                  <a:cubicBezTo>
                    <a:pt x="1237" y="829"/>
                    <a:pt x="1237" y="829"/>
                    <a:pt x="1237" y="829"/>
                  </a:cubicBezTo>
                  <a:cubicBezTo>
                    <a:pt x="1243" y="835"/>
                    <a:pt x="1251" y="838"/>
                    <a:pt x="1259" y="838"/>
                  </a:cubicBezTo>
                  <a:cubicBezTo>
                    <a:pt x="1268" y="838"/>
                    <a:pt x="1276" y="835"/>
                    <a:pt x="1282" y="829"/>
                  </a:cubicBezTo>
                  <a:cubicBezTo>
                    <a:pt x="1378" y="733"/>
                    <a:pt x="1378" y="733"/>
                    <a:pt x="1378" y="733"/>
                  </a:cubicBezTo>
                  <a:cubicBezTo>
                    <a:pt x="1382" y="746"/>
                    <a:pt x="1394" y="756"/>
                    <a:pt x="1409" y="756"/>
                  </a:cubicBezTo>
                  <a:cubicBezTo>
                    <a:pt x="1427" y="756"/>
                    <a:pt x="1441" y="742"/>
                    <a:pt x="1441" y="724"/>
                  </a:cubicBezTo>
                  <a:cubicBezTo>
                    <a:pt x="1441" y="657"/>
                    <a:pt x="1441" y="657"/>
                    <a:pt x="1441" y="657"/>
                  </a:cubicBezTo>
                  <a:cubicBezTo>
                    <a:pt x="1441" y="639"/>
                    <a:pt x="1427" y="625"/>
                    <a:pt x="1409" y="625"/>
                  </a:cubicBezTo>
                  <a:cubicBezTo>
                    <a:pt x="1341" y="625"/>
                    <a:pt x="1341" y="625"/>
                    <a:pt x="1341" y="625"/>
                  </a:cubicBezTo>
                  <a:cubicBezTo>
                    <a:pt x="1324" y="625"/>
                    <a:pt x="1309" y="639"/>
                    <a:pt x="1309" y="657"/>
                  </a:cubicBezTo>
                  <a:cubicBezTo>
                    <a:pt x="1309" y="671"/>
                    <a:pt x="1319" y="684"/>
                    <a:pt x="1333" y="687"/>
                  </a:cubicBezTo>
                  <a:cubicBezTo>
                    <a:pt x="1259" y="761"/>
                    <a:pt x="1259" y="761"/>
                    <a:pt x="1259" y="761"/>
                  </a:cubicBezTo>
                  <a:cubicBezTo>
                    <a:pt x="1193" y="695"/>
                    <a:pt x="1193" y="695"/>
                    <a:pt x="1193" y="695"/>
                  </a:cubicBezTo>
                  <a:cubicBezTo>
                    <a:pt x="1181" y="683"/>
                    <a:pt x="1161" y="683"/>
                    <a:pt x="1148" y="695"/>
                  </a:cubicBezTo>
                  <a:cubicBezTo>
                    <a:pt x="967" y="877"/>
                    <a:pt x="967" y="877"/>
                    <a:pt x="967" y="877"/>
                  </a:cubicBezTo>
                  <a:cubicBezTo>
                    <a:pt x="886" y="749"/>
                    <a:pt x="901" y="578"/>
                    <a:pt x="1012" y="467"/>
                  </a:cubicBezTo>
                  <a:cubicBezTo>
                    <a:pt x="1140" y="338"/>
                    <a:pt x="1349" y="338"/>
                    <a:pt x="1478" y="467"/>
                  </a:cubicBezTo>
                  <a:cubicBezTo>
                    <a:pt x="1494" y="483"/>
                    <a:pt x="1508" y="500"/>
                    <a:pt x="1520" y="518"/>
                  </a:cubicBezTo>
                  <a:cubicBezTo>
                    <a:pt x="1527" y="529"/>
                    <a:pt x="1527" y="529"/>
                    <a:pt x="1527" y="529"/>
                  </a:cubicBezTo>
                  <a:cubicBezTo>
                    <a:pt x="1586" y="626"/>
                    <a:pt x="1592" y="749"/>
                    <a:pt x="1537" y="853"/>
                  </a:cubicBezTo>
                  <a:cubicBezTo>
                    <a:pt x="1528" y="869"/>
                    <a:pt x="1534" y="888"/>
                    <a:pt x="1550" y="897"/>
                  </a:cubicBezTo>
                  <a:cubicBezTo>
                    <a:pt x="1566" y="905"/>
                    <a:pt x="1585" y="899"/>
                    <a:pt x="1593" y="883"/>
                  </a:cubicBezTo>
                  <a:cubicBezTo>
                    <a:pt x="1632" y="811"/>
                    <a:pt x="1646" y="725"/>
                    <a:pt x="1634" y="644"/>
                  </a:cubicBezTo>
                  <a:close/>
                  <a:moveTo>
                    <a:pt x="394" y="1030"/>
                  </a:moveTo>
                  <a:cubicBezTo>
                    <a:pt x="302" y="1030"/>
                    <a:pt x="219" y="992"/>
                    <a:pt x="159" y="931"/>
                  </a:cubicBezTo>
                  <a:cubicBezTo>
                    <a:pt x="327" y="763"/>
                    <a:pt x="327" y="763"/>
                    <a:pt x="327" y="763"/>
                  </a:cubicBezTo>
                  <a:cubicBezTo>
                    <a:pt x="393" y="829"/>
                    <a:pt x="393" y="829"/>
                    <a:pt x="393" y="829"/>
                  </a:cubicBezTo>
                  <a:cubicBezTo>
                    <a:pt x="406" y="842"/>
                    <a:pt x="426" y="842"/>
                    <a:pt x="438" y="829"/>
                  </a:cubicBezTo>
                  <a:cubicBezTo>
                    <a:pt x="535" y="733"/>
                    <a:pt x="535" y="733"/>
                    <a:pt x="535" y="733"/>
                  </a:cubicBezTo>
                  <a:cubicBezTo>
                    <a:pt x="538" y="746"/>
                    <a:pt x="551" y="756"/>
                    <a:pt x="566" y="756"/>
                  </a:cubicBezTo>
                  <a:cubicBezTo>
                    <a:pt x="583" y="756"/>
                    <a:pt x="598" y="742"/>
                    <a:pt x="598" y="724"/>
                  </a:cubicBezTo>
                  <a:cubicBezTo>
                    <a:pt x="598" y="657"/>
                    <a:pt x="598" y="657"/>
                    <a:pt x="598" y="657"/>
                  </a:cubicBezTo>
                  <a:cubicBezTo>
                    <a:pt x="598" y="639"/>
                    <a:pt x="583" y="625"/>
                    <a:pt x="566" y="625"/>
                  </a:cubicBezTo>
                  <a:cubicBezTo>
                    <a:pt x="498" y="625"/>
                    <a:pt x="498" y="625"/>
                    <a:pt x="498" y="625"/>
                  </a:cubicBezTo>
                  <a:cubicBezTo>
                    <a:pt x="480" y="625"/>
                    <a:pt x="466" y="639"/>
                    <a:pt x="466" y="657"/>
                  </a:cubicBezTo>
                  <a:cubicBezTo>
                    <a:pt x="466" y="671"/>
                    <a:pt x="476" y="684"/>
                    <a:pt x="489" y="687"/>
                  </a:cubicBezTo>
                  <a:cubicBezTo>
                    <a:pt x="416" y="761"/>
                    <a:pt x="416" y="761"/>
                    <a:pt x="416" y="761"/>
                  </a:cubicBezTo>
                  <a:cubicBezTo>
                    <a:pt x="350" y="695"/>
                    <a:pt x="350" y="695"/>
                    <a:pt x="350" y="695"/>
                  </a:cubicBezTo>
                  <a:cubicBezTo>
                    <a:pt x="344" y="689"/>
                    <a:pt x="336" y="686"/>
                    <a:pt x="327" y="686"/>
                  </a:cubicBezTo>
                  <a:cubicBezTo>
                    <a:pt x="319" y="686"/>
                    <a:pt x="310" y="689"/>
                    <a:pt x="304" y="695"/>
                  </a:cubicBezTo>
                  <a:cubicBezTo>
                    <a:pt x="118" y="881"/>
                    <a:pt x="118" y="881"/>
                    <a:pt x="118" y="881"/>
                  </a:cubicBezTo>
                  <a:cubicBezTo>
                    <a:pt x="84" y="829"/>
                    <a:pt x="64" y="767"/>
                    <a:pt x="64" y="700"/>
                  </a:cubicBezTo>
                  <a:cubicBezTo>
                    <a:pt x="64" y="518"/>
                    <a:pt x="212" y="370"/>
                    <a:pt x="394" y="370"/>
                  </a:cubicBezTo>
                  <a:cubicBezTo>
                    <a:pt x="575" y="370"/>
                    <a:pt x="723" y="518"/>
                    <a:pt x="723" y="700"/>
                  </a:cubicBezTo>
                  <a:cubicBezTo>
                    <a:pt x="723" y="882"/>
                    <a:pt x="575" y="1030"/>
                    <a:pt x="394" y="1030"/>
                  </a:cubicBezTo>
                  <a:close/>
                  <a:moveTo>
                    <a:pt x="819" y="853"/>
                  </a:moveTo>
                  <a:cubicBezTo>
                    <a:pt x="795" y="853"/>
                    <a:pt x="774" y="832"/>
                    <a:pt x="774" y="808"/>
                  </a:cubicBezTo>
                  <a:cubicBezTo>
                    <a:pt x="774" y="783"/>
                    <a:pt x="795" y="763"/>
                    <a:pt x="819" y="763"/>
                  </a:cubicBezTo>
                  <a:cubicBezTo>
                    <a:pt x="844" y="763"/>
                    <a:pt x="864" y="783"/>
                    <a:pt x="864" y="808"/>
                  </a:cubicBezTo>
                  <a:cubicBezTo>
                    <a:pt x="864" y="832"/>
                    <a:pt x="844" y="853"/>
                    <a:pt x="819" y="853"/>
                  </a:cubicBezTo>
                  <a:close/>
                  <a:moveTo>
                    <a:pt x="967" y="422"/>
                  </a:moveTo>
                  <a:cubicBezTo>
                    <a:pt x="947" y="441"/>
                    <a:pt x="930" y="463"/>
                    <a:pt x="915" y="485"/>
                  </a:cubicBezTo>
                  <a:cubicBezTo>
                    <a:pt x="915" y="252"/>
                    <a:pt x="915" y="252"/>
                    <a:pt x="915" y="252"/>
                  </a:cubicBezTo>
                  <a:cubicBezTo>
                    <a:pt x="915" y="235"/>
                    <a:pt x="901" y="220"/>
                    <a:pt x="883" y="220"/>
                  </a:cubicBezTo>
                  <a:cubicBezTo>
                    <a:pt x="866" y="220"/>
                    <a:pt x="851" y="235"/>
                    <a:pt x="851" y="252"/>
                  </a:cubicBezTo>
                  <a:cubicBezTo>
                    <a:pt x="851" y="700"/>
                    <a:pt x="851" y="700"/>
                    <a:pt x="851" y="700"/>
                  </a:cubicBezTo>
                  <a:cubicBezTo>
                    <a:pt x="851" y="701"/>
                    <a:pt x="851" y="703"/>
                    <a:pt x="851" y="704"/>
                  </a:cubicBezTo>
                  <a:cubicBezTo>
                    <a:pt x="851" y="704"/>
                    <a:pt x="851" y="704"/>
                    <a:pt x="851" y="704"/>
                  </a:cubicBezTo>
                  <a:cubicBezTo>
                    <a:pt x="841" y="701"/>
                    <a:pt x="830" y="699"/>
                    <a:pt x="819" y="699"/>
                  </a:cubicBezTo>
                  <a:cubicBezTo>
                    <a:pt x="808" y="699"/>
                    <a:pt x="797" y="701"/>
                    <a:pt x="787" y="704"/>
                  </a:cubicBezTo>
                  <a:cubicBezTo>
                    <a:pt x="787" y="703"/>
                    <a:pt x="787" y="701"/>
                    <a:pt x="787" y="700"/>
                  </a:cubicBezTo>
                  <a:cubicBezTo>
                    <a:pt x="787" y="361"/>
                    <a:pt x="787" y="361"/>
                    <a:pt x="787" y="361"/>
                  </a:cubicBezTo>
                  <a:cubicBezTo>
                    <a:pt x="787" y="343"/>
                    <a:pt x="773" y="329"/>
                    <a:pt x="755" y="329"/>
                  </a:cubicBezTo>
                  <a:cubicBezTo>
                    <a:pt x="738" y="329"/>
                    <a:pt x="723" y="343"/>
                    <a:pt x="723" y="361"/>
                  </a:cubicBezTo>
                  <a:cubicBezTo>
                    <a:pt x="723" y="485"/>
                    <a:pt x="723" y="485"/>
                    <a:pt x="723" y="485"/>
                  </a:cubicBezTo>
                  <a:cubicBezTo>
                    <a:pt x="653" y="378"/>
                    <a:pt x="531" y="306"/>
                    <a:pt x="394" y="306"/>
                  </a:cubicBezTo>
                  <a:cubicBezTo>
                    <a:pt x="336" y="306"/>
                    <a:pt x="281" y="319"/>
                    <a:pt x="232" y="341"/>
                  </a:cubicBezTo>
                  <a:cubicBezTo>
                    <a:pt x="309" y="221"/>
                    <a:pt x="309" y="221"/>
                    <a:pt x="309" y="221"/>
                  </a:cubicBezTo>
                  <a:cubicBezTo>
                    <a:pt x="337" y="177"/>
                    <a:pt x="384" y="151"/>
                    <a:pt x="436" y="151"/>
                  </a:cubicBezTo>
                  <a:cubicBezTo>
                    <a:pt x="733" y="151"/>
                    <a:pt x="733" y="151"/>
                    <a:pt x="733" y="151"/>
                  </a:cubicBezTo>
                  <a:cubicBezTo>
                    <a:pt x="750" y="151"/>
                    <a:pt x="765" y="137"/>
                    <a:pt x="765" y="119"/>
                  </a:cubicBezTo>
                  <a:cubicBezTo>
                    <a:pt x="765" y="89"/>
                    <a:pt x="789" y="64"/>
                    <a:pt x="820" y="64"/>
                  </a:cubicBezTo>
                  <a:cubicBezTo>
                    <a:pt x="850" y="64"/>
                    <a:pt x="875" y="89"/>
                    <a:pt x="875" y="119"/>
                  </a:cubicBezTo>
                  <a:cubicBezTo>
                    <a:pt x="875" y="137"/>
                    <a:pt x="889" y="151"/>
                    <a:pt x="907" y="151"/>
                  </a:cubicBezTo>
                  <a:cubicBezTo>
                    <a:pt x="1202" y="151"/>
                    <a:pt x="1202" y="151"/>
                    <a:pt x="1202" y="151"/>
                  </a:cubicBezTo>
                  <a:cubicBezTo>
                    <a:pt x="1254" y="151"/>
                    <a:pt x="1302" y="177"/>
                    <a:pt x="1330" y="221"/>
                  </a:cubicBezTo>
                  <a:cubicBezTo>
                    <a:pt x="1407" y="341"/>
                    <a:pt x="1407" y="341"/>
                    <a:pt x="1407" y="341"/>
                  </a:cubicBezTo>
                  <a:cubicBezTo>
                    <a:pt x="1262" y="276"/>
                    <a:pt x="1085" y="303"/>
                    <a:pt x="967" y="422"/>
                  </a:cubicBezTo>
                  <a:close/>
                  <a:moveTo>
                    <a:pt x="967" y="422"/>
                  </a:moveTo>
                  <a:cubicBezTo>
                    <a:pt x="967" y="422"/>
                    <a:pt x="967" y="422"/>
                    <a:pt x="967" y="4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3" name="Group 309"/>
          <p:cNvGrpSpPr>
            <a:grpSpLocks noChangeAspect="1"/>
          </p:cNvGrpSpPr>
          <p:nvPr/>
        </p:nvGrpSpPr>
        <p:grpSpPr bwMode="auto">
          <a:xfrm>
            <a:off x="2806027" y="1860791"/>
            <a:ext cx="576850" cy="457200"/>
            <a:chOff x="3050" y="326"/>
            <a:chExt cx="3100" cy="2457"/>
          </a:xfrm>
          <a:solidFill>
            <a:schemeClr val="accent1"/>
          </a:solidFill>
        </p:grpSpPr>
        <p:sp>
          <p:nvSpPr>
            <p:cNvPr id="315" name="Freeform 310"/>
            <p:cNvSpPr>
              <a:spLocks noEditPoints="1"/>
            </p:cNvSpPr>
            <p:nvPr/>
          </p:nvSpPr>
          <p:spPr bwMode="auto">
            <a:xfrm>
              <a:off x="3050" y="326"/>
              <a:ext cx="2513" cy="2457"/>
            </a:xfrm>
            <a:custGeom>
              <a:avLst/>
              <a:gdLst>
                <a:gd name="T0" fmla="*/ 1287 w 1328"/>
                <a:gd name="T1" fmla="*/ 22 h 1297"/>
                <a:gd name="T2" fmla="*/ 1199 w 1328"/>
                <a:gd name="T3" fmla="*/ 10 h 1297"/>
                <a:gd name="T4" fmla="*/ 781 w 1328"/>
                <a:gd name="T5" fmla="*/ 160 h 1297"/>
                <a:gd name="T6" fmla="*/ 762 w 1328"/>
                <a:gd name="T7" fmla="*/ 201 h 1297"/>
                <a:gd name="T8" fmla="*/ 803 w 1328"/>
                <a:gd name="T9" fmla="*/ 220 h 1297"/>
                <a:gd name="T10" fmla="*/ 1221 w 1328"/>
                <a:gd name="T11" fmla="*/ 70 h 1297"/>
                <a:gd name="T12" fmla="*/ 1250 w 1328"/>
                <a:gd name="T13" fmla="*/ 74 h 1297"/>
                <a:gd name="T14" fmla="*/ 1264 w 1328"/>
                <a:gd name="T15" fmla="*/ 100 h 1297"/>
                <a:gd name="T16" fmla="*/ 1264 w 1328"/>
                <a:gd name="T17" fmla="*/ 1023 h 1297"/>
                <a:gd name="T18" fmla="*/ 1250 w 1328"/>
                <a:gd name="T19" fmla="*/ 1050 h 1297"/>
                <a:gd name="T20" fmla="*/ 1221 w 1328"/>
                <a:gd name="T21" fmla="*/ 1053 h 1297"/>
                <a:gd name="T22" fmla="*/ 1198 w 1328"/>
                <a:gd name="T23" fmla="*/ 1045 h 1297"/>
                <a:gd name="T24" fmla="*/ 1198 w 1328"/>
                <a:gd name="T25" fmla="*/ 717 h 1297"/>
                <a:gd name="T26" fmla="*/ 1166 w 1328"/>
                <a:gd name="T27" fmla="*/ 685 h 1297"/>
                <a:gd name="T28" fmla="*/ 1134 w 1328"/>
                <a:gd name="T29" fmla="*/ 717 h 1297"/>
                <a:gd name="T30" fmla="*/ 1134 w 1328"/>
                <a:gd name="T31" fmla="*/ 1022 h 1297"/>
                <a:gd name="T32" fmla="*/ 448 w 1328"/>
                <a:gd name="T33" fmla="*/ 776 h 1297"/>
                <a:gd name="T34" fmla="*/ 448 w 1328"/>
                <a:gd name="T35" fmla="*/ 348 h 1297"/>
                <a:gd name="T36" fmla="*/ 586 w 1328"/>
                <a:gd name="T37" fmla="*/ 298 h 1297"/>
                <a:gd name="T38" fmla="*/ 606 w 1328"/>
                <a:gd name="T39" fmla="*/ 257 h 1297"/>
                <a:gd name="T40" fmla="*/ 565 w 1328"/>
                <a:gd name="T41" fmla="*/ 238 h 1297"/>
                <a:gd name="T42" fmla="*/ 410 w 1328"/>
                <a:gd name="T43" fmla="*/ 293 h 1297"/>
                <a:gd name="T44" fmla="*/ 160 w 1328"/>
                <a:gd name="T45" fmla="*/ 293 h 1297"/>
                <a:gd name="T46" fmla="*/ 0 w 1328"/>
                <a:gd name="T47" fmla="*/ 453 h 1297"/>
                <a:gd name="T48" fmla="*/ 0 w 1328"/>
                <a:gd name="T49" fmla="*/ 671 h 1297"/>
                <a:gd name="T50" fmla="*/ 160 w 1328"/>
                <a:gd name="T51" fmla="*/ 831 h 1297"/>
                <a:gd name="T52" fmla="*/ 163 w 1328"/>
                <a:gd name="T53" fmla="*/ 831 h 1297"/>
                <a:gd name="T54" fmla="*/ 320 w 1328"/>
                <a:gd name="T55" fmla="*/ 1253 h 1297"/>
                <a:gd name="T56" fmla="*/ 383 w 1328"/>
                <a:gd name="T57" fmla="*/ 1297 h 1297"/>
                <a:gd name="T58" fmla="*/ 543 w 1328"/>
                <a:gd name="T59" fmla="*/ 1297 h 1297"/>
                <a:gd name="T60" fmla="*/ 599 w 1328"/>
                <a:gd name="T61" fmla="*/ 1268 h 1297"/>
                <a:gd name="T62" fmla="*/ 607 w 1328"/>
                <a:gd name="T63" fmla="*/ 1206 h 1297"/>
                <a:gd name="T64" fmla="*/ 476 w 1328"/>
                <a:gd name="T65" fmla="*/ 854 h 1297"/>
                <a:gd name="T66" fmla="*/ 1199 w 1328"/>
                <a:gd name="T67" fmla="*/ 1114 h 1297"/>
                <a:gd name="T68" fmla="*/ 1232 w 1328"/>
                <a:gd name="T69" fmla="*/ 1119 h 1297"/>
                <a:gd name="T70" fmla="*/ 1287 w 1328"/>
                <a:gd name="T71" fmla="*/ 1102 h 1297"/>
                <a:gd name="T72" fmla="*/ 1328 w 1328"/>
                <a:gd name="T73" fmla="*/ 1023 h 1297"/>
                <a:gd name="T74" fmla="*/ 1328 w 1328"/>
                <a:gd name="T75" fmla="*/ 100 h 1297"/>
                <a:gd name="T76" fmla="*/ 1287 w 1328"/>
                <a:gd name="T77" fmla="*/ 22 h 1297"/>
                <a:gd name="T78" fmla="*/ 160 w 1328"/>
                <a:gd name="T79" fmla="*/ 767 h 1297"/>
                <a:gd name="T80" fmla="*/ 64 w 1328"/>
                <a:gd name="T81" fmla="*/ 671 h 1297"/>
                <a:gd name="T82" fmla="*/ 64 w 1328"/>
                <a:gd name="T83" fmla="*/ 453 h 1297"/>
                <a:gd name="T84" fmla="*/ 160 w 1328"/>
                <a:gd name="T85" fmla="*/ 357 h 1297"/>
                <a:gd name="T86" fmla="*/ 384 w 1328"/>
                <a:gd name="T87" fmla="*/ 357 h 1297"/>
                <a:gd name="T88" fmla="*/ 384 w 1328"/>
                <a:gd name="T89" fmla="*/ 767 h 1297"/>
                <a:gd name="T90" fmla="*/ 160 w 1328"/>
                <a:gd name="T91" fmla="*/ 767 h 1297"/>
                <a:gd name="T92" fmla="*/ 547 w 1328"/>
                <a:gd name="T93" fmla="*/ 1228 h 1297"/>
                <a:gd name="T94" fmla="*/ 546 w 1328"/>
                <a:gd name="T95" fmla="*/ 1232 h 1297"/>
                <a:gd name="T96" fmla="*/ 543 w 1328"/>
                <a:gd name="T97" fmla="*/ 1233 h 1297"/>
                <a:gd name="T98" fmla="*/ 383 w 1328"/>
                <a:gd name="T99" fmla="*/ 1233 h 1297"/>
                <a:gd name="T100" fmla="*/ 380 w 1328"/>
                <a:gd name="T101" fmla="*/ 1231 h 1297"/>
                <a:gd name="T102" fmla="*/ 231 w 1328"/>
                <a:gd name="T103" fmla="*/ 831 h 1297"/>
                <a:gd name="T104" fmla="*/ 399 w 1328"/>
                <a:gd name="T105" fmla="*/ 831 h 1297"/>
                <a:gd name="T106" fmla="*/ 547 w 1328"/>
                <a:gd name="T107" fmla="*/ 1228 h 1297"/>
                <a:gd name="T108" fmla="*/ 547 w 1328"/>
                <a:gd name="T109" fmla="*/ 1228 h 1297"/>
                <a:gd name="T110" fmla="*/ 547 w 1328"/>
                <a:gd name="T111" fmla="*/ 1228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8" h="1297">
                  <a:moveTo>
                    <a:pt x="1287" y="22"/>
                  </a:moveTo>
                  <a:cubicBezTo>
                    <a:pt x="1261" y="4"/>
                    <a:pt x="1229" y="0"/>
                    <a:pt x="1199" y="10"/>
                  </a:cubicBezTo>
                  <a:cubicBezTo>
                    <a:pt x="781" y="160"/>
                    <a:pt x="781" y="160"/>
                    <a:pt x="781" y="160"/>
                  </a:cubicBezTo>
                  <a:cubicBezTo>
                    <a:pt x="764" y="166"/>
                    <a:pt x="756" y="184"/>
                    <a:pt x="762" y="201"/>
                  </a:cubicBezTo>
                  <a:cubicBezTo>
                    <a:pt x="768" y="218"/>
                    <a:pt x="786" y="226"/>
                    <a:pt x="803" y="220"/>
                  </a:cubicBezTo>
                  <a:cubicBezTo>
                    <a:pt x="1221" y="70"/>
                    <a:pt x="1221" y="70"/>
                    <a:pt x="1221" y="70"/>
                  </a:cubicBezTo>
                  <a:cubicBezTo>
                    <a:pt x="1231" y="67"/>
                    <a:pt x="1242" y="68"/>
                    <a:pt x="1250" y="74"/>
                  </a:cubicBezTo>
                  <a:cubicBezTo>
                    <a:pt x="1259" y="80"/>
                    <a:pt x="1264" y="90"/>
                    <a:pt x="1264" y="100"/>
                  </a:cubicBezTo>
                  <a:cubicBezTo>
                    <a:pt x="1264" y="1023"/>
                    <a:pt x="1264" y="1023"/>
                    <a:pt x="1264" y="1023"/>
                  </a:cubicBezTo>
                  <a:cubicBezTo>
                    <a:pt x="1264" y="1034"/>
                    <a:pt x="1259" y="1043"/>
                    <a:pt x="1250" y="1050"/>
                  </a:cubicBezTo>
                  <a:cubicBezTo>
                    <a:pt x="1242" y="1056"/>
                    <a:pt x="1231" y="1057"/>
                    <a:pt x="1221" y="1053"/>
                  </a:cubicBezTo>
                  <a:cubicBezTo>
                    <a:pt x="1198" y="1045"/>
                    <a:pt x="1198" y="1045"/>
                    <a:pt x="1198" y="1045"/>
                  </a:cubicBezTo>
                  <a:cubicBezTo>
                    <a:pt x="1198" y="717"/>
                    <a:pt x="1198" y="717"/>
                    <a:pt x="1198" y="717"/>
                  </a:cubicBezTo>
                  <a:cubicBezTo>
                    <a:pt x="1198" y="699"/>
                    <a:pt x="1184" y="685"/>
                    <a:pt x="1166" y="685"/>
                  </a:cubicBezTo>
                  <a:cubicBezTo>
                    <a:pt x="1148" y="685"/>
                    <a:pt x="1134" y="699"/>
                    <a:pt x="1134" y="717"/>
                  </a:cubicBezTo>
                  <a:cubicBezTo>
                    <a:pt x="1134" y="1022"/>
                    <a:pt x="1134" y="1022"/>
                    <a:pt x="1134" y="1022"/>
                  </a:cubicBezTo>
                  <a:cubicBezTo>
                    <a:pt x="448" y="776"/>
                    <a:pt x="448" y="776"/>
                    <a:pt x="448" y="776"/>
                  </a:cubicBezTo>
                  <a:cubicBezTo>
                    <a:pt x="448" y="348"/>
                    <a:pt x="448" y="348"/>
                    <a:pt x="448" y="348"/>
                  </a:cubicBezTo>
                  <a:cubicBezTo>
                    <a:pt x="586" y="298"/>
                    <a:pt x="586" y="298"/>
                    <a:pt x="586" y="298"/>
                  </a:cubicBezTo>
                  <a:cubicBezTo>
                    <a:pt x="603" y="292"/>
                    <a:pt x="612" y="274"/>
                    <a:pt x="606" y="257"/>
                  </a:cubicBezTo>
                  <a:cubicBezTo>
                    <a:pt x="600" y="240"/>
                    <a:pt x="581" y="232"/>
                    <a:pt x="565" y="238"/>
                  </a:cubicBezTo>
                  <a:cubicBezTo>
                    <a:pt x="410" y="293"/>
                    <a:pt x="410" y="293"/>
                    <a:pt x="410" y="293"/>
                  </a:cubicBezTo>
                  <a:cubicBezTo>
                    <a:pt x="160" y="293"/>
                    <a:pt x="160" y="293"/>
                    <a:pt x="160" y="293"/>
                  </a:cubicBezTo>
                  <a:cubicBezTo>
                    <a:pt x="72" y="293"/>
                    <a:pt x="0" y="365"/>
                    <a:pt x="0" y="453"/>
                  </a:cubicBezTo>
                  <a:cubicBezTo>
                    <a:pt x="0" y="671"/>
                    <a:pt x="0" y="671"/>
                    <a:pt x="0" y="671"/>
                  </a:cubicBezTo>
                  <a:cubicBezTo>
                    <a:pt x="0" y="759"/>
                    <a:pt x="72" y="831"/>
                    <a:pt x="160" y="831"/>
                  </a:cubicBezTo>
                  <a:cubicBezTo>
                    <a:pt x="163" y="831"/>
                    <a:pt x="163" y="831"/>
                    <a:pt x="163" y="831"/>
                  </a:cubicBezTo>
                  <a:cubicBezTo>
                    <a:pt x="320" y="1253"/>
                    <a:pt x="320" y="1253"/>
                    <a:pt x="320" y="1253"/>
                  </a:cubicBezTo>
                  <a:cubicBezTo>
                    <a:pt x="329" y="1279"/>
                    <a:pt x="355" y="1297"/>
                    <a:pt x="383" y="1297"/>
                  </a:cubicBezTo>
                  <a:cubicBezTo>
                    <a:pt x="543" y="1297"/>
                    <a:pt x="543" y="1297"/>
                    <a:pt x="543" y="1297"/>
                  </a:cubicBezTo>
                  <a:cubicBezTo>
                    <a:pt x="565" y="1297"/>
                    <a:pt x="586" y="1286"/>
                    <a:pt x="599" y="1268"/>
                  </a:cubicBezTo>
                  <a:cubicBezTo>
                    <a:pt x="611" y="1250"/>
                    <a:pt x="614" y="1227"/>
                    <a:pt x="607" y="1206"/>
                  </a:cubicBezTo>
                  <a:cubicBezTo>
                    <a:pt x="476" y="854"/>
                    <a:pt x="476" y="854"/>
                    <a:pt x="476" y="854"/>
                  </a:cubicBezTo>
                  <a:cubicBezTo>
                    <a:pt x="1199" y="1114"/>
                    <a:pt x="1199" y="1114"/>
                    <a:pt x="1199" y="1114"/>
                  </a:cubicBezTo>
                  <a:cubicBezTo>
                    <a:pt x="1210" y="1118"/>
                    <a:pt x="1221" y="1119"/>
                    <a:pt x="1232" y="1119"/>
                  </a:cubicBezTo>
                  <a:cubicBezTo>
                    <a:pt x="1251" y="1119"/>
                    <a:pt x="1271" y="1113"/>
                    <a:pt x="1287" y="1102"/>
                  </a:cubicBezTo>
                  <a:cubicBezTo>
                    <a:pt x="1313" y="1084"/>
                    <a:pt x="1328" y="1055"/>
                    <a:pt x="1328" y="1023"/>
                  </a:cubicBezTo>
                  <a:cubicBezTo>
                    <a:pt x="1328" y="100"/>
                    <a:pt x="1328" y="100"/>
                    <a:pt x="1328" y="100"/>
                  </a:cubicBezTo>
                  <a:cubicBezTo>
                    <a:pt x="1328" y="69"/>
                    <a:pt x="1313" y="40"/>
                    <a:pt x="1287" y="22"/>
                  </a:cubicBezTo>
                  <a:close/>
                  <a:moveTo>
                    <a:pt x="160" y="767"/>
                  </a:moveTo>
                  <a:cubicBezTo>
                    <a:pt x="107" y="767"/>
                    <a:pt x="64" y="724"/>
                    <a:pt x="64" y="671"/>
                  </a:cubicBezTo>
                  <a:cubicBezTo>
                    <a:pt x="64" y="453"/>
                    <a:pt x="64" y="453"/>
                    <a:pt x="64" y="453"/>
                  </a:cubicBezTo>
                  <a:cubicBezTo>
                    <a:pt x="64" y="400"/>
                    <a:pt x="107" y="357"/>
                    <a:pt x="160" y="357"/>
                  </a:cubicBezTo>
                  <a:cubicBezTo>
                    <a:pt x="384" y="357"/>
                    <a:pt x="384" y="357"/>
                    <a:pt x="384" y="357"/>
                  </a:cubicBezTo>
                  <a:cubicBezTo>
                    <a:pt x="384" y="767"/>
                    <a:pt x="384" y="767"/>
                    <a:pt x="384" y="767"/>
                  </a:cubicBezTo>
                  <a:lnTo>
                    <a:pt x="160" y="767"/>
                  </a:lnTo>
                  <a:close/>
                  <a:moveTo>
                    <a:pt x="547" y="1228"/>
                  </a:moveTo>
                  <a:cubicBezTo>
                    <a:pt x="547" y="1229"/>
                    <a:pt x="547" y="1230"/>
                    <a:pt x="546" y="1232"/>
                  </a:cubicBezTo>
                  <a:cubicBezTo>
                    <a:pt x="545" y="1233"/>
                    <a:pt x="544" y="1233"/>
                    <a:pt x="543" y="1233"/>
                  </a:cubicBezTo>
                  <a:cubicBezTo>
                    <a:pt x="383" y="1233"/>
                    <a:pt x="383" y="1233"/>
                    <a:pt x="383" y="1233"/>
                  </a:cubicBezTo>
                  <a:cubicBezTo>
                    <a:pt x="381" y="1233"/>
                    <a:pt x="380" y="1232"/>
                    <a:pt x="380" y="1231"/>
                  </a:cubicBezTo>
                  <a:cubicBezTo>
                    <a:pt x="231" y="831"/>
                    <a:pt x="231" y="831"/>
                    <a:pt x="231" y="831"/>
                  </a:cubicBezTo>
                  <a:cubicBezTo>
                    <a:pt x="399" y="831"/>
                    <a:pt x="399" y="831"/>
                    <a:pt x="399" y="831"/>
                  </a:cubicBezTo>
                  <a:lnTo>
                    <a:pt x="547" y="1228"/>
                  </a:lnTo>
                  <a:close/>
                  <a:moveTo>
                    <a:pt x="547" y="1228"/>
                  </a:moveTo>
                  <a:cubicBezTo>
                    <a:pt x="547" y="1228"/>
                    <a:pt x="547" y="1228"/>
                    <a:pt x="547"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311"/>
            <p:cNvSpPr>
              <a:spLocks noEditPoints="1"/>
            </p:cNvSpPr>
            <p:nvPr/>
          </p:nvSpPr>
          <p:spPr bwMode="auto">
            <a:xfrm>
              <a:off x="4276" y="701"/>
              <a:ext cx="122"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312"/>
            <p:cNvSpPr>
              <a:spLocks noEditPoints="1"/>
            </p:cNvSpPr>
            <p:nvPr/>
          </p:nvSpPr>
          <p:spPr bwMode="auto">
            <a:xfrm>
              <a:off x="5690" y="1103"/>
              <a:ext cx="218" cy="570"/>
            </a:xfrm>
            <a:custGeom>
              <a:avLst/>
              <a:gdLst>
                <a:gd name="T0" fmla="*/ 58 w 115"/>
                <a:gd name="T1" fmla="*/ 12 h 301"/>
                <a:gd name="T2" fmla="*/ 12 w 115"/>
                <a:gd name="T3" fmla="*/ 12 h 301"/>
                <a:gd name="T4" fmla="*/ 12 w 115"/>
                <a:gd name="T5" fmla="*/ 58 h 301"/>
                <a:gd name="T6" fmla="*/ 51 w 115"/>
                <a:gd name="T7" fmla="*/ 152 h 301"/>
                <a:gd name="T8" fmla="*/ 12 w 115"/>
                <a:gd name="T9" fmla="*/ 246 h 301"/>
                <a:gd name="T10" fmla="*/ 12 w 115"/>
                <a:gd name="T11" fmla="*/ 291 h 301"/>
                <a:gd name="T12" fmla="*/ 35 w 115"/>
                <a:gd name="T13" fmla="*/ 301 h 301"/>
                <a:gd name="T14" fmla="*/ 58 w 115"/>
                <a:gd name="T15" fmla="*/ 291 h 301"/>
                <a:gd name="T16" fmla="*/ 115 w 115"/>
                <a:gd name="T17" fmla="*/ 152 h 301"/>
                <a:gd name="T18" fmla="*/ 58 w 115"/>
                <a:gd name="T19" fmla="*/ 12 h 301"/>
                <a:gd name="T20" fmla="*/ 58 w 115"/>
                <a:gd name="T21" fmla="*/ 12 h 301"/>
                <a:gd name="T22" fmla="*/ 58 w 115"/>
                <a:gd name="T23"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301">
                  <a:moveTo>
                    <a:pt x="58" y="12"/>
                  </a:moveTo>
                  <a:cubicBezTo>
                    <a:pt x="45" y="0"/>
                    <a:pt x="25" y="0"/>
                    <a:pt x="12" y="12"/>
                  </a:cubicBezTo>
                  <a:cubicBezTo>
                    <a:pt x="0" y="25"/>
                    <a:pt x="0" y="45"/>
                    <a:pt x="12" y="58"/>
                  </a:cubicBezTo>
                  <a:cubicBezTo>
                    <a:pt x="38" y="83"/>
                    <a:pt x="51" y="116"/>
                    <a:pt x="51" y="152"/>
                  </a:cubicBezTo>
                  <a:cubicBezTo>
                    <a:pt x="51" y="188"/>
                    <a:pt x="38" y="221"/>
                    <a:pt x="12" y="246"/>
                  </a:cubicBezTo>
                  <a:cubicBezTo>
                    <a:pt x="0" y="259"/>
                    <a:pt x="0" y="279"/>
                    <a:pt x="12" y="291"/>
                  </a:cubicBezTo>
                  <a:cubicBezTo>
                    <a:pt x="19" y="298"/>
                    <a:pt x="27" y="301"/>
                    <a:pt x="35" y="301"/>
                  </a:cubicBezTo>
                  <a:cubicBezTo>
                    <a:pt x="43" y="301"/>
                    <a:pt x="51" y="298"/>
                    <a:pt x="58" y="291"/>
                  </a:cubicBezTo>
                  <a:cubicBezTo>
                    <a:pt x="95" y="254"/>
                    <a:pt x="115" y="205"/>
                    <a:pt x="115" y="152"/>
                  </a:cubicBezTo>
                  <a:cubicBezTo>
                    <a:pt x="115" y="99"/>
                    <a:pt x="95" y="50"/>
                    <a:pt x="58" y="12"/>
                  </a:cubicBezTo>
                  <a:close/>
                  <a:moveTo>
                    <a:pt x="58" y="12"/>
                  </a:moveTo>
                  <a:cubicBezTo>
                    <a:pt x="58" y="12"/>
                    <a:pt x="58" y="12"/>
                    <a:pt x="5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313"/>
            <p:cNvSpPr>
              <a:spLocks noEditPoints="1"/>
            </p:cNvSpPr>
            <p:nvPr/>
          </p:nvSpPr>
          <p:spPr bwMode="auto">
            <a:xfrm>
              <a:off x="5861" y="930"/>
              <a:ext cx="289" cy="913"/>
            </a:xfrm>
            <a:custGeom>
              <a:avLst/>
              <a:gdLst>
                <a:gd name="T0" fmla="*/ 58 w 153"/>
                <a:gd name="T1" fmla="*/ 13 h 482"/>
                <a:gd name="T2" fmla="*/ 13 w 153"/>
                <a:gd name="T3" fmla="*/ 13 h 482"/>
                <a:gd name="T4" fmla="*/ 13 w 153"/>
                <a:gd name="T5" fmla="*/ 58 h 482"/>
                <a:gd name="T6" fmla="*/ 89 w 153"/>
                <a:gd name="T7" fmla="*/ 243 h 482"/>
                <a:gd name="T8" fmla="*/ 13 w 153"/>
                <a:gd name="T9" fmla="*/ 428 h 482"/>
                <a:gd name="T10" fmla="*/ 13 w 153"/>
                <a:gd name="T11" fmla="*/ 473 h 482"/>
                <a:gd name="T12" fmla="*/ 35 w 153"/>
                <a:gd name="T13" fmla="*/ 482 h 482"/>
                <a:gd name="T14" fmla="*/ 58 w 153"/>
                <a:gd name="T15" fmla="*/ 473 h 482"/>
                <a:gd name="T16" fmla="*/ 153 w 153"/>
                <a:gd name="T17" fmla="*/ 243 h 482"/>
                <a:gd name="T18" fmla="*/ 58 w 153"/>
                <a:gd name="T19" fmla="*/ 13 h 482"/>
                <a:gd name="T20" fmla="*/ 58 w 153"/>
                <a:gd name="T21" fmla="*/ 13 h 482"/>
                <a:gd name="T22" fmla="*/ 58 w 153"/>
                <a:gd name="T2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482">
                  <a:moveTo>
                    <a:pt x="58" y="13"/>
                  </a:moveTo>
                  <a:cubicBezTo>
                    <a:pt x="46" y="0"/>
                    <a:pt x="25" y="0"/>
                    <a:pt x="13" y="13"/>
                  </a:cubicBezTo>
                  <a:cubicBezTo>
                    <a:pt x="0" y="25"/>
                    <a:pt x="0" y="46"/>
                    <a:pt x="13" y="58"/>
                  </a:cubicBezTo>
                  <a:cubicBezTo>
                    <a:pt x="62" y="107"/>
                    <a:pt x="89" y="173"/>
                    <a:pt x="89" y="243"/>
                  </a:cubicBezTo>
                  <a:cubicBezTo>
                    <a:pt x="89" y="313"/>
                    <a:pt x="62" y="378"/>
                    <a:pt x="13" y="428"/>
                  </a:cubicBezTo>
                  <a:cubicBezTo>
                    <a:pt x="0" y="440"/>
                    <a:pt x="0" y="460"/>
                    <a:pt x="13" y="473"/>
                  </a:cubicBezTo>
                  <a:cubicBezTo>
                    <a:pt x="19" y="479"/>
                    <a:pt x="27" y="482"/>
                    <a:pt x="35" y="482"/>
                  </a:cubicBezTo>
                  <a:cubicBezTo>
                    <a:pt x="44" y="482"/>
                    <a:pt x="52" y="479"/>
                    <a:pt x="58" y="473"/>
                  </a:cubicBezTo>
                  <a:cubicBezTo>
                    <a:pt x="120" y="412"/>
                    <a:pt x="153" y="330"/>
                    <a:pt x="153" y="243"/>
                  </a:cubicBezTo>
                  <a:cubicBezTo>
                    <a:pt x="153" y="156"/>
                    <a:pt x="120" y="74"/>
                    <a:pt x="58" y="13"/>
                  </a:cubicBezTo>
                  <a:close/>
                  <a:moveTo>
                    <a:pt x="58" y="13"/>
                  </a:moveTo>
                  <a:cubicBezTo>
                    <a:pt x="58" y="13"/>
                    <a:pt x="58" y="13"/>
                    <a:pt x="58"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314"/>
            <p:cNvSpPr>
              <a:spLocks noEditPoints="1"/>
            </p:cNvSpPr>
            <p:nvPr/>
          </p:nvSpPr>
          <p:spPr bwMode="auto">
            <a:xfrm>
              <a:off x="4015" y="834"/>
              <a:ext cx="1306" cy="799"/>
            </a:xfrm>
            <a:custGeom>
              <a:avLst/>
              <a:gdLst>
                <a:gd name="T0" fmla="*/ 658 w 690"/>
                <a:gd name="T1" fmla="*/ 0 h 422"/>
                <a:gd name="T2" fmla="*/ 586 w 690"/>
                <a:gd name="T3" fmla="*/ 0 h 422"/>
                <a:gd name="T4" fmla="*/ 554 w 690"/>
                <a:gd name="T5" fmla="*/ 32 h 422"/>
                <a:gd name="T6" fmla="*/ 581 w 690"/>
                <a:gd name="T7" fmla="*/ 63 h 422"/>
                <a:gd name="T8" fmla="*/ 354 w 690"/>
                <a:gd name="T9" fmla="*/ 291 h 422"/>
                <a:gd name="T10" fmla="*/ 244 w 690"/>
                <a:gd name="T11" fmla="*/ 181 h 422"/>
                <a:gd name="T12" fmla="*/ 199 w 690"/>
                <a:gd name="T13" fmla="*/ 181 h 422"/>
                <a:gd name="T14" fmla="*/ 12 w 690"/>
                <a:gd name="T15" fmla="*/ 367 h 422"/>
                <a:gd name="T16" fmla="*/ 12 w 690"/>
                <a:gd name="T17" fmla="*/ 412 h 422"/>
                <a:gd name="T18" fmla="*/ 35 w 690"/>
                <a:gd name="T19" fmla="*/ 422 h 422"/>
                <a:gd name="T20" fmla="*/ 58 w 690"/>
                <a:gd name="T21" fmla="*/ 412 h 422"/>
                <a:gd name="T22" fmla="*/ 221 w 690"/>
                <a:gd name="T23" fmla="*/ 249 h 422"/>
                <a:gd name="T24" fmla="*/ 331 w 690"/>
                <a:gd name="T25" fmla="*/ 359 h 422"/>
                <a:gd name="T26" fmla="*/ 376 w 690"/>
                <a:gd name="T27" fmla="*/ 359 h 422"/>
                <a:gd name="T28" fmla="*/ 626 w 690"/>
                <a:gd name="T29" fmla="*/ 108 h 422"/>
                <a:gd name="T30" fmla="*/ 658 w 690"/>
                <a:gd name="T31" fmla="*/ 135 h 422"/>
                <a:gd name="T32" fmla="*/ 690 w 690"/>
                <a:gd name="T33" fmla="*/ 103 h 422"/>
                <a:gd name="T34" fmla="*/ 690 w 690"/>
                <a:gd name="T35" fmla="*/ 32 h 422"/>
                <a:gd name="T36" fmla="*/ 658 w 690"/>
                <a:gd name="T37" fmla="*/ 0 h 422"/>
                <a:gd name="T38" fmla="*/ 658 w 690"/>
                <a:gd name="T39" fmla="*/ 0 h 422"/>
                <a:gd name="T40" fmla="*/ 658 w 690"/>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0" h="422">
                  <a:moveTo>
                    <a:pt x="658" y="0"/>
                  </a:moveTo>
                  <a:cubicBezTo>
                    <a:pt x="586" y="0"/>
                    <a:pt x="586" y="0"/>
                    <a:pt x="586" y="0"/>
                  </a:cubicBezTo>
                  <a:cubicBezTo>
                    <a:pt x="568" y="0"/>
                    <a:pt x="554" y="14"/>
                    <a:pt x="554" y="32"/>
                  </a:cubicBezTo>
                  <a:cubicBezTo>
                    <a:pt x="554" y="48"/>
                    <a:pt x="566" y="61"/>
                    <a:pt x="581" y="63"/>
                  </a:cubicBezTo>
                  <a:cubicBezTo>
                    <a:pt x="354" y="291"/>
                    <a:pt x="354" y="291"/>
                    <a:pt x="354" y="291"/>
                  </a:cubicBezTo>
                  <a:cubicBezTo>
                    <a:pt x="244" y="181"/>
                    <a:pt x="244" y="181"/>
                    <a:pt x="244" y="181"/>
                  </a:cubicBezTo>
                  <a:cubicBezTo>
                    <a:pt x="231" y="168"/>
                    <a:pt x="211" y="168"/>
                    <a:pt x="199" y="181"/>
                  </a:cubicBezTo>
                  <a:cubicBezTo>
                    <a:pt x="12" y="367"/>
                    <a:pt x="12" y="367"/>
                    <a:pt x="12" y="367"/>
                  </a:cubicBezTo>
                  <a:cubicBezTo>
                    <a:pt x="0" y="380"/>
                    <a:pt x="0" y="400"/>
                    <a:pt x="12" y="412"/>
                  </a:cubicBezTo>
                  <a:cubicBezTo>
                    <a:pt x="19" y="419"/>
                    <a:pt x="27" y="422"/>
                    <a:pt x="35" y="422"/>
                  </a:cubicBezTo>
                  <a:cubicBezTo>
                    <a:pt x="43" y="422"/>
                    <a:pt x="51" y="419"/>
                    <a:pt x="58" y="412"/>
                  </a:cubicBezTo>
                  <a:cubicBezTo>
                    <a:pt x="221" y="249"/>
                    <a:pt x="221" y="249"/>
                    <a:pt x="221" y="249"/>
                  </a:cubicBezTo>
                  <a:cubicBezTo>
                    <a:pt x="331" y="359"/>
                    <a:pt x="331" y="359"/>
                    <a:pt x="331" y="359"/>
                  </a:cubicBezTo>
                  <a:cubicBezTo>
                    <a:pt x="343" y="371"/>
                    <a:pt x="364" y="371"/>
                    <a:pt x="376" y="359"/>
                  </a:cubicBezTo>
                  <a:cubicBezTo>
                    <a:pt x="626" y="108"/>
                    <a:pt x="626" y="108"/>
                    <a:pt x="626" y="108"/>
                  </a:cubicBezTo>
                  <a:cubicBezTo>
                    <a:pt x="629" y="124"/>
                    <a:pt x="642" y="135"/>
                    <a:pt x="658" y="135"/>
                  </a:cubicBezTo>
                  <a:cubicBezTo>
                    <a:pt x="676" y="135"/>
                    <a:pt x="690" y="121"/>
                    <a:pt x="690" y="103"/>
                  </a:cubicBezTo>
                  <a:cubicBezTo>
                    <a:pt x="690" y="32"/>
                    <a:pt x="690" y="32"/>
                    <a:pt x="690" y="32"/>
                  </a:cubicBezTo>
                  <a:cubicBezTo>
                    <a:pt x="690" y="14"/>
                    <a:pt x="676" y="0"/>
                    <a:pt x="658" y="0"/>
                  </a:cubicBezTo>
                  <a:close/>
                  <a:moveTo>
                    <a:pt x="658" y="0"/>
                  </a:moveTo>
                  <a:cubicBezTo>
                    <a:pt x="658" y="0"/>
                    <a:pt x="658" y="0"/>
                    <a:pt x="6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315"/>
            <p:cNvSpPr>
              <a:spLocks noEditPoints="1"/>
            </p:cNvSpPr>
            <p:nvPr/>
          </p:nvSpPr>
          <p:spPr bwMode="auto">
            <a:xfrm>
              <a:off x="5196" y="1372"/>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9"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9"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1" name="Group 318"/>
          <p:cNvGrpSpPr>
            <a:grpSpLocks noChangeAspect="1"/>
          </p:cNvGrpSpPr>
          <p:nvPr/>
        </p:nvGrpSpPr>
        <p:grpSpPr bwMode="auto">
          <a:xfrm>
            <a:off x="5519878" y="1860791"/>
            <a:ext cx="339546" cy="457200"/>
            <a:chOff x="3734" y="294"/>
            <a:chExt cx="2303" cy="3101"/>
          </a:xfrm>
          <a:solidFill>
            <a:schemeClr val="accent1"/>
          </a:solidFill>
        </p:grpSpPr>
        <p:sp>
          <p:nvSpPr>
            <p:cNvPr id="323" name="Freeform 319"/>
            <p:cNvSpPr>
              <a:spLocks noEditPoints="1"/>
            </p:cNvSpPr>
            <p:nvPr/>
          </p:nvSpPr>
          <p:spPr bwMode="auto">
            <a:xfrm>
              <a:off x="3734" y="294"/>
              <a:ext cx="2303" cy="3101"/>
            </a:xfrm>
            <a:custGeom>
              <a:avLst/>
              <a:gdLst>
                <a:gd name="T0" fmla="*/ 1101 w 1216"/>
                <a:gd name="T1" fmla="*/ 1402 h 1638"/>
                <a:gd name="T2" fmla="*/ 1038 w 1216"/>
                <a:gd name="T3" fmla="*/ 1254 h 1638"/>
                <a:gd name="T4" fmla="*/ 982 w 1216"/>
                <a:gd name="T5" fmla="*/ 1068 h 1638"/>
                <a:gd name="T6" fmla="*/ 973 w 1216"/>
                <a:gd name="T7" fmla="*/ 1248 h 1638"/>
                <a:gd name="T8" fmla="*/ 329 w 1216"/>
                <a:gd name="T9" fmla="*/ 595 h 1638"/>
                <a:gd name="T10" fmla="*/ 672 w 1216"/>
                <a:gd name="T11" fmla="*/ 563 h 1638"/>
                <a:gd name="T12" fmla="*/ 338 w 1216"/>
                <a:gd name="T13" fmla="*/ 531 h 1638"/>
                <a:gd name="T14" fmla="*/ 866 w 1216"/>
                <a:gd name="T15" fmla="*/ 442 h 1638"/>
                <a:gd name="T16" fmla="*/ 959 w 1216"/>
                <a:gd name="T17" fmla="*/ 895 h 1638"/>
                <a:gd name="T18" fmla="*/ 931 w 1216"/>
                <a:gd name="T19" fmla="*/ 442 h 1638"/>
                <a:gd name="T20" fmla="*/ 1152 w 1216"/>
                <a:gd name="T21" fmla="*/ 282 h 1638"/>
                <a:gd name="T22" fmla="*/ 1120 w 1216"/>
                <a:gd name="T23" fmla="*/ 0 h 1638"/>
                <a:gd name="T24" fmla="*/ 858 w 1216"/>
                <a:gd name="T25" fmla="*/ 32 h 1638"/>
                <a:gd name="T26" fmla="*/ 755 w 1216"/>
                <a:gd name="T27" fmla="*/ 160 h 1638"/>
                <a:gd name="T28" fmla="*/ 723 w 1216"/>
                <a:gd name="T29" fmla="*/ 0 h 1638"/>
                <a:gd name="T30" fmla="*/ 461 w 1216"/>
                <a:gd name="T31" fmla="*/ 32 h 1638"/>
                <a:gd name="T32" fmla="*/ 358 w 1216"/>
                <a:gd name="T33" fmla="*/ 160 h 1638"/>
                <a:gd name="T34" fmla="*/ 326 w 1216"/>
                <a:gd name="T35" fmla="*/ 0 h 1638"/>
                <a:gd name="T36" fmla="*/ 64 w 1216"/>
                <a:gd name="T37" fmla="*/ 32 h 1638"/>
                <a:gd name="T38" fmla="*/ 224 w 1216"/>
                <a:gd name="T39" fmla="*/ 442 h 1638"/>
                <a:gd name="T40" fmla="*/ 178 w 1216"/>
                <a:gd name="T41" fmla="*/ 1254 h 1638"/>
                <a:gd name="T42" fmla="*/ 115 w 1216"/>
                <a:gd name="T43" fmla="*/ 1402 h 1638"/>
                <a:gd name="T44" fmla="*/ 0 w 1216"/>
                <a:gd name="T45" fmla="*/ 1490 h 1638"/>
                <a:gd name="T46" fmla="*/ 32 w 1216"/>
                <a:gd name="T47" fmla="*/ 1638 h 1638"/>
                <a:gd name="T48" fmla="*/ 1216 w 1216"/>
                <a:gd name="T49" fmla="*/ 1606 h 1638"/>
                <a:gd name="T50" fmla="*/ 1128 w 1216"/>
                <a:gd name="T51" fmla="*/ 1402 h 1638"/>
                <a:gd name="T52" fmla="*/ 128 w 1216"/>
                <a:gd name="T53" fmla="*/ 282 h 1638"/>
                <a:gd name="T54" fmla="*/ 294 w 1216"/>
                <a:gd name="T55" fmla="*/ 64 h 1638"/>
                <a:gd name="T56" fmla="*/ 326 w 1216"/>
                <a:gd name="T57" fmla="*/ 224 h 1638"/>
                <a:gd name="T58" fmla="*/ 525 w 1216"/>
                <a:gd name="T59" fmla="*/ 192 h 1638"/>
                <a:gd name="T60" fmla="*/ 691 w 1216"/>
                <a:gd name="T61" fmla="*/ 64 h 1638"/>
                <a:gd name="T62" fmla="*/ 723 w 1216"/>
                <a:gd name="T63" fmla="*/ 224 h 1638"/>
                <a:gd name="T64" fmla="*/ 922 w 1216"/>
                <a:gd name="T65" fmla="*/ 192 h 1638"/>
                <a:gd name="T66" fmla="*/ 1088 w 1216"/>
                <a:gd name="T67" fmla="*/ 64 h 1638"/>
                <a:gd name="T68" fmla="*/ 992 w 1216"/>
                <a:gd name="T69" fmla="*/ 378 h 1638"/>
                <a:gd name="T70" fmla="*/ 179 w 1216"/>
                <a:gd name="T71" fmla="*/ 1344 h 1638"/>
                <a:gd name="T72" fmla="*/ 1005 w 1216"/>
                <a:gd name="T73" fmla="*/ 1312 h 1638"/>
                <a:gd name="T74" fmla="*/ 1037 w 1216"/>
                <a:gd name="T75" fmla="*/ 1402 h 1638"/>
                <a:gd name="T76" fmla="*/ 179 w 1216"/>
                <a:gd name="T77" fmla="*/ 1344 h 1638"/>
                <a:gd name="T78" fmla="*/ 64 w 1216"/>
                <a:gd name="T79" fmla="*/ 1574 h 1638"/>
                <a:gd name="T80" fmla="*/ 88 w 1216"/>
                <a:gd name="T81" fmla="*/ 1466 h 1638"/>
                <a:gd name="T82" fmla="*/ 1152 w 1216"/>
                <a:gd name="T83" fmla="*/ 1490 h 1638"/>
                <a:gd name="T84" fmla="*/ 1152 w 1216"/>
                <a:gd name="T85" fmla="*/ 1574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6" h="1638">
                  <a:moveTo>
                    <a:pt x="1128" y="1402"/>
                  </a:moveTo>
                  <a:cubicBezTo>
                    <a:pt x="1101" y="1402"/>
                    <a:pt x="1101" y="1402"/>
                    <a:pt x="1101" y="1402"/>
                  </a:cubicBezTo>
                  <a:cubicBezTo>
                    <a:pt x="1101" y="1344"/>
                    <a:pt x="1101" y="1344"/>
                    <a:pt x="1101" y="1344"/>
                  </a:cubicBezTo>
                  <a:cubicBezTo>
                    <a:pt x="1101" y="1303"/>
                    <a:pt x="1075" y="1268"/>
                    <a:pt x="1038" y="1254"/>
                  </a:cubicBezTo>
                  <a:cubicBezTo>
                    <a:pt x="1018" y="1096"/>
                    <a:pt x="1018" y="1096"/>
                    <a:pt x="1018" y="1096"/>
                  </a:cubicBezTo>
                  <a:cubicBezTo>
                    <a:pt x="1015" y="1078"/>
                    <a:pt x="999" y="1066"/>
                    <a:pt x="982" y="1068"/>
                  </a:cubicBezTo>
                  <a:cubicBezTo>
                    <a:pt x="964" y="1070"/>
                    <a:pt x="952" y="1087"/>
                    <a:pt x="954" y="1104"/>
                  </a:cubicBezTo>
                  <a:cubicBezTo>
                    <a:pt x="973" y="1248"/>
                    <a:pt x="973" y="1248"/>
                    <a:pt x="973" y="1248"/>
                  </a:cubicBezTo>
                  <a:cubicBezTo>
                    <a:pt x="243" y="1248"/>
                    <a:pt x="243" y="1248"/>
                    <a:pt x="243" y="1248"/>
                  </a:cubicBezTo>
                  <a:cubicBezTo>
                    <a:pt x="329" y="595"/>
                    <a:pt x="329" y="595"/>
                    <a:pt x="329" y="595"/>
                  </a:cubicBezTo>
                  <a:cubicBezTo>
                    <a:pt x="640" y="595"/>
                    <a:pt x="640" y="595"/>
                    <a:pt x="640" y="595"/>
                  </a:cubicBezTo>
                  <a:cubicBezTo>
                    <a:pt x="658" y="595"/>
                    <a:pt x="672" y="581"/>
                    <a:pt x="672" y="563"/>
                  </a:cubicBezTo>
                  <a:cubicBezTo>
                    <a:pt x="672" y="546"/>
                    <a:pt x="658" y="531"/>
                    <a:pt x="640" y="531"/>
                  </a:cubicBezTo>
                  <a:cubicBezTo>
                    <a:pt x="338" y="531"/>
                    <a:pt x="338" y="531"/>
                    <a:pt x="338" y="531"/>
                  </a:cubicBezTo>
                  <a:cubicBezTo>
                    <a:pt x="350" y="442"/>
                    <a:pt x="350" y="442"/>
                    <a:pt x="350" y="442"/>
                  </a:cubicBezTo>
                  <a:cubicBezTo>
                    <a:pt x="866" y="442"/>
                    <a:pt x="866" y="442"/>
                    <a:pt x="866" y="442"/>
                  </a:cubicBezTo>
                  <a:cubicBezTo>
                    <a:pt x="923" y="867"/>
                    <a:pt x="923" y="867"/>
                    <a:pt x="923" y="867"/>
                  </a:cubicBezTo>
                  <a:cubicBezTo>
                    <a:pt x="925" y="885"/>
                    <a:pt x="941" y="897"/>
                    <a:pt x="959" y="895"/>
                  </a:cubicBezTo>
                  <a:cubicBezTo>
                    <a:pt x="976" y="892"/>
                    <a:pt x="989" y="876"/>
                    <a:pt x="986" y="859"/>
                  </a:cubicBezTo>
                  <a:cubicBezTo>
                    <a:pt x="931" y="442"/>
                    <a:pt x="931" y="442"/>
                    <a:pt x="931" y="442"/>
                  </a:cubicBezTo>
                  <a:cubicBezTo>
                    <a:pt x="992" y="442"/>
                    <a:pt x="992" y="442"/>
                    <a:pt x="992" y="442"/>
                  </a:cubicBezTo>
                  <a:cubicBezTo>
                    <a:pt x="1080" y="442"/>
                    <a:pt x="1152" y="370"/>
                    <a:pt x="1152" y="282"/>
                  </a:cubicBezTo>
                  <a:cubicBezTo>
                    <a:pt x="1152" y="32"/>
                    <a:pt x="1152" y="32"/>
                    <a:pt x="1152" y="32"/>
                  </a:cubicBezTo>
                  <a:cubicBezTo>
                    <a:pt x="1152" y="14"/>
                    <a:pt x="1138" y="0"/>
                    <a:pt x="1120" y="0"/>
                  </a:cubicBezTo>
                  <a:cubicBezTo>
                    <a:pt x="890" y="0"/>
                    <a:pt x="890" y="0"/>
                    <a:pt x="890" y="0"/>
                  </a:cubicBezTo>
                  <a:cubicBezTo>
                    <a:pt x="872" y="0"/>
                    <a:pt x="858" y="14"/>
                    <a:pt x="858" y="32"/>
                  </a:cubicBezTo>
                  <a:cubicBezTo>
                    <a:pt x="858" y="160"/>
                    <a:pt x="858" y="160"/>
                    <a:pt x="858" y="160"/>
                  </a:cubicBezTo>
                  <a:cubicBezTo>
                    <a:pt x="755" y="160"/>
                    <a:pt x="755" y="160"/>
                    <a:pt x="755" y="160"/>
                  </a:cubicBezTo>
                  <a:cubicBezTo>
                    <a:pt x="755" y="32"/>
                    <a:pt x="755" y="32"/>
                    <a:pt x="755" y="32"/>
                  </a:cubicBezTo>
                  <a:cubicBezTo>
                    <a:pt x="755" y="14"/>
                    <a:pt x="741" y="0"/>
                    <a:pt x="723" y="0"/>
                  </a:cubicBezTo>
                  <a:cubicBezTo>
                    <a:pt x="493" y="0"/>
                    <a:pt x="493" y="0"/>
                    <a:pt x="493" y="0"/>
                  </a:cubicBezTo>
                  <a:cubicBezTo>
                    <a:pt x="475" y="0"/>
                    <a:pt x="461" y="14"/>
                    <a:pt x="461" y="32"/>
                  </a:cubicBezTo>
                  <a:cubicBezTo>
                    <a:pt x="461" y="160"/>
                    <a:pt x="461" y="160"/>
                    <a:pt x="461" y="160"/>
                  </a:cubicBezTo>
                  <a:cubicBezTo>
                    <a:pt x="358" y="160"/>
                    <a:pt x="358" y="160"/>
                    <a:pt x="358" y="160"/>
                  </a:cubicBezTo>
                  <a:cubicBezTo>
                    <a:pt x="358" y="32"/>
                    <a:pt x="358" y="32"/>
                    <a:pt x="358" y="32"/>
                  </a:cubicBezTo>
                  <a:cubicBezTo>
                    <a:pt x="358" y="14"/>
                    <a:pt x="344" y="0"/>
                    <a:pt x="326" y="0"/>
                  </a:cubicBezTo>
                  <a:cubicBezTo>
                    <a:pt x="96" y="0"/>
                    <a:pt x="96" y="0"/>
                    <a:pt x="96" y="0"/>
                  </a:cubicBezTo>
                  <a:cubicBezTo>
                    <a:pt x="78" y="0"/>
                    <a:pt x="64" y="14"/>
                    <a:pt x="64" y="32"/>
                  </a:cubicBezTo>
                  <a:cubicBezTo>
                    <a:pt x="64" y="282"/>
                    <a:pt x="64" y="282"/>
                    <a:pt x="64" y="282"/>
                  </a:cubicBezTo>
                  <a:cubicBezTo>
                    <a:pt x="64" y="370"/>
                    <a:pt x="136" y="442"/>
                    <a:pt x="224" y="442"/>
                  </a:cubicBezTo>
                  <a:cubicBezTo>
                    <a:pt x="285" y="442"/>
                    <a:pt x="285" y="442"/>
                    <a:pt x="285" y="442"/>
                  </a:cubicBezTo>
                  <a:cubicBezTo>
                    <a:pt x="178" y="1254"/>
                    <a:pt x="178" y="1254"/>
                    <a:pt x="178" y="1254"/>
                  </a:cubicBezTo>
                  <a:cubicBezTo>
                    <a:pt x="141" y="1268"/>
                    <a:pt x="115" y="1303"/>
                    <a:pt x="115" y="1344"/>
                  </a:cubicBezTo>
                  <a:cubicBezTo>
                    <a:pt x="115" y="1402"/>
                    <a:pt x="115" y="1402"/>
                    <a:pt x="115" y="1402"/>
                  </a:cubicBezTo>
                  <a:cubicBezTo>
                    <a:pt x="88" y="1402"/>
                    <a:pt x="88" y="1402"/>
                    <a:pt x="88" y="1402"/>
                  </a:cubicBezTo>
                  <a:cubicBezTo>
                    <a:pt x="39" y="1402"/>
                    <a:pt x="0" y="1441"/>
                    <a:pt x="0" y="1490"/>
                  </a:cubicBezTo>
                  <a:cubicBezTo>
                    <a:pt x="0" y="1606"/>
                    <a:pt x="0" y="1606"/>
                    <a:pt x="0" y="1606"/>
                  </a:cubicBezTo>
                  <a:cubicBezTo>
                    <a:pt x="0" y="1624"/>
                    <a:pt x="14" y="1638"/>
                    <a:pt x="32" y="1638"/>
                  </a:cubicBezTo>
                  <a:cubicBezTo>
                    <a:pt x="1184" y="1638"/>
                    <a:pt x="1184" y="1638"/>
                    <a:pt x="1184" y="1638"/>
                  </a:cubicBezTo>
                  <a:cubicBezTo>
                    <a:pt x="1202" y="1638"/>
                    <a:pt x="1216" y="1624"/>
                    <a:pt x="1216" y="1606"/>
                  </a:cubicBezTo>
                  <a:cubicBezTo>
                    <a:pt x="1216" y="1490"/>
                    <a:pt x="1216" y="1490"/>
                    <a:pt x="1216" y="1490"/>
                  </a:cubicBezTo>
                  <a:cubicBezTo>
                    <a:pt x="1216" y="1441"/>
                    <a:pt x="1177" y="1402"/>
                    <a:pt x="1128" y="1402"/>
                  </a:cubicBezTo>
                  <a:close/>
                  <a:moveTo>
                    <a:pt x="224" y="378"/>
                  </a:moveTo>
                  <a:cubicBezTo>
                    <a:pt x="171" y="378"/>
                    <a:pt x="128" y="335"/>
                    <a:pt x="128" y="282"/>
                  </a:cubicBezTo>
                  <a:cubicBezTo>
                    <a:pt x="128" y="64"/>
                    <a:pt x="128" y="64"/>
                    <a:pt x="128" y="64"/>
                  </a:cubicBezTo>
                  <a:cubicBezTo>
                    <a:pt x="294" y="64"/>
                    <a:pt x="294" y="64"/>
                    <a:pt x="294" y="64"/>
                  </a:cubicBezTo>
                  <a:cubicBezTo>
                    <a:pt x="294" y="192"/>
                    <a:pt x="294" y="192"/>
                    <a:pt x="294" y="192"/>
                  </a:cubicBezTo>
                  <a:cubicBezTo>
                    <a:pt x="294" y="210"/>
                    <a:pt x="309" y="224"/>
                    <a:pt x="326" y="224"/>
                  </a:cubicBezTo>
                  <a:cubicBezTo>
                    <a:pt x="493" y="224"/>
                    <a:pt x="493" y="224"/>
                    <a:pt x="493" y="224"/>
                  </a:cubicBezTo>
                  <a:cubicBezTo>
                    <a:pt x="510" y="224"/>
                    <a:pt x="525" y="210"/>
                    <a:pt x="525" y="192"/>
                  </a:cubicBezTo>
                  <a:cubicBezTo>
                    <a:pt x="525" y="64"/>
                    <a:pt x="525" y="64"/>
                    <a:pt x="525" y="64"/>
                  </a:cubicBezTo>
                  <a:cubicBezTo>
                    <a:pt x="691" y="64"/>
                    <a:pt x="691" y="64"/>
                    <a:pt x="691" y="64"/>
                  </a:cubicBezTo>
                  <a:cubicBezTo>
                    <a:pt x="691" y="192"/>
                    <a:pt x="691" y="192"/>
                    <a:pt x="691" y="192"/>
                  </a:cubicBezTo>
                  <a:cubicBezTo>
                    <a:pt x="691" y="210"/>
                    <a:pt x="706" y="224"/>
                    <a:pt x="723" y="224"/>
                  </a:cubicBezTo>
                  <a:cubicBezTo>
                    <a:pt x="890" y="224"/>
                    <a:pt x="890" y="224"/>
                    <a:pt x="890" y="224"/>
                  </a:cubicBezTo>
                  <a:cubicBezTo>
                    <a:pt x="907" y="224"/>
                    <a:pt x="922" y="210"/>
                    <a:pt x="922" y="192"/>
                  </a:cubicBezTo>
                  <a:cubicBezTo>
                    <a:pt x="922" y="64"/>
                    <a:pt x="922" y="64"/>
                    <a:pt x="922" y="64"/>
                  </a:cubicBezTo>
                  <a:cubicBezTo>
                    <a:pt x="1088" y="64"/>
                    <a:pt x="1088" y="64"/>
                    <a:pt x="1088" y="64"/>
                  </a:cubicBezTo>
                  <a:cubicBezTo>
                    <a:pt x="1088" y="282"/>
                    <a:pt x="1088" y="282"/>
                    <a:pt x="1088" y="282"/>
                  </a:cubicBezTo>
                  <a:cubicBezTo>
                    <a:pt x="1088" y="335"/>
                    <a:pt x="1045" y="378"/>
                    <a:pt x="992" y="378"/>
                  </a:cubicBezTo>
                  <a:lnTo>
                    <a:pt x="224" y="378"/>
                  </a:lnTo>
                  <a:close/>
                  <a:moveTo>
                    <a:pt x="179" y="1344"/>
                  </a:moveTo>
                  <a:cubicBezTo>
                    <a:pt x="179" y="1326"/>
                    <a:pt x="194" y="1312"/>
                    <a:pt x="211" y="1312"/>
                  </a:cubicBezTo>
                  <a:cubicBezTo>
                    <a:pt x="1005" y="1312"/>
                    <a:pt x="1005" y="1312"/>
                    <a:pt x="1005" y="1312"/>
                  </a:cubicBezTo>
                  <a:cubicBezTo>
                    <a:pt x="1022" y="1312"/>
                    <a:pt x="1037" y="1326"/>
                    <a:pt x="1037" y="1344"/>
                  </a:cubicBezTo>
                  <a:cubicBezTo>
                    <a:pt x="1037" y="1402"/>
                    <a:pt x="1037" y="1402"/>
                    <a:pt x="1037" y="1402"/>
                  </a:cubicBezTo>
                  <a:cubicBezTo>
                    <a:pt x="179" y="1402"/>
                    <a:pt x="179" y="1402"/>
                    <a:pt x="179" y="1402"/>
                  </a:cubicBezTo>
                  <a:lnTo>
                    <a:pt x="179" y="1344"/>
                  </a:lnTo>
                  <a:close/>
                  <a:moveTo>
                    <a:pt x="1152" y="1574"/>
                  </a:moveTo>
                  <a:cubicBezTo>
                    <a:pt x="64" y="1574"/>
                    <a:pt x="64" y="1574"/>
                    <a:pt x="64" y="1574"/>
                  </a:cubicBezTo>
                  <a:cubicBezTo>
                    <a:pt x="64" y="1490"/>
                    <a:pt x="64" y="1490"/>
                    <a:pt x="64" y="1490"/>
                  </a:cubicBezTo>
                  <a:cubicBezTo>
                    <a:pt x="64" y="1476"/>
                    <a:pt x="75" y="1466"/>
                    <a:pt x="88" y="1466"/>
                  </a:cubicBezTo>
                  <a:cubicBezTo>
                    <a:pt x="1128" y="1466"/>
                    <a:pt x="1128" y="1466"/>
                    <a:pt x="1128" y="1466"/>
                  </a:cubicBezTo>
                  <a:cubicBezTo>
                    <a:pt x="1141" y="1466"/>
                    <a:pt x="1152" y="1476"/>
                    <a:pt x="1152" y="1490"/>
                  </a:cubicBezTo>
                  <a:lnTo>
                    <a:pt x="1152" y="1574"/>
                  </a:lnTo>
                  <a:close/>
                  <a:moveTo>
                    <a:pt x="1152" y="1574"/>
                  </a:moveTo>
                  <a:cubicBezTo>
                    <a:pt x="1152" y="1574"/>
                    <a:pt x="1152" y="1574"/>
                    <a:pt x="1152" y="15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320"/>
            <p:cNvSpPr>
              <a:spLocks noEditPoints="1"/>
            </p:cNvSpPr>
            <p:nvPr/>
          </p:nvSpPr>
          <p:spPr bwMode="auto">
            <a:xfrm>
              <a:off x="5509" y="2081"/>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321"/>
            <p:cNvSpPr>
              <a:spLocks noEditPoints="1"/>
            </p:cNvSpPr>
            <p:nvPr/>
          </p:nvSpPr>
          <p:spPr bwMode="auto">
            <a:xfrm>
              <a:off x="5086" y="1299"/>
              <a:ext cx="121" cy="121"/>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6" name="Group 324"/>
          <p:cNvGrpSpPr>
            <a:grpSpLocks noChangeAspect="1"/>
          </p:cNvGrpSpPr>
          <p:nvPr/>
        </p:nvGrpSpPr>
        <p:grpSpPr bwMode="auto">
          <a:xfrm>
            <a:off x="3543797" y="1860791"/>
            <a:ext cx="578921" cy="457200"/>
            <a:chOff x="-799" y="819"/>
            <a:chExt cx="3101" cy="2449"/>
          </a:xfrm>
          <a:solidFill>
            <a:schemeClr val="accent1"/>
          </a:solidFill>
        </p:grpSpPr>
        <p:sp>
          <p:nvSpPr>
            <p:cNvPr id="328" name="Freeform 325"/>
            <p:cNvSpPr>
              <a:spLocks noEditPoints="1"/>
            </p:cNvSpPr>
            <p:nvPr/>
          </p:nvSpPr>
          <p:spPr bwMode="auto">
            <a:xfrm>
              <a:off x="-799" y="819"/>
              <a:ext cx="3101" cy="2449"/>
            </a:xfrm>
            <a:custGeom>
              <a:avLst/>
              <a:gdLst>
                <a:gd name="T0" fmla="*/ 1453 w 1638"/>
                <a:gd name="T1" fmla="*/ 0 h 1293"/>
                <a:gd name="T2" fmla="*/ 186 w 1638"/>
                <a:gd name="T3" fmla="*/ 0 h 1293"/>
                <a:gd name="T4" fmla="*/ 0 w 1638"/>
                <a:gd name="T5" fmla="*/ 186 h 1293"/>
                <a:gd name="T6" fmla="*/ 0 w 1638"/>
                <a:gd name="T7" fmla="*/ 1107 h 1293"/>
                <a:gd name="T8" fmla="*/ 186 w 1638"/>
                <a:gd name="T9" fmla="*/ 1293 h 1293"/>
                <a:gd name="T10" fmla="*/ 842 w 1638"/>
                <a:gd name="T11" fmla="*/ 1293 h 1293"/>
                <a:gd name="T12" fmla="*/ 874 w 1638"/>
                <a:gd name="T13" fmla="*/ 1261 h 1293"/>
                <a:gd name="T14" fmla="*/ 842 w 1638"/>
                <a:gd name="T15" fmla="*/ 1229 h 1293"/>
                <a:gd name="T16" fmla="*/ 186 w 1638"/>
                <a:gd name="T17" fmla="*/ 1229 h 1293"/>
                <a:gd name="T18" fmla="*/ 64 w 1638"/>
                <a:gd name="T19" fmla="*/ 1107 h 1293"/>
                <a:gd name="T20" fmla="*/ 64 w 1638"/>
                <a:gd name="T21" fmla="*/ 186 h 1293"/>
                <a:gd name="T22" fmla="*/ 186 w 1638"/>
                <a:gd name="T23" fmla="*/ 64 h 1293"/>
                <a:gd name="T24" fmla="*/ 1453 w 1638"/>
                <a:gd name="T25" fmla="*/ 64 h 1293"/>
                <a:gd name="T26" fmla="*/ 1574 w 1638"/>
                <a:gd name="T27" fmla="*/ 186 h 1293"/>
                <a:gd name="T28" fmla="*/ 1574 w 1638"/>
                <a:gd name="T29" fmla="*/ 1107 h 1293"/>
                <a:gd name="T30" fmla="*/ 1453 w 1638"/>
                <a:gd name="T31" fmla="*/ 1229 h 1293"/>
                <a:gd name="T32" fmla="*/ 1074 w 1638"/>
                <a:gd name="T33" fmla="*/ 1229 h 1293"/>
                <a:gd name="T34" fmla="*/ 1042 w 1638"/>
                <a:gd name="T35" fmla="*/ 1261 h 1293"/>
                <a:gd name="T36" fmla="*/ 1074 w 1638"/>
                <a:gd name="T37" fmla="*/ 1293 h 1293"/>
                <a:gd name="T38" fmla="*/ 1453 w 1638"/>
                <a:gd name="T39" fmla="*/ 1293 h 1293"/>
                <a:gd name="T40" fmla="*/ 1638 w 1638"/>
                <a:gd name="T41" fmla="*/ 1107 h 1293"/>
                <a:gd name="T42" fmla="*/ 1638 w 1638"/>
                <a:gd name="T43" fmla="*/ 186 h 1293"/>
                <a:gd name="T44" fmla="*/ 1453 w 1638"/>
                <a:gd name="T45" fmla="*/ 0 h 1293"/>
                <a:gd name="T46" fmla="*/ 1453 w 1638"/>
                <a:gd name="T47" fmla="*/ 0 h 1293"/>
                <a:gd name="T48" fmla="*/ 1453 w 1638"/>
                <a:gd name="T49" fmla="*/ 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8" h="1293">
                  <a:moveTo>
                    <a:pt x="1453" y="0"/>
                  </a:moveTo>
                  <a:cubicBezTo>
                    <a:pt x="186" y="0"/>
                    <a:pt x="186" y="0"/>
                    <a:pt x="186" y="0"/>
                  </a:cubicBezTo>
                  <a:cubicBezTo>
                    <a:pt x="83" y="0"/>
                    <a:pt x="0" y="83"/>
                    <a:pt x="0" y="186"/>
                  </a:cubicBezTo>
                  <a:cubicBezTo>
                    <a:pt x="0" y="1107"/>
                    <a:pt x="0" y="1107"/>
                    <a:pt x="0" y="1107"/>
                  </a:cubicBezTo>
                  <a:cubicBezTo>
                    <a:pt x="0" y="1210"/>
                    <a:pt x="83" y="1293"/>
                    <a:pt x="186" y="1293"/>
                  </a:cubicBezTo>
                  <a:cubicBezTo>
                    <a:pt x="842" y="1293"/>
                    <a:pt x="842" y="1293"/>
                    <a:pt x="842" y="1293"/>
                  </a:cubicBezTo>
                  <a:cubicBezTo>
                    <a:pt x="859" y="1293"/>
                    <a:pt x="874" y="1278"/>
                    <a:pt x="874" y="1261"/>
                  </a:cubicBezTo>
                  <a:cubicBezTo>
                    <a:pt x="874" y="1243"/>
                    <a:pt x="859" y="1229"/>
                    <a:pt x="842" y="1229"/>
                  </a:cubicBezTo>
                  <a:cubicBezTo>
                    <a:pt x="186" y="1229"/>
                    <a:pt x="186" y="1229"/>
                    <a:pt x="186" y="1229"/>
                  </a:cubicBezTo>
                  <a:cubicBezTo>
                    <a:pt x="119" y="1229"/>
                    <a:pt x="64" y="1174"/>
                    <a:pt x="64" y="1107"/>
                  </a:cubicBezTo>
                  <a:cubicBezTo>
                    <a:pt x="64" y="186"/>
                    <a:pt x="64" y="186"/>
                    <a:pt x="64" y="186"/>
                  </a:cubicBezTo>
                  <a:cubicBezTo>
                    <a:pt x="64" y="119"/>
                    <a:pt x="119" y="64"/>
                    <a:pt x="186" y="64"/>
                  </a:cubicBezTo>
                  <a:cubicBezTo>
                    <a:pt x="1453" y="64"/>
                    <a:pt x="1453" y="64"/>
                    <a:pt x="1453" y="64"/>
                  </a:cubicBezTo>
                  <a:cubicBezTo>
                    <a:pt x="1520" y="64"/>
                    <a:pt x="1574" y="119"/>
                    <a:pt x="1574" y="186"/>
                  </a:cubicBezTo>
                  <a:cubicBezTo>
                    <a:pt x="1574" y="1107"/>
                    <a:pt x="1574" y="1107"/>
                    <a:pt x="1574" y="1107"/>
                  </a:cubicBezTo>
                  <a:cubicBezTo>
                    <a:pt x="1574" y="1174"/>
                    <a:pt x="1520" y="1229"/>
                    <a:pt x="1453" y="1229"/>
                  </a:cubicBezTo>
                  <a:cubicBezTo>
                    <a:pt x="1074" y="1229"/>
                    <a:pt x="1074" y="1229"/>
                    <a:pt x="1074" y="1229"/>
                  </a:cubicBezTo>
                  <a:cubicBezTo>
                    <a:pt x="1056" y="1229"/>
                    <a:pt x="1042" y="1243"/>
                    <a:pt x="1042" y="1261"/>
                  </a:cubicBezTo>
                  <a:cubicBezTo>
                    <a:pt x="1042" y="1278"/>
                    <a:pt x="1056" y="1293"/>
                    <a:pt x="1074" y="1293"/>
                  </a:cubicBezTo>
                  <a:cubicBezTo>
                    <a:pt x="1453" y="1293"/>
                    <a:pt x="1453" y="1293"/>
                    <a:pt x="1453" y="1293"/>
                  </a:cubicBezTo>
                  <a:cubicBezTo>
                    <a:pt x="1555" y="1293"/>
                    <a:pt x="1638" y="1210"/>
                    <a:pt x="1638" y="1107"/>
                  </a:cubicBezTo>
                  <a:cubicBezTo>
                    <a:pt x="1638" y="186"/>
                    <a:pt x="1638" y="186"/>
                    <a:pt x="1638" y="186"/>
                  </a:cubicBezTo>
                  <a:cubicBezTo>
                    <a:pt x="1638" y="83"/>
                    <a:pt x="1555" y="0"/>
                    <a:pt x="1453" y="0"/>
                  </a:cubicBezTo>
                  <a:close/>
                  <a:moveTo>
                    <a:pt x="1453" y="0"/>
                  </a:moveTo>
                  <a:cubicBezTo>
                    <a:pt x="1453" y="0"/>
                    <a:pt x="1453" y="0"/>
                    <a:pt x="14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326"/>
            <p:cNvSpPr>
              <a:spLocks noEditPoints="1"/>
            </p:cNvSpPr>
            <p:nvPr/>
          </p:nvSpPr>
          <p:spPr bwMode="auto">
            <a:xfrm>
              <a:off x="952" y="3147"/>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327"/>
            <p:cNvSpPr>
              <a:spLocks noEditPoints="1"/>
            </p:cNvSpPr>
            <p:nvPr/>
          </p:nvSpPr>
          <p:spPr bwMode="auto">
            <a:xfrm>
              <a:off x="195" y="1111"/>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328"/>
            <p:cNvSpPr>
              <a:spLocks noEditPoints="1"/>
            </p:cNvSpPr>
            <p:nvPr/>
          </p:nvSpPr>
          <p:spPr bwMode="auto">
            <a:xfrm>
              <a:off x="-508" y="1111"/>
              <a:ext cx="2520" cy="1866"/>
            </a:xfrm>
            <a:custGeom>
              <a:avLst/>
              <a:gdLst>
                <a:gd name="T0" fmla="*/ 1299 w 1331"/>
                <a:gd name="T1" fmla="*/ 0 h 985"/>
                <a:gd name="T2" fmla="*/ 544 w 1331"/>
                <a:gd name="T3" fmla="*/ 0 h 985"/>
                <a:gd name="T4" fmla="*/ 512 w 1331"/>
                <a:gd name="T5" fmla="*/ 32 h 985"/>
                <a:gd name="T6" fmla="*/ 544 w 1331"/>
                <a:gd name="T7" fmla="*/ 64 h 985"/>
                <a:gd name="T8" fmla="*/ 1267 w 1331"/>
                <a:gd name="T9" fmla="*/ 64 h 985"/>
                <a:gd name="T10" fmla="*/ 1267 w 1331"/>
                <a:gd name="T11" fmla="*/ 921 h 985"/>
                <a:gd name="T12" fmla="*/ 64 w 1331"/>
                <a:gd name="T13" fmla="*/ 921 h 985"/>
                <a:gd name="T14" fmla="*/ 64 w 1331"/>
                <a:gd name="T15" fmla="*/ 64 h 985"/>
                <a:gd name="T16" fmla="*/ 252 w 1331"/>
                <a:gd name="T17" fmla="*/ 64 h 985"/>
                <a:gd name="T18" fmla="*/ 284 w 1331"/>
                <a:gd name="T19" fmla="*/ 32 h 985"/>
                <a:gd name="T20" fmla="*/ 252 w 1331"/>
                <a:gd name="T21" fmla="*/ 0 h 985"/>
                <a:gd name="T22" fmla="*/ 32 w 1331"/>
                <a:gd name="T23" fmla="*/ 0 h 985"/>
                <a:gd name="T24" fmla="*/ 0 w 1331"/>
                <a:gd name="T25" fmla="*/ 32 h 985"/>
                <a:gd name="T26" fmla="*/ 0 w 1331"/>
                <a:gd name="T27" fmla="*/ 953 h 985"/>
                <a:gd name="T28" fmla="*/ 32 w 1331"/>
                <a:gd name="T29" fmla="*/ 985 h 985"/>
                <a:gd name="T30" fmla="*/ 1299 w 1331"/>
                <a:gd name="T31" fmla="*/ 985 h 985"/>
                <a:gd name="T32" fmla="*/ 1331 w 1331"/>
                <a:gd name="T33" fmla="*/ 953 h 985"/>
                <a:gd name="T34" fmla="*/ 1331 w 1331"/>
                <a:gd name="T35" fmla="*/ 32 h 985"/>
                <a:gd name="T36" fmla="*/ 1299 w 1331"/>
                <a:gd name="T37" fmla="*/ 0 h 985"/>
                <a:gd name="T38" fmla="*/ 1299 w 1331"/>
                <a:gd name="T39" fmla="*/ 0 h 985"/>
                <a:gd name="T40" fmla="*/ 1299 w 1331"/>
                <a:gd name="T41"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1" h="985">
                  <a:moveTo>
                    <a:pt x="1299" y="0"/>
                  </a:moveTo>
                  <a:cubicBezTo>
                    <a:pt x="544" y="0"/>
                    <a:pt x="544" y="0"/>
                    <a:pt x="544" y="0"/>
                  </a:cubicBezTo>
                  <a:cubicBezTo>
                    <a:pt x="526" y="0"/>
                    <a:pt x="512" y="14"/>
                    <a:pt x="512" y="32"/>
                  </a:cubicBezTo>
                  <a:cubicBezTo>
                    <a:pt x="512" y="49"/>
                    <a:pt x="526" y="64"/>
                    <a:pt x="544" y="64"/>
                  </a:cubicBezTo>
                  <a:cubicBezTo>
                    <a:pt x="1267" y="64"/>
                    <a:pt x="1267" y="64"/>
                    <a:pt x="1267" y="64"/>
                  </a:cubicBezTo>
                  <a:cubicBezTo>
                    <a:pt x="1267" y="921"/>
                    <a:pt x="1267" y="921"/>
                    <a:pt x="1267" y="921"/>
                  </a:cubicBezTo>
                  <a:cubicBezTo>
                    <a:pt x="64" y="921"/>
                    <a:pt x="64" y="921"/>
                    <a:pt x="64" y="921"/>
                  </a:cubicBezTo>
                  <a:cubicBezTo>
                    <a:pt x="64" y="64"/>
                    <a:pt x="64" y="64"/>
                    <a:pt x="64" y="64"/>
                  </a:cubicBezTo>
                  <a:cubicBezTo>
                    <a:pt x="252" y="64"/>
                    <a:pt x="252" y="64"/>
                    <a:pt x="252" y="64"/>
                  </a:cubicBezTo>
                  <a:cubicBezTo>
                    <a:pt x="270" y="64"/>
                    <a:pt x="284" y="49"/>
                    <a:pt x="284" y="32"/>
                  </a:cubicBezTo>
                  <a:cubicBezTo>
                    <a:pt x="284" y="14"/>
                    <a:pt x="270" y="0"/>
                    <a:pt x="252" y="0"/>
                  </a:cubicBezTo>
                  <a:cubicBezTo>
                    <a:pt x="32" y="0"/>
                    <a:pt x="32" y="0"/>
                    <a:pt x="32" y="0"/>
                  </a:cubicBezTo>
                  <a:cubicBezTo>
                    <a:pt x="14" y="0"/>
                    <a:pt x="0" y="14"/>
                    <a:pt x="0" y="32"/>
                  </a:cubicBezTo>
                  <a:cubicBezTo>
                    <a:pt x="0" y="953"/>
                    <a:pt x="0" y="953"/>
                    <a:pt x="0" y="953"/>
                  </a:cubicBezTo>
                  <a:cubicBezTo>
                    <a:pt x="0" y="971"/>
                    <a:pt x="14" y="985"/>
                    <a:pt x="32" y="985"/>
                  </a:cubicBezTo>
                  <a:cubicBezTo>
                    <a:pt x="1299" y="985"/>
                    <a:pt x="1299" y="985"/>
                    <a:pt x="1299" y="985"/>
                  </a:cubicBezTo>
                  <a:cubicBezTo>
                    <a:pt x="1316" y="985"/>
                    <a:pt x="1331" y="971"/>
                    <a:pt x="1331" y="953"/>
                  </a:cubicBezTo>
                  <a:cubicBezTo>
                    <a:pt x="1331" y="32"/>
                    <a:pt x="1331" y="32"/>
                    <a:pt x="1331" y="32"/>
                  </a:cubicBezTo>
                  <a:cubicBezTo>
                    <a:pt x="1331" y="14"/>
                    <a:pt x="1316" y="0"/>
                    <a:pt x="1299" y="0"/>
                  </a:cubicBezTo>
                  <a:close/>
                  <a:moveTo>
                    <a:pt x="1299" y="0"/>
                  </a:moveTo>
                  <a:cubicBezTo>
                    <a:pt x="1299" y="0"/>
                    <a:pt x="1299" y="0"/>
                    <a:pt x="12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329"/>
            <p:cNvSpPr>
              <a:spLocks noEditPoints="1"/>
            </p:cNvSpPr>
            <p:nvPr/>
          </p:nvSpPr>
          <p:spPr bwMode="auto">
            <a:xfrm>
              <a:off x="1119" y="1376"/>
              <a:ext cx="469" cy="727"/>
            </a:xfrm>
            <a:custGeom>
              <a:avLst/>
              <a:gdLst>
                <a:gd name="T0" fmla="*/ 216 w 248"/>
                <a:gd name="T1" fmla="*/ 0 h 384"/>
                <a:gd name="T2" fmla="*/ 33 w 248"/>
                <a:gd name="T3" fmla="*/ 0 h 384"/>
                <a:gd name="T4" fmla="*/ 6 w 248"/>
                <a:gd name="T5" fmla="*/ 16 h 384"/>
                <a:gd name="T6" fmla="*/ 5 w 248"/>
                <a:gd name="T7" fmla="*/ 48 h 384"/>
                <a:gd name="T8" fmla="*/ 42 w 248"/>
                <a:gd name="T9" fmla="*/ 116 h 384"/>
                <a:gd name="T10" fmla="*/ 5 w 248"/>
                <a:gd name="T11" fmla="*/ 184 h 384"/>
                <a:gd name="T12" fmla="*/ 6 w 248"/>
                <a:gd name="T13" fmla="*/ 215 h 384"/>
                <a:gd name="T14" fmla="*/ 33 w 248"/>
                <a:gd name="T15" fmla="*/ 231 h 384"/>
                <a:gd name="T16" fmla="*/ 184 w 248"/>
                <a:gd name="T17" fmla="*/ 231 h 384"/>
                <a:gd name="T18" fmla="*/ 184 w 248"/>
                <a:gd name="T19" fmla="*/ 352 h 384"/>
                <a:gd name="T20" fmla="*/ 216 w 248"/>
                <a:gd name="T21" fmla="*/ 384 h 384"/>
                <a:gd name="T22" fmla="*/ 248 w 248"/>
                <a:gd name="T23" fmla="*/ 352 h 384"/>
                <a:gd name="T24" fmla="*/ 248 w 248"/>
                <a:gd name="T25" fmla="*/ 32 h 384"/>
                <a:gd name="T26" fmla="*/ 216 w 248"/>
                <a:gd name="T27" fmla="*/ 0 h 384"/>
                <a:gd name="T28" fmla="*/ 184 w 248"/>
                <a:gd name="T29" fmla="*/ 96 h 384"/>
                <a:gd name="T30" fmla="*/ 184 w 248"/>
                <a:gd name="T31" fmla="*/ 167 h 384"/>
                <a:gd name="T32" fmla="*/ 87 w 248"/>
                <a:gd name="T33" fmla="*/ 167 h 384"/>
                <a:gd name="T34" fmla="*/ 106 w 248"/>
                <a:gd name="T35" fmla="*/ 131 h 384"/>
                <a:gd name="T36" fmla="*/ 106 w 248"/>
                <a:gd name="T37" fmla="*/ 100 h 384"/>
                <a:gd name="T38" fmla="*/ 87 w 248"/>
                <a:gd name="T39" fmla="*/ 64 h 384"/>
                <a:gd name="T40" fmla="*/ 184 w 248"/>
                <a:gd name="T41" fmla="*/ 64 h 384"/>
                <a:gd name="T42" fmla="*/ 184 w 248"/>
                <a:gd name="T43" fmla="*/ 96 h 384"/>
                <a:gd name="T44" fmla="*/ 184 w 248"/>
                <a:gd name="T45" fmla="*/ 96 h 384"/>
                <a:gd name="T46" fmla="*/ 184 w 248"/>
                <a:gd name="T47" fmla="*/ 9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8" h="384">
                  <a:moveTo>
                    <a:pt x="216" y="0"/>
                  </a:moveTo>
                  <a:cubicBezTo>
                    <a:pt x="33" y="0"/>
                    <a:pt x="33" y="0"/>
                    <a:pt x="33" y="0"/>
                  </a:cubicBezTo>
                  <a:cubicBezTo>
                    <a:pt x="22" y="0"/>
                    <a:pt x="12" y="6"/>
                    <a:pt x="6" y="16"/>
                  </a:cubicBezTo>
                  <a:cubicBezTo>
                    <a:pt x="0" y="26"/>
                    <a:pt x="0" y="38"/>
                    <a:pt x="5" y="48"/>
                  </a:cubicBezTo>
                  <a:cubicBezTo>
                    <a:pt x="42" y="116"/>
                    <a:pt x="42" y="116"/>
                    <a:pt x="42" y="116"/>
                  </a:cubicBezTo>
                  <a:cubicBezTo>
                    <a:pt x="5" y="184"/>
                    <a:pt x="5" y="184"/>
                    <a:pt x="5" y="184"/>
                  </a:cubicBezTo>
                  <a:cubicBezTo>
                    <a:pt x="0" y="194"/>
                    <a:pt x="0" y="206"/>
                    <a:pt x="6" y="215"/>
                  </a:cubicBezTo>
                  <a:cubicBezTo>
                    <a:pt x="12" y="225"/>
                    <a:pt x="22" y="231"/>
                    <a:pt x="33" y="231"/>
                  </a:cubicBezTo>
                  <a:cubicBezTo>
                    <a:pt x="184" y="231"/>
                    <a:pt x="184" y="231"/>
                    <a:pt x="184" y="231"/>
                  </a:cubicBezTo>
                  <a:cubicBezTo>
                    <a:pt x="184" y="352"/>
                    <a:pt x="184" y="352"/>
                    <a:pt x="184" y="352"/>
                  </a:cubicBezTo>
                  <a:cubicBezTo>
                    <a:pt x="184" y="370"/>
                    <a:pt x="198" y="384"/>
                    <a:pt x="216" y="384"/>
                  </a:cubicBezTo>
                  <a:cubicBezTo>
                    <a:pt x="233" y="384"/>
                    <a:pt x="248" y="370"/>
                    <a:pt x="248" y="352"/>
                  </a:cubicBezTo>
                  <a:cubicBezTo>
                    <a:pt x="248" y="32"/>
                    <a:pt x="248" y="32"/>
                    <a:pt x="248" y="32"/>
                  </a:cubicBezTo>
                  <a:cubicBezTo>
                    <a:pt x="248" y="15"/>
                    <a:pt x="233" y="0"/>
                    <a:pt x="216" y="0"/>
                  </a:cubicBezTo>
                  <a:close/>
                  <a:moveTo>
                    <a:pt x="184" y="96"/>
                  </a:moveTo>
                  <a:cubicBezTo>
                    <a:pt x="184" y="167"/>
                    <a:pt x="184" y="167"/>
                    <a:pt x="184" y="167"/>
                  </a:cubicBezTo>
                  <a:cubicBezTo>
                    <a:pt x="87" y="167"/>
                    <a:pt x="87" y="167"/>
                    <a:pt x="87" y="167"/>
                  </a:cubicBezTo>
                  <a:cubicBezTo>
                    <a:pt x="106" y="131"/>
                    <a:pt x="106" y="131"/>
                    <a:pt x="106" y="131"/>
                  </a:cubicBezTo>
                  <a:cubicBezTo>
                    <a:pt x="111" y="121"/>
                    <a:pt x="111" y="110"/>
                    <a:pt x="106" y="100"/>
                  </a:cubicBezTo>
                  <a:cubicBezTo>
                    <a:pt x="87" y="64"/>
                    <a:pt x="87" y="64"/>
                    <a:pt x="87" y="64"/>
                  </a:cubicBezTo>
                  <a:cubicBezTo>
                    <a:pt x="184" y="64"/>
                    <a:pt x="184" y="64"/>
                    <a:pt x="184" y="64"/>
                  </a:cubicBezTo>
                  <a:lnTo>
                    <a:pt x="184" y="96"/>
                  </a:lnTo>
                  <a:close/>
                  <a:moveTo>
                    <a:pt x="184" y="96"/>
                  </a:moveTo>
                  <a:cubicBezTo>
                    <a:pt x="184" y="96"/>
                    <a:pt x="184" y="96"/>
                    <a:pt x="184" y="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330"/>
            <p:cNvSpPr>
              <a:spLocks noEditPoints="1"/>
            </p:cNvSpPr>
            <p:nvPr/>
          </p:nvSpPr>
          <p:spPr bwMode="auto">
            <a:xfrm>
              <a:off x="1200"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331"/>
            <p:cNvSpPr>
              <a:spLocks noEditPoints="1"/>
            </p:cNvSpPr>
            <p:nvPr/>
          </p:nvSpPr>
          <p:spPr bwMode="auto">
            <a:xfrm>
              <a:off x="182" y="1982"/>
              <a:ext cx="181"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332"/>
            <p:cNvSpPr>
              <a:spLocks noEditPoints="1"/>
            </p:cNvSpPr>
            <p:nvPr/>
          </p:nvSpPr>
          <p:spPr bwMode="auto">
            <a:xfrm>
              <a:off x="946"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333"/>
            <p:cNvSpPr>
              <a:spLocks noEditPoints="1"/>
            </p:cNvSpPr>
            <p:nvPr/>
          </p:nvSpPr>
          <p:spPr bwMode="auto">
            <a:xfrm>
              <a:off x="-169" y="2382"/>
              <a:ext cx="178" cy="172"/>
            </a:xfrm>
            <a:custGeom>
              <a:avLst/>
              <a:gdLst>
                <a:gd name="T0" fmla="*/ 79 w 94"/>
                <a:gd name="T1" fmla="*/ 35 h 91"/>
                <a:gd name="T2" fmla="*/ 62 w 94"/>
                <a:gd name="T3" fmla="*/ 17 h 91"/>
                <a:gd name="T4" fmla="*/ 17 w 94"/>
                <a:gd name="T5" fmla="*/ 11 h 91"/>
                <a:gd name="T6" fmla="*/ 11 w 94"/>
                <a:gd name="T7" fmla="*/ 56 h 91"/>
                <a:gd name="T8" fmla="*/ 38 w 94"/>
                <a:gd name="T9" fmla="*/ 84 h 91"/>
                <a:gd name="T10" fmla="*/ 58 w 94"/>
                <a:gd name="T11" fmla="*/ 91 h 91"/>
                <a:gd name="T12" fmla="*/ 83 w 94"/>
                <a:gd name="T13" fmla="*/ 80 h 91"/>
                <a:gd name="T14" fmla="*/ 79 w 94"/>
                <a:gd name="T15" fmla="*/ 35 h 91"/>
                <a:gd name="T16" fmla="*/ 79 w 94"/>
                <a:gd name="T17" fmla="*/ 35 h 91"/>
                <a:gd name="T18" fmla="*/ 79 w 94"/>
                <a:gd name="T19" fmla="*/ 3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1">
                  <a:moveTo>
                    <a:pt x="79" y="35"/>
                  </a:moveTo>
                  <a:cubicBezTo>
                    <a:pt x="72" y="30"/>
                    <a:pt x="67" y="24"/>
                    <a:pt x="62" y="17"/>
                  </a:cubicBezTo>
                  <a:cubicBezTo>
                    <a:pt x="51" y="3"/>
                    <a:pt x="31" y="0"/>
                    <a:pt x="17" y="11"/>
                  </a:cubicBezTo>
                  <a:cubicBezTo>
                    <a:pt x="3" y="21"/>
                    <a:pt x="0" y="41"/>
                    <a:pt x="11" y="56"/>
                  </a:cubicBezTo>
                  <a:cubicBezTo>
                    <a:pt x="19" y="66"/>
                    <a:pt x="28" y="76"/>
                    <a:pt x="38" y="84"/>
                  </a:cubicBezTo>
                  <a:cubicBezTo>
                    <a:pt x="44" y="89"/>
                    <a:pt x="51" y="91"/>
                    <a:pt x="58" y="91"/>
                  </a:cubicBezTo>
                  <a:cubicBezTo>
                    <a:pt x="67" y="91"/>
                    <a:pt x="77" y="87"/>
                    <a:pt x="83" y="80"/>
                  </a:cubicBezTo>
                  <a:cubicBezTo>
                    <a:pt x="94" y="66"/>
                    <a:pt x="92" y="46"/>
                    <a:pt x="79" y="35"/>
                  </a:cubicBezTo>
                  <a:close/>
                  <a:moveTo>
                    <a:pt x="79" y="35"/>
                  </a:moveTo>
                  <a:cubicBezTo>
                    <a:pt x="79" y="35"/>
                    <a:pt x="79" y="35"/>
                    <a:pt x="79"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334"/>
            <p:cNvSpPr>
              <a:spLocks noEditPoints="1"/>
            </p:cNvSpPr>
            <p:nvPr/>
          </p:nvSpPr>
          <p:spPr bwMode="auto">
            <a:xfrm>
              <a:off x="-76" y="1982"/>
              <a:ext cx="191" cy="148"/>
            </a:xfrm>
            <a:custGeom>
              <a:avLst/>
              <a:gdLst>
                <a:gd name="T0" fmla="*/ 98 w 101"/>
                <a:gd name="T1" fmla="*/ 29 h 78"/>
                <a:gd name="T2" fmla="*/ 59 w 101"/>
                <a:gd name="T3" fmla="*/ 4 h 78"/>
                <a:gd name="T4" fmla="*/ 22 w 101"/>
                <a:gd name="T5" fmla="*/ 17 h 78"/>
                <a:gd name="T6" fmla="*/ 7 w 101"/>
                <a:gd name="T7" fmla="*/ 60 h 78"/>
                <a:gd name="T8" fmla="*/ 36 w 101"/>
                <a:gd name="T9" fmla="*/ 78 h 78"/>
                <a:gd name="T10" fmla="*/ 50 w 101"/>
                <a:gd name="T11" fmla="*/ 75 h 78"/>
                <a:gd name="T12" fmla="*/ 73 w 101"/>
                <a:gd name="T13" fmla="*/ 67 h 78"/>
                <a:gd name="T14" fmla="*/ 98 w 101"/>
                <a:gd name="T15" fmla="*/ 29 h 78"/>
                <a:gd name="T16" fmla="*/ 98 w 101"/>
                <a:gd name="T17" fmla="*/ 29 h 78"/>
                <a:gd name="T18" fmla="*/ 98 w 101"/>
                <a:gd name="T19" fmla="*/ 2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78">
                  <a:moveTo>
                    <a:pt x="98" y="29"/>
                  </a:moveTo>
                  <a:cubicBezTo>
                    <a:pt x="94" y="11"/>
                    <a:pt x="77" y="0"/>
                    <a:pt x="59" y="4"/>
                  </a:cubicBezTo>
                  <a:cubicBezTo>
                    <a:pt x="47" y="7"/>
                    <a:pt x="34" y="11"/>
                    <a:pt x="22" y="17"/>
                  </a:cubicBezTo>
                  <a:cubicBezTo>
                    <a:pt x="6" y="25"/>
                    <a:pt x="0" y="44"/>
                    <a:pt x="7" y="60"/>
                  </a:cubicBezTo>
                  <a:cubicBezTo>
                    <a:pt x="13" y="71"/>
                    <a:pt x="24" y="78"/>
                    <a:pt x="36" y="78"/>
                  </a:cubicBezTo>
                  <a:cubicBezTo>
                    <a:pt x="41" y="78"/>
                    <a:pt x="46" y="77"/>
                    <a:pt x="50" y="75"/>
                  </a:cubicBezTo>
                  <a:cubicBezTo>
                    <a:pt x="57" y="71"/>
                    <a:pt x="65" y="68"/>
                    <a:pt x="73" y="67"/>
                  </a:cubicBezTo>
                  <a:cubicBezTo>
                    <a:pt x="90" y="63"/>
                    <a:pt x="101" y="46"/>
                    <a:pt x="98" y="29"/>
                  </a:cubicBezTo>
                  <a:close/>
                  <a:moveTo>
                    <a:pt x="98" y="29"/>
                  </a:moveTo>
                  <a:cubicBezTo>
                    <a:pt x="98" y="29"/>
                    <a:pt x="98" y="29"/>
                    <a:pt x="98"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335"/>
            <p:cNvSpPr>
              <a:spLocks noEditPoints="1"/>
            </p:cNvSpPr>
            <p:nvPr/>
          </p:nvSpPr>
          <p:spPr bwMode="auto">
            <a:xfrm>
              <a:off x="60" y="249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336"/>
            <p:cNvSpPr>
              <a:spLocks noEditPoints="1"/>
            </p:cNvSpPr>
            <p:nvPr/>
          </p:nvSpPr>
          <p:spPr bwMode="auto">
            <a:xfrm>
              <a:off x="-214" y="2141"/>
              <a:ext cx="148" cy="188"/>
            </a:xfrm>
            <a:custGeom>
              <a:avLst/>
              <a:gdLst>
                <a:gd name="T0" fmla="*/ 53 w 78"/>
                <a:gd name="T1" fmla="*/ 6 h 99"/>
                <a:gd name="T2" fmla="*/ 12 w 78"/>
                <a:gd name="T3" fmla="*/ 25 h 99"/>
                <a:gd name="T4" fmla="*/ 3 w 78"/>
                <a:gd name="T5" fmla="*/ 63 h 99"/>
                <a:gd name="T6" fmla="*/ 31 w 78"/>
                <a:gd name="T7" fmla="*/ 99 h 99"/>
                <a:gd name="T8" fmla="*/ 34 w 78"/>
                <a:gd name="T9" fmla="*/ 99 h 99"/>
                <a:gd name="T10" fmla="*/ 66 w 78"/>
                <a:gd name="T11" fmla="*/ 71 h 99"/>
                <a:gd name="T12" fmla="*/ 72 w 78"/>
                <a:gd name="T13" fmla="*/ 47 h 99"/>
                <a:gd name="T14" fmla="*/ 53 w 78"/>
                <a:gd name="T15" fmla="*/ 6 h 99"/>
                <a:gd name="T16" fmla="*/ 53 w 78"/>
                <a:gd name="T17" fmla="*/ 6 h 99"/>
                <a:gd name="T18" fmla="*/ 53 w 78"/>
                <a:gd name="T19"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99">
                  <a:moveTo>
                    <a:pt x="53" y="6"/>
                  </a:moveTo>
                  <a:cubicBezTo>
                    <a:pt x="36" y="0"/>
                    <a:pt x="18" y="8"/>
                    <a:pt x="12" y="25"/>
                  </a:cubicBezTo>
                  <a:cubicBezTo>
                    <a:pt x="7" y="37"/>
                    <a:pt x="4" y="50"/>
                    <a:pt x="3" y="63"/>
                  </a:cubicBezTo>
                  <a:cubicBezTo>
                    <a:pt x="0" y="81"/>
                    <a:pt x="13" y="97"/>
                    <a:pt x="31" y="99"/>
                  </a:cubicBezTo>
                  <a:cubicBezTo>
                    <a:pt x="32" y="99"/>
                    <a:pt x="33" y="99"/>
                    <a:pt x="34" y="99"/>
                  </a:cubicBezTo>
                  <a:cubicBezTo>
                    <a:pt x="50" y="99"/>
                    <a:pt x="64" y="87"/>
                    <a:pt x="66" y="71"/>
                  </a:cubicBezTo>
                  <a:cubicBezTo>
                    <a:pt x="67" y="63"/>
                    <a:pt x="69" y="55"/>
                    <a:pt x="72" y="47"/>
                  </a:cubicBezTo>
                  <a:cubicBezTo>
                    <a:pt x="78" y="30"/>
                    <a:pt x="70" y="12"/>
                    <a:pt x="53" y="6"/>
                  </a:cubicBezTo>
                  <a:close/>
                  <a:moveTo>
                    <a:pt x="53" y="6"/>
                  </a:moveTo>
                  <a:cubicBezTo>
                    <a:pt x="53" y="6"/>
                    <a:pt x="53" y="6"/>
                    <a:pt x="5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337"/>
            <p:cNvSpPr>
              <a:spLocks noEditPoints="1"/>
            </p:cNvSpPr>
            <p:nvPr/>
          </p:nvSpPr>
          <p:spPr bwMode="auto">
            <a:xfrm>
              <a:off x="316" y="249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338"/>
            <p:cNvSpPr>
              <a:spLocks noEditPoints="1"/>
            </p:cNvSpPr>
            <p:nvPr/>
          </p:nvSpPr>
          <p:spPr bwMode="auto">
            <a:xfrm>
              <a:off x="691"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339"/>
            <p:cNvSpPr>
              <a:spLocks noEditPoints="1"/>
            </p:cNvSpPr>
            <p:nvPr/>
          </p:nvSpPr>
          <p:spPr bwMode="auto">
            <a:xfrm>
              <a:off x="825" y="2492"/>
              <a:ext cx="154" cy="121"/>
            </a:xfrm>
            <a:custGeom>
              <a:avLst/>
              <a:gdLst>
                <a:gd name="T0" fmla="*/ 49 w 81"/>
                <a:gd name="T1" fmla="*/ 0 h 64"/>
                <a:gd name="T2" fmla="*/ 32 w 81"/>
                <a:gd name="T3" fmla="*/ 0 h 64"/>
                <a:gd name="T4" fmla="*/ 0 w 81"/>
                <a:gd name="T5" fmla="*/ 32 h 64"/>
                <a:gd name="T6" fmla="*/ 32 w 81"/>
                <a:gd name="T7" fmla="*/ 64 h 64"/>
                <a:gd name="T8" fmla="*/ 49 w 81"/>
                <a:gd name="T9" fmla="*/ 64 h 64"/>
                <a:gd name="T10" fmla="*/ 81 w 81"/>
                <a:gd name="T11" fmla="*/ 32 h 64"/>
                <a:gd name="T12" fmla="*/ 49 w 81"/>
                <a:gd name="T13" fmla="*/ 0 h 64"/>
                <a:gd name="T14" fmla="*/ 49 w 81"/>
                <a:gd name="T15" fmla="*/ 0 h 64"/>
                <a:gd name="T16" fmla="*/ 49 w 8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64">
                  <a:moveTo>
                    <a:pt x="49" y="0"/>
                  </a:moveTo>
                  <a:cubicBezTo>
                    <a:pt x="32" y="0"/>
                    <a:pt x="32" y="0"/>
                    <a:pt x="32" y="0"/>
                  </a:cubicBezTo>
                  <a:cubicBezTo>
                    <a:pt x="14" y="0"/>
                    <a:pt x="0" y="15"/>
                    <a:pt x="0" y="32"/>
                  </a:cubicBezTo>
                  <a:cubicBezTo>
                    <a:pt x="0" y="50"/>
                    <a:pt x="14" y="64"/>
                    <a:pt x="32" y="64"/>
                  </a:cubicBezTo>
                  <a:cubicBezTo>
                    <a:pt x="49" y="64"/>
                    <a:pt x="49" y="64"/>
                    <a:pt x="49" y="64"/>
                  </a:cubicBezTo>
                  <a:cubicBezTo>
                    <a:pt x="67" y="64"/>
                    <a:pt x="81" y="50"/>
                    <a:pt x="81" y="32"/>
                  </a:cubicBezTo>
                  <a:cubicBezTo>
                    <a:pt x="81" y="15"/>
                    <a:pt x="67" y="0"/>
                    <a:pt x="49" y="0"/>
                  </a:cubicBezTo>
                  <a:close/>
                  <a:moveTo>
                    <a:pt x="49" y="0"/>
                  </a:moveTo>
                  <a:cubicBezTo>
                    <a:pt x="49" y="0"/>
                    <a:pt x="49"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340"/>
            <p:cNvSpPr>
              <a:spLocks noEditPoints="1"/>
            </p:cNvSpPr>
            <p:nvPr/>
          </p:nvSpPr>
          <p:spPr bwMode="auto">
            <a:xfrm>
              <a:off x="437"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341"/>
            <p:cNvSpPr>
              <a:spLocks noEditPoints="1"/>
            </p:cNvSpPr>
            <p:nvPr/>
          </p:nvSpPr>
          <p:spPr bwMode="auto">
            <a:xfrm>
              <a:off x="570" y="2492"/>
              <a:ext cx="181"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342"/>
            <p:cNvSpPr>
              <a:spLocks noEditPoints="1"/>
            </p:cNvSpPr>
            <p:nvPr/>
          </p:nvSpPr>
          <p:spPr bwMode="auto">
            <a:xfrm>
              <a:off x="1052" y="2370"/>
              <a:ext cx="364" cy="364"/>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28 h 192"/>
                <a:gd name="T12" fmla="*/ 64 w 192"/>
                <a:gd name="T13" fmla="*/ 96 h 192"/>
                <a:gd name="T14" fmla="*/ 96 w 192"/>
                <a:gd name="T15" fmla="*/ 64 h 192"/>
                <a:gd name="T16" fmla="*/ 128 w 192"/>
                <a:gd name="T17" fmla="*/ 96 h 192"/>
                <a:gd name="T18" fmla="*/ 96 w 192"/>
                <a:gd name="T19" fmla="*/ 128 h 192"/>
                <a:gd name="T20" fmla="*/ 96 w 192"/>
                <a:gd name="T21" fmla="*/ 128 h 192"/>
                <a:gd name="T22" fmla="*/ 96 w 192"/>
                <a:gd name="T23" fmla="*/ 12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28"/>
                  </a:moveTo>
                  <a:cubicBezTo>
                    <a:pt x="78" y="128"/>
                    <a:pt x="64" y="114"/>
                    <a:pt x="64" y="96"/>
                  </a:cubicBezTo>
                  <a:cubicBezTo>
                    <a:pt x="64" y="79"/>
                    <a:pt x="78" y="64"/>
                    <a:pt x="96" y="64"/>
                  </a:cubicBezTo>
                  <a:cubicBezTo>
                    <a:pt x="113" y="64"/>
                    <a:pt x="128" y="79"/>
                    <a:pt x="128" y="96"/>
                  </a:cubicBezTo>
                  <a:cubicBezTo>
                    <a:pt x="128" y="114"/>
                    <a:pt x="113" y="128"/>
                    <a:pt x="96" y="128"/>
                  </a:cubicBezTo>
                  <a:close/>
                  <a:moveTo>
                    <a:pt x="96" y="128"/>
                  </a:moveTo>
                  <a:cubicBezTo>
                    <a:pt x="96" y="128"/>
                    <a:pt x="96" y="128"/>
                    <a:pt x="96"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3" name="Group 401"/>
          <p:cNvGrpSpPr>
            <a:grpSpLocks noChangeAspect="1"/>
          </p:cNvGrpSpPr>
          <p:nvPr/>
        </p:nvGrpSpPr>
        <p:grpSpPr bwMode="auto">
          <a:xfrm>
            <a:off x="2283888" y="1860791"/>
            <a:ext cx="361219" cy="457200"/>
            <a:chOff x="-819" y="1413"/>
            <a:chExt cx="2450" cy="3101"/>
          </a:xfrm>
          <a:solidFill>
            <a:schemeClr val="accent1"/>
          </a:solidFill>
        </p:grpSpPr>
        <p:sp>
          <p:nvSpPr>
            <p:cNvPr id="405" name="Freeform 402"/>
            <p:cNvSpPr>
              <a:spLocks noEditPoints="1"/>
            </p:cNvSpPr>
            <p:nvPr/>
          </p:nvSpPr>
          <p:spPr bwMode="auto">
            <a:xfrm>
              <a:off x="-819" y="1413"/>
              <a:ext cx="2450" cy="3101"/>
            </a:xfrm>
            <a:custGeom>
              <a:avLst/>
              <a:gdLst>
                <a:gd name="T0" fmla="*/ 1293 w 1293"/>
                <a:gd name="T1" fmla="*/ 794 h 1638"/>
                <a:gd name="T2" fmla="*/ 1133 w 1293"/>
                <a:gd name="T3" fmla="*/ 128 h 1638"/>
                <a:gd name="T4" fmla="*/ 847 w 1293"/>
                <a:gd name="T5" fmla="*/ 94 h 1638"/>
                <a:gd name="T6" fmla="*/ 649 w 1293"/>
                <a:gd name="T7" fmla="*/ 0 h 1638"/>
                <a:gd name="T8" fmla="*/ 498 w 1293"/>
                <a:gd name="T9" fmla="*/ 94 h 1638"/>
                <a:gd name="T10" fmla="*/ 377 w 1293"/>
                <a:gd name="T11" fmla="*/ 128 h 1638"/>
                <a:gd name="T12" fmla="*/ 0 w 1293"/>
                <a:gd name="T13" fmla="*/ 288 h 1638"/>
                <a:gd name="T14" fmla="*/ 160 w 1293"/>
                <a:gd name="T15" fmla="*/ 1638 h 1638"/>
                <a:gd name="T16" fmla="*/ 1293 w 1293"/>
                <a:gd name="T17" fmla="*/ 1478 h 1638"/>
                <a:gd name="T18" fmla="*/ 1261 w 1293"/>
                <a:gd name="T19" fmla="*/ 1030 h 1638"/>
                <a:gd name="T20" fmla="*/ 1229 w 1293"/>
                <a:gd name="T21" fmla="*/ 1478 h 1638"/>
                <a:gd name="T22" fmla="*/ 160 w 1293"/>
                <a:gd name="T23" fmla="*/ 1574 h 1638"/>
                <a:gd name="T24" fmla="*/ 64 w 1293"/>
                <a:gd name="T25" fmla="*/ 288 h 1638"/>
                <a:gd name="T26" fmla="*/ 358 w 1293"/>
                <a:gd name="T27" fmla="*/ 192 h 1638"/>
                <a:gd name="T28" fmla="*/ 192 w 1293"/>
                <a:gd name="T29" fmla="*/ 256 h 1638"/>
                <a:gd name="T30" fmla="*/ 128 w 1293"/>
                <a:gd name="T31" fmla="*/ 1446 h 1638"/>
                <a:gd name="T32" fmla="*/ 1101 w 1293"/>
                <a:gd name="T33" fmla="*/ 1510 h 1638"/>
                <a:gd name="T34" fmla="*/ 1165 w 1293"/>
                <a:gd name="T35" fmla="*/ 320 h 1638"/>
                <a:gd name="T36" fmla="*/ 934 w 1293"/>
                <a:gd name="T37" fmla="*/ 256 h 1638"/>
                <a:gd name="T38" fmla="*/ 1133 w 1293"/>
                <a:gd name="T39" fmla="*/ 192 h 1638"/>
                <a:gd name="T40" fmla="*/ 1229 w 1293"/>
                <a:gd name="T41" fmla="*/ 794 h 1638"/>
                <a:gd name="T42" fmla="*/ 422 w 1293"/>
                <a:gd name="T43" fmla="*/ 182 h 1638"/>
                <a:gd name="T44" fmla="*/ 520 w 1293"/>
                <a:gd name="T45" fmla="*/ 158 h 1638"/>
                <a:gd name="T46" fmla="*/ 644 w 1293"/>
                <a:gd name="T47" fmla="*/ 64 h 1638"/>
                <a:gd name="T48" fmla="*/ 742 w 1293"/>
                <a:gd name="T49" fmla="*/ 135 h 1638"/>
                <a:gd name="T50" fmla="*/ 847 w 1293"/>
                <a:gd name="T51" fmla="*/ 158 h 1638"/>
                <a:gd name="T52" fmla="*/ 870 w 1293"/>
                <a:gd name="T53" fmla="*/ 256 h 1638"/>
                <a:gd name="T54" fmla="*/ 422 w 1293"/>
                <a:gd name="T55" fmla="*/ 182 h 1638"/>
                <a:gd name="T56" fmla="*/ 1101 w 1293"/>
                <a:gd name="T57" fmla="*/ 1446 h 1638"/>
                <a:gd name="T58" fmla="*/ 192 w 1293"/>
                <a:gd name="T59" fmla="*/ 320 h 1638"/>
                <a:gd name="T60" fmla="*/ 256 w 1293"/>
                <a:gd name="T61" fmla="*/ 518 h 1638"/>
                <a:gd name="T62" fmla="*/ 320 w 1293"/>
                <a:gd name="T63" fmla="*/ 518 h 1638"/>
                <a:gd name="T64" fmla="*/ 1101 w 1293"/>
                <a:gd name="T65" fmla="*/ 320 h 1638"/>
                <a:gd name="T66" fmla="*/ 1101 w 1293"/>
                <a:gd name="T67" fmla="*/ 320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93" h="1638">
                  <a:moveTo>
                    <a:pt x="1261" y="826"/>
                  </a:moveTo>
                  <a:cubicBezTo>
                    <a:pt x="1278" y="826"/>
                    <a:pt x="1293" y="812"/>
                    <a:pt x="1293" y="794"/>
                  </a:cubicBezTo>
                  <a:cubicBezTo>
                    <a:pt x="1293" y="288"/>
                    <a:pt x="1293" y="288"/>
                    <a:pt x="1293" y="288"/>
                  </a:cubicBezTo>
                  <a:cubicBezTo>
                    <a:pt x="1293" y="200"/>
                    <a:pt x="1221" y="128"/>
                    <a:pt x="1133" y="128"/>
                  </a:cubicBezTo>
                  <a:cubicBezTo>
                    <a:pt x="916" y="128"/>
                    <a:pt x="916" y="128"/>
                    <a:pt x="916" y="128"/>
                  </a:cubicBezTo>
                  <a:cubicBezTo>
                    <a:pt x="900" y="108"/>
                    <a:pt x="875" y="94"/>
                    <a:pt x="847" y="94"/>
                  </a:cubicBezTo>
                  <a:cubicBezTo>
                    <a:pt x="795" y="94"/>
                    <a:pt x="795" y="94"/>
                    <a:pt x="795" y="94"/>
                  </a:cubicBezTo>
                  <a:cubicBezTo>
                    <a:pt x="770" y="38"/>
                    <a:pt x="713" y="0"/>
                    <a:pt x="649" y="0"/>
                  </a:cubicBezTo>
                  <a:cubicBezTo>
                    <a:pt x="644" y="0"/>
                    <a:pt x="644" y="0"/>
                    <a:pt x="644" y="0"/>
                  </a:cubicBezTo>
                  <a:cubicBezTo>
                    <a:pt x="580" y="0"/>
                    <a:pt x="523" y="38"/>
                    <a:pt x="498" y="94"/>
                  </a:cubicBezTo>
                  <a:cubicBezTo>
                    <a:pt x="446" y="94"/>
                    <a:pt x="446" y="94"/>
                    <a:pt x="446" y="94"/>
                  </a:cubicBezTo>
                  <a:cubicBezTo>
                    <a:pt x="418" y="94"/>
                    <a:pt x="393" y="108"/>
                    <a:pt x="377" y="128"/>
                  </a:cubicBezTo>
                  <a:cubicBezTo>
                    <a:pt x="160" y="128"/>
                    <a:pt x="160" y="128"/>
                    <a:pt x="160" y="128"/>
                  </a:cubicBezTo>
                  <a:cubicBezTo>
                    <a:pt x="72" y="128"/>
                    <a:pt x="0" y="200"/>
                    <a:pt x="0" y="288"/>
                  </a:cubicBezTo>
                  <a:cubicBezTo>
                    <a:pt x="0" y="1478"/>
                    <a:pt x="0" y="1478"/>
                    <a:pt x="0" y="1478"/>
                  </a:cubicBezTo>
                  <a:cubicBezTo>
                    <a:pt x="0" y="1567"/>
                    <a:pt x="72" y="1638"/>
                    <a:pt x="160" y="1638"/>
                  </a:cubicBezTo>
                  <a:cubicBezTo>
                    <a:pt x="1133" y="1638"/>
                    <a:pt x="1133" y="1638"/>
                    <a:pt x="1133" y="1638"/>
                  </a:cubicBezTo>
                  <a:cubicBezTo>
                    <a:pt x="1221" y="1638"/>
                    <a:pt x="1293" y="1567"/>
                    <a:pt x="1293" y="1478"/>
                  </a:cubicBezTo>
                  <a:cubicBezTo>
                    <a:pt x="1293" y="1062"/>
                    <a:pt x="1293" y="1062"/>
                    <a:pt x="1293" y="1062"/>
                  </a:cubicBezTo>
                  <a:cubicBezTo>
                    <a:pt x="1293" y="1045"/>
                    <a:pt x="1278" y="1030"/>
                    <a:pt x="1261" y="1030"/>
                  </a:cubicBezTo>
                  <a:cubicBezTo>
                    <a:pt x="1243" y="1030"/>
                    <a:pt x="1229" y="1045"/>
                    <a:pt x="1229" y="1062"/>
                  </a:cubicBezTo>
                  <a:cubicBezTo>
                    <a:pt x="1229" y="1478"/>
                    <a:pt x="1229" y="1478"/>
                    <a:pt x="1229" y="1478"/>
                  </a:cubicBezTo>
                  <a:cubicBezTo>
                    <a:pt x="1229" y="1531"/>
                    <a:pt x="1186" y="1574"/>
                    <a:pt x="1133" y="1574"/>
                  </a:cubicBezTo>
                  <a:cubicBezTo>
                    <a:pt x="160" y="1574"/>
                    <a:pt x="160" y="1574"/>
                    <a:pt x="160" y="1574"/>
                  </a:cubicBezTo>
                  <a:cubicBezTo>
                    <a:pt x="107" y="1574"/>
                    <a:pt x="64" y="1531"/>
                    <a:pt x="64" y="1478"/>
                  </a:cubicBezTo>
                  <a:cubicBezTo>
                    <a:pt x="64" y="288"/>
                    <a:pt x="64" y="288"/>
                    <a:pt x="64" y="288"/>
                  </a:cubicBezTo>
                  <a:cubicBezTo>
                    <a:pt x="64" y="235"/>
                    <a:pt x="107" y="192"/>
                    <a:pt x="160" y="192"/>
                  </a:cubicBezTo>
                  <a:cubicBezTo>
                    <a:pt x="358" y="192"/>
                    <a:pt x="358" y="192"/>
                    <a:pt x="358" y="192"/>
                  </a:cubicBezTo>
                  <a:cubicBezTo>
                    <a:pt x="358" y="256"/>
                    <a:pt x="358" y="256"/>
                    <a:pt x="358" y="256"/>
                  </a:cubicBezTo>
                  <a:cubicBezTo>
                    <a:pt x="192" y="256"/>
                    <a:pt x="192" y="256"/>
                    <a:pt x="192" y="256"/>
                  </a:cubicBezTo>
                  <a:cubicBezTo>
                    <a:pt x="157" y="256"/>
                    <a:pt x="128" y="285"/>
                    <a:pt x="128" y="320"/>
                  </a:cubicBezTo>
                  <a:cubicBezTo>
                    <a:pt x="128" y="1446"/>
                    <a:pt x="128" y="1446"/>
                    <a:pt x="128" y="1446"/>
                  </a:cubicBezTo>
                  <a:cubicBezTo>
                    <a:pt x="128" y="1482"/>
                    <a:pt x="157" y="1510"/>
                    <a:pt x="192" y="1510"/>
                  </a:cubicBezTo>
                  <a:cubicBezTo>
                    <a:pt x="1101" y="1510"/>
                    <a:pt x="1101" y="1510"/>
                    <a:pt x="1101" y="1510"/>
                  </a:cubicBezTo>
                  <a:cubicBezTo>
                    <a:pt x="1136" y="1510"/>
                    <a:pt x="1165" y="1482"/>
                    <a:pt x="1165" y="1446"/>
                  </a:cubicBezTo>
                  <a:cubicBezTo>
                    <a:pt x="1165" y="320"/>
                    <a:pt x="1165" y="320"/>
                    <a:pt x="1165" y="320"/>
                  </a:cubicBezTo>
                  <a:cubicBezTo>
                    <a:pt x="1165" y="285"/>
                    <a:pt x="1136" y="256"/>
                    <a:pt x="1101" y="256"/>
                  </a:cubicBezTo>
                  <a:cubicBezTo>
                    <a:pt x="934" y="256"/>
                    <a:pt x="934" y="256"/>
                    <a:pt x="934" y="256"/>
                  </a:cubicBezTo>
                  <a:cubicBezTo>
                    <a:pt x="934" y="192"/>
                    <a:pt x="934" y="192"/>
                    <a:pt x="934" y="192"/>
                  </a:cubicBezTo>
                  <a:cubicBezTo>
                    <a:pt x="1133" y="192"/>
                    <a:pt x="1133" y="192"/>
                    <a:pt x="1133" y="192"/>
                  </a:cubicBezTo>
                  <a:cubicBezTo>
                    <a:pt x="1186" y="192"/>
                    <a:pt x="1229" y="235"/>
                    <a:pt x="1229" y="288"/>
                  </a:cubicBezTo>
                  <a:cubicBezTo>
                    <a:pt x="1229" y="794"/>
                    <a:pt x="1229" y="794"/>
                    <a:pt x="1229" y="794"/>
                  </a:cubicBezTo>
                  <a:cubicBezTo>
                    <a:pt x="1229" y="812"/>
                    <a:pt x="1243" y="826"/>
                    <a:pt x="1261" y="826"/>
                  </a:cubicBezTo>
                  <a:close/>
                  <a:moveTo>
                    <a:pt x="422" y="182"/>
                  </a:moveTo>
                  <a:cubicBezTo>
                    <a:pt x="422" y="169"/>
                    <a:pt x="433" y="158"/>
                    <a:pt x="446" y="158"/>
                  </a:cubicBezTo>
                  <a:cubicBezTo>
                    <a:pt x="520" y="158"/>
                    <a:pt x="520" y="158"/>
                    <a:pt x="520" y="158"/>
                  </a:cubicBezTo>
                  <a:cubicBezTo>
                    <a:pt x="535" y="158"/>
                    <a:pt x="547" y="149"/>
                    <a:pt x="551" y="135"/>
                  </a:cubicBezTo>
                  <a:cubicBezTo>
                    <a:pt x="562" y="93"/>
                    <a:pt x="600" y="64"/>
                    <a:pt x="644" y="64"/>
                  </a:cubicBezTo>
                  <a:cubicBezTo>
                    <a:pt x="649" y="64"/>
                    <a:pt x="649" y="64"/>
                    <a:pt x="649" y="64"/>
                  </a:cubicBezTo>
                  <a:cubicBezTo>
                    <a:pt x="692" y="64"/>
                    <a:pt x="731" y="93"/>
                    <a:pt x="742" y="135"/>
                  </a:cubicBezTo>
                  <a:cubicBezTo>
                    <a:pt x="746" y="149"/>
                    <a:pt x="758" y="158"/>
                    <a:pt x="773" y="158"/>
                  </a:cubicBezTo>
                  <a:cubicBezTo>
                    <a:pt x="847" y="158"/>
                    <a:pt x="847" y="158"/>
                    <a:pt x="847" y="158"/>
                  </a:cubicBezTo>
                  <a:cubicBezTo>
                    <a:pt x="860" y="158"/>
                    <a:pt x="870" y="169"/>
                    <a:pt x="870" y="182"/>
                  </a:cubicBezTo>
                  <a:cubicBezTo>
                    <a:pt x="870" y="256"/>
                    <a:pt x="870" y="256"/>
                    <a:pt x="870" y="256"/>
                  </a:cubicBezTo>
                  <a:cubicBezTo>
                    <a:pt x="422" y="256"/>
                    <a:pt x="422" y="256"/>
                    <a:pt x="422" y="256"/>
                  </a:cubicBezTo>
                  <a:lnTo>
                    <a:pt x="422" y="182"/>
                  </a:lnTo>
                  <a:close/>
                  <a:moveTo>
                    <a:pt x="1101" y="320"/>
                  </a:moveTo>
                  <a:cubicBezTo>
                    <a:pt x="1101" y="1446"/>
                    <a:pt x="1101" y="1446"/>
                    <a:pt x="1101" y="1446"/>
                  </a:cubicBezTo>
                  <a:cubicBezTo>
                    <a:pt x="192" y="1446"/>
                    <a:pt x="192" y="1446"/>
                    <a:pt x="192" y="1446"/>
                  </a:cubicBezTo>
                  <a:cubicBezTo>
                    <a:pt x="192" y="320"/>
                    <a:pt x="192" y="320"/>
                    <a:pt x="192" y="320"/>
                  </a:cubicBezTo>
                  <a:cubicBezTo>
                    <a:pt x="256" y="320"/>
                    <a:pt x="256" y="320"/>
                    <a:pt x="256" y="320"/>
                  </a:cubicBezTo>
                  <a:cubicBezTo>
                    <a:pt x="256" y="518"/>
                    <a:pt x="256" y="518"/>
                    <a:pt x="256" y="518"/>
                  </a:cubicBezTo>
                  <a:cubicBezTo>
                    <a:pt x="256" y="536"/>
                    <a:pt x="270" y="550"/>
                    <a:pt x="288" y="550"/>
                  </a:cubicBezTo>
                  <a:cubicBezTo>
                    <a:pt x="306" y="550"/>
                    <a:pt x="320" y="536"/>
                    <a:pt x="320" y="518"/>
                  </a:cubicBezTo>
                  <a:cubicBezTo>
                    <a:pt x="320" y="320"/>
                    <a:pt x="320" y="320"/>
                    <a:pt x="320" y="320"/>
                  </a:cubicBezTo>
                  <a:lnTo>
                    <a:pt x="1101" y="320"/>
                  </a:lnTo>
                  <a:close/>
                  <a:moveTo>
                    <a:pt x="1101" y="320"/>
                  </a:moveTo>
                  <a:cubicBezTo>
                    <a:pt x="1101" y="320"/>
                    <a:pt x="1101" y="320"/>
                    <a:pt x="1101" y="3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403"/>
            <p:cNvSpPr>
              <a:spLocks noEditPoints="1"/>
            </p:cNvSpPr>
            <p:nvPr/>
          </p:nvSpPr>
          <p:spPr bwMode="auto">
            <a:xfrm>
              <a:off x="-298" y="2221"/>
              <a:ext cx="1408" cy="1403"/>
            </a:xfrm>
            <a:custGeom>
              <a:avLst/>
              <a:gdLst>
                <a:gd name="T0" fmla="*/ 640 w 743"/>
                <a:gd name="T1" fmla="*/ 476 h 741"/>
                <a:gd name="T2" fmla="*/ 640 w 743"/>
                <a:gd name="T3" fmla="*/ 398 h 741"/>
                <a:gd name="T4" fmla="*/ 608 w 743"/>
                <a:gd name="T5" fmla="*/ 366 h 741"/>
                <a:gd name="T6" fmla="*/ 403 w 743"/>
                <a:gd name="T7" fmla="*/ 366 h 741"/>
                <a:gd name="T8" fmla="*/ 403 w 743"/>
                <a:gd name="T9" fmla="*/ 304 h 741"/>
                <a:gd name="T10" fmla="*/ 525 w 743"/>
                <a:gd name="T11" fmla="*/ 153 h 741"/>
                <a:gd name="T12" fmla="*/ 371 w 743"/>
                <a:gd name="T13" fmla="*/ 0 h 741"/>
                <a:gd name="T14" fmla="*/ 218 w 743"/>
                <a:gd name="T15" fmla="*/ 153 h 741"/>
                <a:gd name="T16" fmla="*/ 339 w 743"/>
                <a:gd name="T17" fmla="*/ 304 h 741"/>
                <a:gd name="T18" fmla="*/ 339 w 743"/>
                <a:gd name="T19" fmla="*/ 366 h 741"/>
                <a:gd name="T20" fmla="*/ 135 w 743"/>
                <a:gd name="T21" fmla="*/ 366 h 741"/>
                <a:gd name="T22" fmla="*/ 103 w 743"/>
                <a:gd name="T23" fmla="*/ 398 h 741"/>
                <a:gd name="T24" fmla="*/ 103 w 743"/>
                <a:gd name="T25" fmla="*/ 476 h 741"/>
                <a:gd name="T26" fmla="*/ 0 w 743"/>
                <a:gd name="T27" fmla="*/ 606 h 741"/>
                <a:gd name="T28" fmla="*/ 135 w 743"/>
                <a:gd name="T29" fmla="*/ 741 h 741"/>
                <a:gd name="T30" fmla="*/ 269 w 743"/>
                <a:gd name="T31" fmla="*/ 606 h 741"/>
                <a:gd name="T32" fmla="*/ 167 w 743"/>
                <a:gd name="T33" fmla="*/ 476 h 741"/>
                <a:gd name="T34" fmla="*/ 167 w 743"/>
                <a:gd name="T35" fmla="*/ 430 h 741"/>
                <a:gd name="T36" fmla="*/ 576 w 743"/>
                <a:gd name="T37" fmla="*/ 430 h 741"/>
                <a:gd name="T38" fmla="*/ 576 w 743"/>
                <a:gd name="T39" fmla="*/ 476 h 741"/>
                <a:gd name="T40" fmla="*/ 474 w 743"/>
                <a:gd name="T41" fmla="*/ 606 h 741"/>
                <a:gd name="T42" fmla="*/ 608 w 743"/>
                <a:gd name="T43" fmla="*/ 741 h 741"/>
                <a:gd name="T44" fmla="*/ 743 w 743"/>
                <a:gd name="T45" fmla="*/ 606 h 741"/>
                <a:gd name="T46" fmla="*/ 640 w 743"/>
                <a:gd name="T47" fmla="*/ 476 h 741"/>
                <a:gd name="T48" fmla="*/ 205 w 743"/>
                <a:gd name="T49" fmla="*/ 606 h 741"/>
                <a:gd name="T50" fmla="*/ 135 w 743"/>
                <a:gd name="T51" fmla="*/ 677 h 741"/>
                <a:gd name="T52" fmla="*/ 64 w 743"/>
                <a:gd name="T53" fmla="*/ 606 h 741"/>
                <a:gd name="T54" fmla="*/ 135 w 743"/>
                <a:gd name="T55" fmla="*/ 536 h 741"/>
                <a:gd name="T56" fmla="*/ 205 w 743"/>
                <a:gd name="T57" fmla="*/ 606 h 741"/>
                <a:gd name="T58" fmla="*/ 282 w 743"/>
                <a:gd name="T59" fmla="*/ 153 h 741"/>
                <a:gd name="T60" fmla="*/ 371 w 743"/>
                <a:gd name="T61" fmla="*/ 64 h 741"/>
                <a:gd name="T62" fmla="*/ 461 w 743"/>
                <a:gd name="T63" fmla="*/ 153 h 741"/>
                <a:gd name="T64" fmla="*/ 371 w 743"/>
                <a:gd name="T65" fmla="*/ 243 h 741"/>
                <a:gd name="T66" fmla="*/ 282 w 743"/>
                <a:gd name="T67" fmla="*/ 153 h 741"/>
                <a:gd name="T68" fmla="*/ 608 w 743"/>
                <a:gd name="T69" fmla="*/ 677 h 741"/>
                <a:gd name="T70" fmla="*/ 538 w 743"/>
                <a:gd name="T71" fmla="*/ 606 h 741"/>
                <a:gd name="T72" fmla="*/ 608 w 743"/>
                <a:gd name="T73" fmla="*/ 536 h 741"/>
                <a:gd name="T74" fmla="*/ 679 w 743"/>
                <a:gd name="T75" fmla="*/ 606 h 741"/>
                <a:gd name="T76" fmla="*/ 608 w 743"/>
                <a:gd name="T77" fmla="*/ 677 h 741"/>
                <a:gd name="T78" fmla="*/ 608 w 743"/>
                <a:gd name="T79" fmla="*/ 677 h 741"/>
                <a:gd name="T80" fmla="*/ 608 w 743"/>
                <a:gd name="T81" fmla="*/ 677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3" h="741">
                  <a:moveTo>
                    <a:pt x="640" y="476"/>
                  </a:moveTo>
                  <a:cubicBezTo>
                    <a:pt x="640" y="398"/>
                    <a:pt x="640" y="398"/>
                    <a:pt x="640" y="398"/>
                  </a:cubicBezTo>
                  <a:cubicBezTo>
                    <a:pt x="640" y="380"/>
                    <a:pt x="626" y="366"/>
                    <a:pt x="608" y="366"/>
                  </a:cubicBezTo>
                  <a:cubicBezTo>
                    <a:pt x="403" y="366"/>
                    <a:pt x="403" y="366"/>
                    <a:pt x="403" y="366"/>
                  </a:cubicBezTo>
                  <a:cubicBezTo>
                    <a:pt x="403" y="304"/>
                    <a:pt x="403" y="304"/>
                    <a:pt x="403" y="304"/>
                  </a:cubicBezTo>
                  <a:cubicBezTo>
                    <a:pt x="473" y="289"/>
                    <a:pt x="525" y="227"/>
                    <a:pt x="525" y="153"/>
                  </a:cubicBezTo>
                  <a:cubicBezTo>
                    <a:pt x="525" y="69"/>
                    <a:pt x="456" y="0"/>
                    <a:pt x="371" y="0"/>
                  </a:cubicBezTo>
                  <a:cubicBezTo>
                    <a:pt x="287" y="0"/>
                    <a:pt x="218" y="69"/>
                    <a:pt x="218" y="153"/>
                  </a:cubicBezTo>
                  <a:cubicBezTo>
                    <a:pt x="218" y="227"/>
                    <a:pt x="270" y="289"/>
                    <a:pt x="339" y="304"/>
                  </a:cubicBezTo>
                  <a:cubicBezTo>
                    <a:pt x="339" y="366"/>
                    <a:pt x="339" y="366"/>
                    <a:pt x="339" y="366"/>
                  </a:cubicBezTo>
                  <a:cubicBezTo>
                    <a:pt x="135" y="366"/>
                    <a:pt x="135" y="366"/>
                    <a:pt x="135" y="366"/>
                  </a:cubicBezTo>
                  <a:cubicBezTo>
                    <a:pt x="117" y="366"/>
                    <a:pt x="103" y="380"/>
                    <a:pt x="103" y="398"/>
                  </a:cubicBezTo>
                  <a:cubicBezTo>
                    <a:pt x="103" y="476"/>
                    <a:pt x="103" y="476"/>
                    <a:pt x="103" y="476"/>
                  </a:cubicBezTo>
                  <a:cubicBezTo>
                    <a:pt x="44" y="490"/>
                    <a:pt x="0" y="543"/>
                    <a:pt x="0" y="606"/>
                  </a:cubicBezTo>
                  <a:cubicBezTo>
                    <a:pt x="0" y="680"/>
                    <a:pt x="61" y="741"/>
                    <a:pt x="135" y="741"/>
                  </a:cubicBezTo>
                  <a:cubicBezTo>
                    <a:pt x="209" y="741"/>
                    <a:pt x="269" y="680"/>
                    <a:pt x="269" y="606"/>
                  </a:cubicBezTo>
                  <a:cubicBezTo>
                    <a:pt x="269" y="543"/>
                    <a:pt x="225" y="490"/>
                    <a:pt x="167" y="476"/>
                  </a:cubicBezTo>
                  <a:cubicBezTo>
                    <a:pt x="167" y="430"/>
                    <a:pt x="167" y="430"/>
                    <a:pt x="167" y="430"/>
                  </a:cubicBezTo>
                  <a:cubicBezTo>
                    <a:pt x="576" y="430"/>
                    <a:pt x="576" y="430"/>
                    <a:pt x="576" y="430"/>
                  </a:cubicBezTo>
                  <a:cubicBezTo>
                    <a:pt x="576" y="476"/>
                    <a:pt x="576" y="476"/>
                    <a:pt x="576" y="476"/>
                  </a:cubicBezTo>
                  <a:cubicBezTo>
                    <a:pt x="518" y="490"/>
                    <a:pt x="474" y="543"/>
                    <a:pt x="474" y="606"/>
                  </a:cubicBezTo>
                  <a:cubicBezTo>
                    <a:pt x="474" y="680"/>
                    <a:pt x="534" y="741"/>
                    <a:pt x="608" y="741"/>
                  </a:cubicBezTo>
                  <a:cubicBezTo>
                    <a:pt x="682" y="741"/>
                    <a:pt x="743" y="680"/>
                    <a:pt x="743" y="606"/>
                  </a:cubicBezTo>
                  <a:cubicBezTo>
                    <a:pt x="743" y="543"/>
                    <a:pt x="699" y="490"/>
                    <a:pt x="640" y="476"/>
                  </a:cubicBezTo>
                  <a:close/>
                  <a:moveTo>
                    <a:pt x="205" y="606"/>
                  </a:moveTo>
                  <a:cubicBezTo>
                    <a:pt x="205" y="645"/>
                    <a:pt x="173" y="677"/>
                    <a:pt x="135" y="677"/>
                  </a:cubicBezTo>
                  <a:cubicBezTo>
                    <a:pt x="96" y="677"/>
                    <a:pt x="64" y="645"/>
                    <a:pt x="64" y="606"/>
                  </a:cubicBezTo>
                  <a:cubicBezTo>
                    <a:pt x="64" y="567"/>
                    <a:pt x="96" y="536"/>
                    <a:pt x="135" y="536"/>
                  </a:cubicBezTo>
                  <a:cubicBezTo>
                    <a:pt x="173" y="536"/>
                    <a:pt x="205" y="567"/>
                    <a:pt x="205" y="606"/>
                  </a:cubicBezTo>
                  <a:close/>
                  <a:moveTo>
                    <a:pt x="282" y="153"/>
                  </a:moveTo>
                  <a:cubicBezTo>
                    <a:pt x="282" y="104"/>
                    <a:pt x="322" y="64"/>
                    <a:pt x="371" y="64"/>
                  </a:cubicBezTo>
                  <a:cubicBezTo>
                    <a:pt x="421" y="64"/>
                    <a:pt x="461" y="104"/>
                    <a:pt x="461" y="153"/>
                  </a:cubicBezTo>
                  <a:cubicBezTo>
                    <a:pt x="461" y="203"/>
                    <a:pt x="421" y="243"/>
                    <a:pt x="371" y="243"/>
                  </a:cubicBezTo>
                  <a:cubicBezTo>
                    <a:pt x="322" y="243"/>
                    <a:pt x="282" y="203"/>
                    <a:pt x="282" y="153"/>
                  </a:cubicBezTo>
                  <a:close/>
                  <a:moveTo>
                    <a:pt x="608" y="677"/>
                  </a:moveTo>
                  <a:cubicBezTo>
                    <a:pt x="569" y="677"/>
                    <a:pt x="538" y="645"/>
                    <a:pt x="538" y="606"/>
                  </a:cubicBezTo>
                  <a:cubicBezTo>
                    <a:pt x="538" y="567"/>
                    <a:pt x="569" y="536"/>
                    <a:pt x="608" y="536"/>
                  </a:cubicBezTo>
                  <a:cubicBezTo>
                    <a:pt x="647" y="536"/>
                    <a:pt x="679" y="567"/>
                    <a:pt x="679" y="606"/>
                  </a:cubicBezTo>
                  <a:cubicBezTo>
                    <a:pt x="679" y="645"/>
                    <a:pt x="647" y="677"/>
                    <a:pt x="608" y="677"/>
                  </a:cubicBezTo>
                  <a:close/>
                  <a:moveTo>
                    <a:pt x="608" y="677"/>
                  </a:moveTo>
                  <a:cubicBezTo>
                    <a:pt x="608" y="677"/>
                    <a:pt x="608" y="677"/>
                    <a:pt x="608" y="6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404"/>
            <p:cNvSpPr>
              <a:spLocks noEditPoints="1"/>
            </p:cNvSpPr>
            <p:nvPr/>
          </p:nvSpPr>
          <p:spPr bwMode="auto">
            <a:xfrm>
              <a:off x="634" y="3825"/>
              <a:ext cx="122"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405"/>
            <p:cNvSpPr>
              <a:spLocks noEditPoints="1"/>
            </p:cNvSpPr>
            <p:nvPr/>
          </p:nvSpPr>
          <p:spPr bwMode="auto">
            <a:xfrm>
              <a:off x="356" y="3825"/>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406"/>
            <p:cNvSpPr>
              <a:spLocks noEditPoints="1"/>
            </p:cNvSpPr>
            <p:nvPr/>
          </p:nvSpPr>
          <p:spPr bwMode="auto">
            <a:xfrm>
              <a:off x="74" y="3825"/>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407"/>
            <p:cNvSpPr>
              <a:spLocks noEditPoints="1"/>
            </p:cNvSpPr>
            <p:nvPr/>
          </p:nvSpPr>
          <p:spPr bwMode="auto">
            <a:xfrm>
              <a:off x="1510" y="3115"/>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9"/>
                    <a:pt x="9" y="55"/>
                  </a:cubicBezTo>
                  <a:cubicBezTo>
                    <a:pt x="15" y="60"/>
                    <a:pt x="23" y="64"/>
                    <a:pt x="32" y="64"/>
                  </a:cubicBezTo>
                  <a:cubicBezTo>
                    <a:pt x="40" y="64"/>
                    <a:pt x="48" y="60"/>
                    <a:pt x="54" y="55"/>
                  </a:cubicBezTo>
                  <a:cubicBezTo>
                    <a:pt x="60" y="49"/>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408"/>
            <p:cNvSpPr>
              <a:spLocks noEditPoints="1"/>
            </p:cNvSpPr>
            <p:nvPr/>
          </p:nvSpPr>
          <p:spPr bwMode="auto">
            <a:xfrm>
              <a:off x="-334" y="2583"/>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7" name="Group 474"/>
          <p:cNvGrpSpPr>
            <a:grpSpLocks noChangeAspect="1"/>
          </p:cNvGrpSpPr>
          <p:nvPr/>
        </p:nvGrpSpPr>
        <p:grpSpPr bwMode="auto">
          <a:xfrm>
            <a:off x="947943" y="1833359"/>
            <a:ext cx="525048" cy="512064"/>
            <a:chOff x="2661" y="2869"/>
            <a:chExt cx="3882" cy="3786"/>
          </a:xfrm>
          <a:solidFill>
            <a:schemeClr val="accent1"/>
          </a:solidFill>
        </p:grpSpPr>
        <p:sp>
          <p:nvSpPr>
            <p:cNvPr id="479" name="Freeform 475"/>
            <p:cNvSpPr>
              <a:spLocks noEditPoints="1"/>
            </p:cNvSpPr>
            <p:nvPr/>
          </p:nvSpPr>
          <p:spPr bwMode="auto">
            <a:xfrm>
              <a:off x="2661" y="2869"/>
              <a:ext cx="3882" cy="3786"/>
            </a:xfrm>
            <a:custGeom>
              <a:avLst/>
              <a:gdLst>
                <a:gd name="T0" fmla="*/ 2050 w 2051"/>
                <a:gd name="T1" fmla="*/ 614 h 2000"/>
                <a:gd name="T2" fmla="*/ 2048 w 2051"/>
                <a:gd name="T3" fmla="*/ 607 h 2000"/>
                <a:gd name="T4" fmla="*/ 1834 w 2051"/>
                <a:gd name="T5" fmla="*/ 210 h 2000"/>
                <a:gd name="T6" fmla="*/ 1773 w 2051"/>
                <a:gd name="T7" fmla="*/ 0 h 2000"/>
                <a:gd name="T8" fmla="*/ 1174 w 2051"/>
                <a:gd name="T9" fmla="*/ 114 h 2000"/>
                <a:gd name="T10" fmla="*/ 981 w 2051"/>
                <a:gd name="T11" fmla="*/ 601 h 2000"/>
                <a:gd name="T12" fmla="*/ 979 w 2051"/>
                <a:gd name="T13" fmla="*/ 607 h 2000"/>
                <a:gd name="T14" fmla="*/ 977 w 2051"/>
                <a:gd name="T15" fmla="*/ 613 h 2000"/>
                <a:gd name="T16" fmla="*/ 976 w 2051"/>
                <a:gd name="T17" fmla="*/ 618 h 2000"/>
                <a:gd name="T18" fmla="*/ 976 w 2051"/>
                <a:gd name="T19" fmla="*/ 952 h 2000"/>
                <a:gd name="T20" fmla="*/ 721 w 2051"/>
                <a:gd name="T21" fmla="*/ 1093 h 2000"/>
                <a:gd name="T22" fmla="*/ 466 w 2051"/>
                <a:gd name="T23" fmla="*/ 1260 h 2000"/>
                <a:gd name="T24" fmla="*/ 165 w 2051"/>
                <a:gd name="T25" fmla="*/ 661 h 2000"/>
                <a:gd name="T26" fmla="*/ 11 w 2051"/>
                <a:gd name="T27" fmla="*/ 817 h 2000"/>
                <a:gd name="T28" fmla="*/ 429 w 2051"/>
                <a:gd name="T29" fmla="*/ 1824 h 2000"/>
                <a:gd name="T30" fmla="*/ 1034 w 2051"/>
                <a:gd name="T31" fmla="*/ 1987 h 2000"/>
                <a:gd name="T32" fmla="*/ 2011 w 2051"/>
                <a:gd name="T33" fmla="*/ 1987 h 2000"/>
                <a:gd name="T34" fmla="*/ 2051 w 2051"/>
                <a:gd name="T35" fmla="*/ 618 h 2000"/>
                <a:gd name="T36" fmla="*/ 1562 w 2051"/>
                <a:gd name="T37" fmla="*/ 582 h 2000"/>
                <a:gd name="T38" fmla="*/ 1578 w 2051"/>
                <a:gd name="T39" fmla="*/ 1031 h 2000"/>
                <a:gd name="T40" fmla="*/ 1578 w 2051"/>
                <a:gd name="T41" fmla="*/ 1554 h 2000"/>
                <a:gd name="T42" fmla="*/ 1578 w 2051"/>
                <a:gd name="T43" fmla="*/ 880 h 2000"/>
                <a:gd name="T44" fmla="*/ 1578 w 2051"/>
                <a:gd name="T45" fmla="*/ 951 h 2000"/>
                <a:gd name="T46" fmla="*/ 1971 w 2051"/>
                <a:gd name="T47" fmla="*/ 662 h 2000"/>
                <a:gd name="T48" fmla="*/ 1470 w 2051"/>
                <a:gd name="T49" fmla="*/ 582 h 2000"/>
                <a:gd name="T50" fmla="*/ 1470 w 2051"/>
                <a:gd name="T51" fmla="*/ 582 h 2000"/>
                <a:gd name="T52" fmla="*/ 1971 w 2051"/>
                <a:gd name="T53" fmla="*/ 1704 h 2000"/>
                <a:gd name="T54" fmla="*/ 1286 w 2051"/>
                <a:gd name="T55" fmla="*/ 80 h 2000"/>
                <a:gd name="T56" fmla="*/ 1773 w 2051"/>
                <a:gd name="T57" fmla="*/ 147 h 2000"/>
                <a:gd name="T58" fmla="*/ 1286 w 2051"/>
                <a:gd name="T59" fmla="*/ 80 h 2000"/>
                <a:gd name="T60" fmla="*/ 1498 w 2051"/>
                <a:gd name="T61" fmla="*/ 1113 h 2000"/>
                <a:gd name="T62" fmla="*/ 1084 w 2051"/>
                <a:gd name="T63" fmla="*/ 925 h 2000"/>
                <a:gd name="T64" fmla="*/ 623 w 2051"/>
                <a:gd name="T65" fmla="*/ 1182 h 2000"/>
                <a:gd name="T66" fmla="*/ 788 w 2051"/>
                <a:gd name="T67" fmla="*/ 1153 h 2000"/>
                <a:gd name="T68" fmla="*/ 965 w 2051"/>
                <a:gd name="T69" fmla="*/ 1063 h 2000"/>
                <a:gd name="T70" fmla="*/ 1258 w 2051"/>
                <a:gd name="T71" fmla="*/ 1150 h 2000"/>
                <a:gd name="T72" fmla="*/ 1450 w 2051"/>
                <a:gd name="T73" fmla="*/ 1213 h 2000"/>
                <a:gd name="T74" fmla="*/ 623 w 2051"/>
                <a:gd name="T75" fmla="*/ 1182 h 2000"/>
                <a:gd name="T76" fmla="*/ 197 w 2051"/>
                <a:gd name="T77" fmla="*/ 734 h 2000"/>
                <a:gd name="T78" fmla="*/ 83 w 2051"/>
                <a:gd name="T79" fmla="*/ 783 h 2000"/>
                <a:gd name="T80" fmla="*/ 296 w 2051"/>
                <a:gd name="T81" fmla="*/ 1340 h 2000"/>
                <a:gd name="T82" fmla="*/ 438 w 2051"/>
                <a:gd name="T83" fmla="*/ 1340 h 2000"/>
                <a:gd name="T84" fmla="*/ 544 w 2051"/>
                <a:gd name="T85" fmla="*/ 1340 h 2000"/>
                <a:gd name="T86" fmla="*/ 1026 w 2051"/>
                <a:gd name="T87" fmla="*/ 1907 h 2000"/>
                <a:gd name="T88" fmla="*/ 897 w 2051"/>
                <a:gd name="T89" fmla="*/ 1920 h 2000"/>
                <a:gd name="T90" fmla="*/ 1498 w 2051"/>
                <a:gd name="T91" fmla="*/ 1907 h 2000"/>
                <a:gd name="T92" fmla="*/ 1578 w 2051"/>
                <a:gd name="T93" fmla="*/ 1907 h 2000"/>
                <a:gd name="T94" fmla="*/ 1971 w 2051"/>
                <a:gd name="T95" fmla="*/ 1907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51" h="2000">
                  <a:moveTo>
                    <a:pt x="2051" y="618"/>
                  </a:moveTo>
                  <a:cubicBezTo>
                    <a:pt x="2051" y="617"/>
                    <a:pt x="2051" y="617"/>
                    <a:pt x="2051" y="617"/>
                  </a:cubicBezTo>
                  <a:cubicBezTo>
                    <a:pt x="2051" y="616"/>
                    <a:pt x="2050" y="615"/>
                    <a:pt x="2050" y="614"/>
                  </a:cubicBezTo>
                  <a:cubicBezTo>
                    <a:pt x="2050" y="613"/>
                    <a:pt x="2050" y="613"/>
                    <a:pt x="2050" y="612"/>
                  </a:cubicBezTo>
                  <a:cubicBezTo>
                    <a:pt x="2050" y="611"/>
                    <a:pt x="2049" y="611"/>
                    <a:pt x="2049" y="610"/>
                  </a:cubicBezTo>
                  <a:cubicBezTo>
                    <a:pt x="2049" y="609"/>
                    <a:pt x="2049" y="608"/>
                    <a:pt x="2048" y="607"/>
                  </a:cubicBezTo>
                  <a:cubicBezTo>
                    <a:pt x="2048" y="607"/>
                    <a:pt x="2048" y="607"/>
                    <a:pt x="2048" y="606"/>
                  </a:cubicBezTo>
                  <a:cubicBezTo>
                    <a:pt x="2047" y="605"/>
                    <a:pt x="2047" y="604"/>
                    <a:pt x="2046" y="603"/>
                  </a:cubicBezTo>
                  <a:cubicBezTo>
                    <a:pt x="1834" y="210"/>
                    <a:pt x="1834" y="210"/>
                    <a:pt x="1834" y="210"/>
                  </a:cubicBezTo>
                  <a:cubicBezTo>
                    <a:pt x="1843" y="205"/>
                    <a:pt x="1851" y="198"/>
                    <a:pt x="1858" y="191"/>
                  </a:cubicBezTo>
                  <a:cubicBezTo>
                    <a:pt x="1876" y="170"/>
                    <a:pt x="1886" y="143"/>
                    <a:pt x="1886" y="114"/>
                  </a:cubicBezTo>
                  <a:cubicBezTo>
                    <a:pt x="1886" y="59"/>
                    <a:pt x="1846" y="0"/>
                    <a:pt x="1773" y="0"/>
                  </a:cubicBezTo>
                  <a:cubicBezTo>
                    <a:pt x="1286" y="0"/>
                    <a:pt x="1286" y="0"/>
                    <a:pt x="1286" y="0"/>
                  </a:cubicBezTo>
                  <a:cubicBezTo>
                    <a:pt x="1252" y="0"/>
                    <a:pt x="1222" y="13"/>
                    <a:pt x="1202" y="37"/>
                  </a:cubicBezTo>
                  <a:cubicBezTo>
                    <a:pt x="1184" y="57"/>
                    <a:pt x="1174" y="85"/>
                    <a:pt x="1174" y="114"/>
                  </a:cubicBezTo>
                  <a:cubicBezTo>
                    <a:pt x="1174" y="152"/>
                    <a:pt x="1193" y="192"/>
                    <a:pt x="1229" y="213"/>
                  </a:cubicBezTo>
                  <a:cubicBezTo>
                    <a:pt x="982" y="600"/>
                    <a:pt x="982" y="600"/>
                    <a:pt x="982" y="600"/>
                  </a:cubicBezTo>
                  <a:cubicBezTo>
                    <a:pt x="982" y="601"/>
                    <a:pt x="982" y="601"/>
                    <a:pt x="981" y="601"/>
                  </a:cubicBezTo>
                  <a:cubicBezTo>
                    <a:pt x="981" y="602"/>
                    <a:pt x="981" y="603"/>
                    <a:pt x="980" y="603"/>
                  </a:cubicBezTo>
                  <a:cubicBezTo>
                    <a:pt x="980" y="604"/>
                    <a:pt x="980" y="604"/>
                    <a:pt x="980" y="605"/>
                  </a:cubicBezTo>
                  <a:cubicBezTo>
                    <a:pt x="979" y="606"/>
                    <a:pt x="979" y="606"/>
                    <a:pt x="979" y="607"/>
                  </a:cubicBezTo>
                  <a:cubicBezTo>
                    <a:pt x="978" y="608"/>
                    <a:pt x="978" y="608"/>
                    <a:pt x="978" y="609"/>
                  </a:cubicBezTo>
                  <a:cubicBezTo>
                    <a:pt x="978" y="609"/>
                    <a:pt x="977" y="610"/>
                    <a:pt x="977" y="611"/>
                  </a:cubicBezTo>
                  <a:cubicBezTo>
                    <a:pt x="977" y="611"/>
                    <a:pt x="977" y="612"/>
                    <a:pt x="977" y="613"/>
                  </a:cubicBezTo>
                  <a:cubicBezTo>
                    <a:pt x="977" y="613"/>
                    <a:pt x="977" y="614"/>
                    <a:pt x="976" y="614"/>
                  </a:cubicBezTo>
                  <a:cubicBezTo>
                    <a:pt x="976" y="615"/>
                    <a:pt x="976" y="616"/>
                    <a:pt x="976" y="617"/>
                  </a:cubicBezTo>
                  <a:cubicBezTo>
                    <a:pt x="976" y="617"/>
                    <a:pt x="976" y="618"/>
                    <a:pt x="976" y="618"/>
                  </a:cubicBezTo>
                  <a:cubicBezTo>
                    <a:pt x="976" y="619"/>
                    <a:pt x="976" y="620"/>
                    <a:pt x="976" y="621"/>
                  </a:cubicBezTo>
                  <a:cubicBezTo>
                    <a:pt x="976" y="621"/>
                    <a:pt x="976" y="621"/>
                    <a:pt x="976" y="622"/>
                  </a:cubicBezTo>
                  <a:cubicBezTo>
                    <a:pt x="976" y="952"/>
                    <a:pt x="976" y="952"/>
                    <a:pt x="976" y="952"/>
                  </a:cubicBezTo>
                  <a:cubicBezTo>
                    <a:pt x="956" y="962"/>
                    <a:pt x="938" y="976"/>
                    <a:pt x="922" y="992"/>
                  </a:cubicBezTo>
                  <a:cubicBezTo>
                    <a:pt x="908" y="988"/>
                    <a:pt x="895" y="987"/>
                    <a:pt x="881" y="987"/>
                  </a:cubicBezTo>
                  <a:cubicBezTo>
                    <a:pt x="810" y="987"/>
                    <a:pt x="747" y="1031"/>
                    <a:pt x="721" y="1093"/>
                  </a:cubicBezTo>
                  <a:cubicBezTo>
                    <a:pt x="673" y="1079"/>
                    <a:pt x="622" y="1086"/>
                    <a:pt x="578" y="1115"/>
                  </a:cubicBezTo>
                  <a:cubicBezTo>
                    <a:pt x="530" y="1148"/>
                    <a:pt x="502" y="1201"/>
                    <a:pt x="501" y="1260"/>
                  </a:cubicBezTo>
                  <a:cubicBezTo>
                    <a:pt x="466" y="1260"/>
                    <a:pt x="466" y="1260"/>
                    <a:pt x="466" y="1260"/>
                  </a:cubicBezTo>
                  <a:cubicBezTo>
                    <a:pt x="272" y="706"/>
                    <a:pt x="272" y="706"/>
                    <a:pt x="272" y="706"/>
                  </a:cubicBezTo>
                  <a:cubicBezTo>
                    <a:pt x="265" y="686"/>
                    <a:pt x="250" y="670"/>
                    <a:pt x="230" y="661"/>
                  </a:cubicBezTo>
                  <a:cubicBezTo>
                    <a:pt x="209" y="652"/>
                    <a:pt x="185" y="652"/>
                    <a:pt x="165" y="661"/>
                  </a:cubicBezTo>
                  <a:cubicBezTo>
                    <a:pt x="52" y="710"/>
                    <a:pt x="52" y="710"/>
                    <a:pt x="52" y="710"/>
                  </a:cubicBezTo>
                  <a:cubicBezTo>
                    <a:pt x="32" y="718"/>
                    <a:pt x="16" y="735"/>
                    <a:pt x="8" y="756"/>
                  </a:cubicBezTo>
                  <a:cubicBezTo>
                    <a:pt x="0" y="776"/>
                    <a:pt x="1" y="798"/>
                    <a:pt x="11" y="817"/>
                  </a:cubicBezTo>
                  <a:cubicBezTo>
                    <a:pt x="231" y="1268"/>
                    <a:pt x="231" y="1268"/>
                    <a:pt x="231" y="1268"/>
                  </a:cubicBezTo>
                  <a:cubicBezTo>
                    <a:pt x="221" y="1276"/>
                    <a:pt x="215" y="1287"/>
                    <a:pt x="215" y="1300"/>
                  </a:cubicBezTo>
                  <a:cubicBezTo>
                    <a:pt x="215" y="1515"/>
                    <a:pt x="289" y="1697"/>
                    <a:pt x="429" y="1824"/>
                  </a:cubicBezTo>
                  <a:cubicBezTo>
                    <a:pt x="552" y="1937"/>
                    <a:pt x="719" y="2000"/>
                    <a:pt x="897" y="2000"/>
                  </a:cubicBezTo>
                  <a:cubicBezTo>
                    <a:pt x="897" y="2000"/>
                    <a:pt x="897" y="2000"/>
                    <a:pt x="897" y="2000"/>
                  </a:cubicBezTo>
                  <a:cubicBezTo>
                    <a:pt x="944" y="2000"/>
                    <a:pt x="990" y="1995"/>
                    <a:pt x="1034" y="1987"/>
                  </a:cubicBezTo>
                  <a:cubicBezTo>
                    <a:pt x="2011" y="1987"/>
                    <a:pt x="2011" y="1987"/>
                    <a:pt x="2011" y="1987"/>
                  </a:cubicBezTo>
                  <a:cubicBezTo>
                    <a:pt x="2011" y="1987"/>
                    <a:pt x="2011" y="1987"/>
                    <a:pt x="2011" y="1987"/>
                  </a:cubicBezTo>
                  <a:cubicBezTo>
                    <a:pt x="2011" y="1987"/>
                    <a:pt x="2011" y="1987"/>
                    <a:pt x="2011" y="1987"/>
                  </a:cubicBezTo>
                  <a:cubicBezTo>
                    <a:pt x="2033" y="1987"/>
                    <a:pt x="2051" y="1969"/>
                    <a:pt x="2051" y="1947"/>
                  </a:cubicBezTo>
                  <a:cubicBezTo>
                    <a:pt x="2051" y="622"/>
                    <a:pt x="2051" y="622"/>
                    <a:pt x="2051" y="622"/>
                  </a:cubicBezTo>
                  <a:cubicBezTo>
                    <a:pt x="2051" y="621"/>
                    <a:pt x="2051" y="619"/>
                    <a:pt x="2051" y="618"/>
                  </a:cubicBezTo>
                  <a:close/>
                  <a:moveTo>
                    <a:pt x="1753" y="227"/>
                  </a:moveTo>
                  <a:cubicBezTo>
                    <a:pt x="1944" y="582"/>
                    <a:pt x="1944" y="582"/>
                    <a:pt x="1944" y="582"/>
                  </a:cubicBezTo>
                  <a:cubicBezTo>
                    <a:pt x="1562" y="582"/>
                    <a:pt x="1562" y="582"/>
                    <a:pt x="1562" y="582"/>
                  </a:cubicBezTo>
                  <a:cubicBezTo>
                    <a:pt x="1362" y="227"/>
                    <a:pt x="1362" y="227"/>
                    <a:pt x="1362" y="227"/>
                  </a:cubicBezTo>
                  <a:cubicBezTo>
                    <a:pt x="1753" y="227"/>
                    <a:pt x="1753" y="227"/>
                    <a:pt x="1753" y="227"/>
                  </a:cubicBezTo>
                  <a:close/>
                  <a:moveTo>
                    <a:pt x="1578" y="1031"/>
                  </a:moveTo>
                  <a:cubicBezTo>
                    <a:pt x="1971" y="1031"/>
                    <a:pt x="1971" y="1031"/>
                    <a:pt x="1971" y="1031"/>
                  </a:cubicBezTo>
                  <a:cubicBezTo>
                    <a:pt x="1971" y="1554"/>
                    <a:pt x="1971" y="1554"/>
                    <a:pt x="1971" y="1554"/>
                  </a:cubicBezTo>
                  <a:cubicBezTo>
                    <a:pt x="1578" y="1554"/>
                    <a:pt x="1578" y="1554"/>
                    <a:pt x="1578" y="1554"/>
                  </a:cubicBezTo>
                  <a:lnTo>
                    <a:pt x="1578" y="1031"/>
                  </a:lnTo>
                  <a:close/>
                  <a:moveTo>
                    <a:pt x="1578" y="951"/>
                  </a:moveTo>
                  <a:cubicBezTo>
                    <a:pt x="1578" y="880"/>
                    <a:pt x="1578" y="880"/>
                    <a:pt x="1578" y="880"/>
                  </a:cubicBezTo>
                  <a:cubicBezTo>
                    <a:pt x="1971" y="880"/>
                    <a:pt x="1971" y="880"/>
                    <a:pt x="1971" y="880"/>
                  </a:cubicBezTo>
                  <a:cubicBezTo>
                    <a:pt x="1971" y="951"/>
                    <a:pt x="1971" y="951"/>
                    <a:pt x="1971" y="951"/>
                  </a:cubicBezTo>
                  <a:lnTo>
                    <a:pt x="1578" y="951"/>
                  </a:lnTo>
                  <a:close/>
                  <a:moveTo>
                    <a:pt x="1578" y="800"/>
                  </a:moveTo>
                  <a:cubicBezTo>
                    <a:pt x="1578" y="662"/>
                    <a:pt x="1578" y="662"/>
                    <a:pt x="1578" y="662"/>
                  </a:cubicBezTo>
                  <a:cubicBezTo>
                    <a:pt x="1971" y="662"/>
                    <a:pt x="1971" y="662"/>
                    <a:pt x="1971" y="662"/>
                  </a:cubicBezTo>
                  <a:cubicBezTo>
                    <a:pt x="1971" y="800"/>
                    <a:pt x="1971" y="800"/>
                    <a:pt x="1971" y="800"/>
                  </a:cubicBezTo>
                  <a:cubicBezTo>
                    <a:pt x="1578" y="800"/>
                    <a:pt x="1578" y="800"/>
                    <a:pt x="1578" y="800"/>
                  </a:cubicBezTo>
                  <a:close/>
                  <a:moveTo>
                    <a:pt x="1470" y="582"/>
                  </a:moveTo>
                  <a:cubicBezTo>
                    <a:pt x="1089" y="582"/>
                    <a:pt x="1089" y="582"/>
                    <a:pt x="1089" y="582"/>
                  </a:cubicBezTo>
                  <a:cubicBezTo>
                    <a:pt x="1291" y="265"/>
                    <a:pt x="1291" y="265"/>
                    <a:pt x="1291" y="265"/>
                  </a:cubicBezTo>
                  <a:lnTo>
                    <a:pt x="1470" y="582"/>
                  </a:lnTo>
                  <a:close/>
                  <a:moveTo>
                    <a:pt x="1578" y="1634"/>
                  </a:moveTo>
                  <a:cubicBezTo>
                    <a:pt x="1971" y="1634"/>
                    <a:pt x="1971" y="1634"/>
                    <a:pt x="1971" y="1634"/>
                  </a:cubicBezTo>
                  <a:cubicBezTo>
                    <a:pt x="1971" y="1704"/>
                    <a:pt x="1971" y="1704"/>
                    <a:pt x="1971" y="1704"/>
                  </a:cubicBezTo>
                  <a:cubicBezTo>
                    <a:pt x="1578" y="1704"/>
                    <a:pt x="1578" y="1704"/>
                    <a:pt x="1578" y="1704"/>
                  </a:cubicBezTo>
                  <a:lnTo>
                    <a:pt x="1578" y="1634"/>
                  </a:lnTo>
                  <a:close/>
                  <a:moveTo>
                    <a:pt x="1286" y="80"/>
                  </a:moveTo>
                  <a:cubicBezTo>
                    <a:pt x="1773" y="80"/>
                    <a:pt x="1773" y="80"/>
                    <a:pt x="1773" y="80"/>
                  </a:cubicBezTo>
                  <a:cubicBezTo>
                    <a:pt x="1803" y="80"/>
                    <a:pt x="1806" y="106"/>
                    <a:pt x="1806" y="114"/>
                  </a:cubicBezTo>
                  <a:cubicBezTo>
                    <a:pt x="1806" y="122"/>
                    <a:pt x="1803" y="147"/>
                    <a:pt x="1773" y="147"/>
                  </a:cubicBezTo>
                  <a:cubicBezTo>
                    <a:pt x="1286" y="147"/>
                    <a:pt x="1286" y="147"/>
                    <a:pt x="1286" y="147"/>
                  </a:cubicBezTo>
                  <a:cubicBezTo>
                    <a:pt x="1256" y="147"/>
                    <a:pt x="1254" y="122"/>
                    <a:pt x="1254" y="114"/>
                  </a:cubicBezTo>
                  <a:cubicBezTo>
                    <a:pt x="1254" y="106"/>
                    <a:pt x="1256" y="80"/>
                    <a:pt x="1286" y="80"/>
                  </a:cubicBezTo>
                  <a:close/>
                  <a:moveTo>
                    <a:pt x="1056" y="662"/>
                  </a:moveTo>
                  <a:cubicBezTo>
                    <a:pt x="1498" y="662"/>
                    <a:pt x="1498" y="662"/>
                    <a:pt x="1498" y="662"/>
                  </a:cubicBezTo>
                  <a:cubicBezTo>
                    <a:pt x="1498" y="1113"/>
                    <a:pt x="1498" y="1113"/>
                    <a:pt x="1498" y="1113"/>
                  </a:cubicBezTo>
                  <a:cubicBezTo>
                    <a:pt x="1467" y="1069"/>
                    <a:pt x="1415" y="1040"/>
                    <a:pt x="1357" y="1040"/>
                  </a:cubicBezTo>
                  <a:cubicBezTo>
                    <a:pt x="1334" y="1040"/>
                    <a:pt x="1312" y="1044"/>
                    <a:pt x="1291" y="1053"/>
                  </a:cubicBezTo>
                  <a:cubicBezTo>
                    <a:pt x="1253" y="975"/>
                    <a:pt x="1174" y="925"/>
                    <a:pt x="1084" y="925"/>
                  </a:cubicBezTo>
                  <a:cubicBezTo>
                    <a:pt x="1075" y="925"/>
                    <a:pt x="1065" y="926"/>
                    <a:pt x="1056" y="927"/>
                  </a:cubicBezTo>
                  <a:cubicBezTo>
                    <a:pt x="1056" y="662"/>
                    <a:pt x="1056" y="662"/>
                    <a:pt x="1056" y="662"/>
                  </a:cubicBezTo>
                  <a:close/>
                  <a:moveTo>
                    <a:pt x="623" y="1182"/>
                  </a:moveTo>
                  <a:cubicBezTo>
                    <a:pt x="654" y="1161"/>
                    <a:pt x="694" y="1161"/>
                    <a:pt x="726" y="1183"/>
                  </a:cubicBezTo>
                  <a:cubicBezTo>
                    <a:pt x="738" y="1191"/>
                    <a:pt x="753" y="1192"/>
                    <a:pt x="766" y="1186"/>
                  </a:cubicBezTo>
                  <a:cubicBezTo>
                    <a:pt x="779" y="1180"/>
                    <a:pt x="787" y="1167"/>
                    <a:pt x="788" y="1153"/>
                  </a:cubicBezTo>
                  <a:cubicBezTo>
                    <a:pt x="792" y="1105"/>
                    <a:pt x="832" y="1067"/>
                    <a:pt x="881" y="1067"/>
                  </a:cubicBezTo>
                  <a:cubicBezTo>
                    <a:pt x="894" y="1067"/>
                    <a:pt x="906" y="1069"/>
                    <a:pt x="918" y="1074"/>
                  </a:cubicBezTo>
                  <a:cubicBezTo>
                    <a:pt x="935" y="1082"/>
                    <a:pt x="954" y="1077"/>
                    <a:pt x="965" y="1063"/>
                  </a:cubicBezTo>
                  <a:cubicBezTo>
                    <a:pt x="994" y="1026"/>
                    <a:pt x="1038" y="1005"/>
                    <a:pt x="1084" y="1005"/>
                  </a:cubicBezTo>
                  <a:cubicBezTo>
                    <a:pt x="1155" y="1005"/>
                    <a:pt x="1215" y="1053"/>
                    <a:pt x="1232" y="1121"/>
                  </a:cubicBezTo>
                  <a:cubicBezTo>
                    <a:pt x="1235" y="1135"/>
                    <a:pt x="1245" y="1146"/>
                    <a:pt x="1258" y="1150"/>
                  </a:cubicBezTo>
                  <a:cubicBezTo>
                    <a:pt x="1271" y="1154"/>
                    <a:pt x="1286" y="1151"/>
                    <a:pt x="1297" y="1142"/>
                  </a:cubicBezTo>
                  <a:cubicBezTo>
                    <a:pt x="1313" y="1128"/>
                    <a:pt x="1335" y="1120"/>
                    <a:pt x="1357" y="1120"/>
                  </a:cubicBezTo>
                  <a:cubicBezTo>
                    <a:pt x="1408" y="1120"/>
                    <a:pt x="1450" y="1161"/>
                    <a:pt x="1450" y="1213"/>
                  </a:cubicBezTo>
                  <a:cubicBezTo>
                    <a:pt x="1450" y="1229"/>
                    <a:pt x="1445" y="1246"/>
                    <a:pt x="1437" y="1260"/>
                  </a:cubicBezTo>
                  <a:cubicBezTo>
                    <a:pt x="581" y="1260"/>
                    <a:pt x="581" y="1260"/>
                    <a:pt x="581" y="1260"/>
                  </a:cubicBezTo>
                  <a:cubicBezTo>
                    <a:pt x="582" y="1227"/>
                    <a:pt x="597" y="1199"/>
                    <a:pt x="623" y="1182"/>
                  </a:cubicBezTo>
                  <a:close/>
                  <a:moveTo>
                    <a:pt x="84" y="783"/>
                  </a:moveTo>
                  <a:cubicBezTo>
                    <a:pt x="196" y="734"/>
                    <a:pt x="196" y="734"/>
                    <a:pt x="196" y="734"/>
                  </a:cubicBezTo>
                  <a:cubicBezTo>
                    <a:pt x="197" y="734"/>
                    <a:pt x="197" y="734"/>
                    <a:pt x="197" y="734"/>
                  </a:cubicBezTo>
                  <a:cubicBezTo>
                    <a:pt x="381" y="1260"/>
                    <a:pt x="381" y="1260"/>
                    <a:pt x="381" y="1260"/>
                  </a:cubicBezTo>
                  <a:cubicBezTo>
                    <a:pt x="316" y="1260"/>
                    <a:pt x="316" y="1260"/>
                    <a:pt x="316" y="1260"/>
                  </a:cubicBezTo>
                  <a:cubicBezTo>
                    <a:pt x="83" y="783"/>
                    <a:pt x="83" y="783"/>
                    <a:pt x="83" y="783"/>
                  </a:cubicBezTo>
                  <a:cubicBezTo>
                    <a:pt x="83" y="783"/>
                    <a:pt x="84" y="783"/>
                    <a:pt x="84" y="783"/>
                  </a:cubicBezTo>
                  <a:close/>
                  <a:moveTo>
                    <a:pt x="897" y="1920"/>
                  </a:moveTo>
                  <a:cubicBezTo>
                    <a:pt x="616" y="1920"/>
                    <a:pt x="315" y="1738"/>
                    <a:pt x="296" y="1340"/>
                  </a:cubicBezTo>
                  <a:cubicBezTo>
                    <a:pt x="437" y="1340"/>
                    <a:pt x="437" y="1340"/>
                    <a:pt x="437" y="1340"/>
                  </a:cubicBezTo>
                  <a:cubicBezTo>
                    <a:pt x="437" y="1340"/>
                    <a:pt x="437" y="1340"/>
                    <a:pt x="437" y="1340"/>
                  </a:cubicBezTo>
                  <a:cubicBezTo>
                    <a:pt x="437" y="1340"/>
                    <a:pt x="437" y="1340"/>
                    <a:pt x="438" y="1340"/>
                  </a:cubicBezTo>
                  <a:cubicBezTo>
                    <a:pt x="544" y="1340"/>
                    <a:pt x="544" y="1340"/>
                    <a:pt x="544" y="1340"/>
                  </a:cubicBezTo>
                  <a:cubicBezTo>
                    <a:pt x="544" y="1340"/>
                    <a:pt x="544" y="1340"/>
                    <a:pt x="544" y="1340"/>
                  </a:cubicBezTo>
                  <a:cubicBezTo>
                    <a:pt x="544" y="1340"/>
                    <a:pt x="544" y="1340"/>
                    <a:pt x="544" y="1340"/>
                  </a:cubicBezTo>
                  <a:cubicBezTo>
                    <a:pt x="1498" y="1340"/>
                    <a:pt x="1498" y="1340"/>
                    <a:pt x="1498" y="1340"/>
                  </a:cubicBezTo>
                  <a:cubicBezTo>
                    <a:pt x="1489" y="1515"/>
                    <a:pt x="1425" y="1661"/>
                    <a:pt x="1311" y="1765"/>
                  </a:cubicBezTo>
                  <a:cubicBezTo>
                    <a:pt x="1232" y="1837"/>
                    <a:pt x="1134" y="1886"/>
                    <a:pt x="1026" y="1907"/>
                  </a:cubicBezTo>
                  <a:cubicBezTo>
                    <a:pt x="1024" y="1907"/>
                    <a:pt x="1021" y="1908"/>
                    <a:pt x="1019" y="1908"/>
                  </a:cubicBezTo>
                  <a:cubicBezTo>
                    <a:pt x="980" y="1916"/>
                    <a:pt x="939" y="1920"/>
                    <a:pt x="897" y="1920"/>
                  </a:cubicBezTo>
                  <a:cubicBezTo>
                    <a:pt x="897" y="1920"/>
                    <a:pt x="897" y="1920"/>
                    <a:pt x="897" y="1920"/>
                  </a:cubicBezTo>
                  <a:close/>
                  <a:moveTo>
                    <a:pt x="1365" y="1824"/>
                  </a:moveTo>
                  <a:cubicBezTo>
                    <a:pt x="1420" y="1774"/>
                    <a:pt x="1464" y="1716"/>
                    <a:pt x="1498" y="1650"/>
                  </a:cubicBezTo>
                  <a:cubicBezTo>
                    <a:pt x="1498" y="1907"/>
                    <a:pt x="1498" y="1907"/>
                    <a:pt x="1498" y="1907"/>
                  </a:cubicBezTo>
                  <a:cubicBezTo>
                    <a:pt x="1252" y="1907"/>
                    <a:pt x="1252" y="1907"/>
                    <a:pt x="1252" y="1907"/>
                  </a:cubicBezTo>
                  <a:cubicBezTo>
                    <a:pt x="1292" y="1883"/>
                    <a:pt x="1330" y="1856"/>
                    <a:pt x="1365" y="1824"/>
                  </a:cubicBezTo>
                  <a:close/>
                  <a:moveTo>
                    <a:pt x="1578" y="1907"/>
                  </a:moveTo>
                  <a:cubicBezTo>
                    <a:pt x="1578" y="1784"/>
                    <a:pt x="1578" y="1784"/>
                    <a:pt x="1578" y="1784"/>
                  </a:cubicBezTo>
                  <a:cubicBezTo>
                    <a:pt x="1971" y="1784"/>
                    <a:pt x="1971" y="1784"/>
                    <a:pt x="1971" y="1784"/>
                  </a:cubicBezTo>
                  <a:cubicBezTo>
                    <a:pt x="1971" y="1907"/>
                    <a:pt x="1971" y="1907"/>
                    <a:pt x="1971" y="1907"/>
                  </a:cubicBezTo>
                  <a:lnTo>
                    <a:pt x="1578" y="19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476"/>
            <p:cNvSpPr>
              <a:spLocks/>
            </p:cNvSpPr>
            <p:nvPr/>
          </p:nvSpPr>
          <p:spPr bwMode="auto">
            <a:xfrm>
              <a:off x="3804" y="6047"/>
              <a:ext cx="175" cy="163"/>
            </a:xfrm>
            <a:custGeom>
              <a:avLst/>
              <a:gdLst>
                <a:gd name="T0" fmla="*/ 69 w 92"/>
                <a:gd name="T1" fmla="*/ 13 h 86"/>
                <a:gd name="T2" fmla="*/ 68 w 92"/>
                <a:gd name="T3" fmla="*/ 13 h 86"/>
                <a:gd name="T4" fmla="*/ 13 w 92"/>
                <a:gd name="T5" fmla="*/ 23 h 86"/>
                <a:gd name="T6" fmla="*/ 23 w 92"/>
                <a:gd name="T7" fmla="*/ 78 h 86"/>
                <a:gd name="T8" fmla="*/ 24 w 92"/>
                <a:gd name="T9" fmla="*/ 79 h 86"/>
                <a:gd name="T10" fmla="*/ 47 w 92"/>
                <a:gd name="T11" fmla="*/ 86 h 86"/>
                <a:gd name="T12" fmla="*/ 80 w 92"/>
                <a:gd name="T13" fmla="*/ 69 h 86"/>
                <a:gd name="T14" fmla="*/ 69 w 92"/>
                <a:gd name="T15" fmla="*/ 13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69" y="13"/>
                  </a:moveTo>
                  <a:cubicBezTo>
                    <a:pt x="68" y="13"/>
                    <a:pt x="68" y="13"/>
                    <a:pt x="68" y="13"/>
                  </a:cubicBezTo>
                  <a:cubicBezTo>
                    <a:pt x="50" y="0"/>
                    <a:pt x="25" y="5"/>
                    <a:pt x="13" y="23"/>
                  </a:cubicBezTo>
                  <a:cubicBezTo>
                    <a:pt x="0" y="41"/>
                    <a:pt x="5" y="66"/>
                    <a:pt x="23" y="78"/>
                  </a:cubicBezTo>
                  <a:cubicBezTo>
                    <a:pt x="24" y="79"/>
                    <a:pt x="24" y="79"/>
                    <a:pt x="24" y="79"/>
                  </a:cubicBezTo>
                  <a:cubicBezTo>
                    <a:pt x="31" y="84"/>
                    <a:pt x="39" y="86"/>
                    <a:pt x="47" y="86"/>
                  </a:cubicBezTo>
                  <a:cubicBezTo>
                    <a:pt x="59" y="86"/>
                    <a:pt x="72" y="80"/>
                    <a:pt x="80" y="69"/>
                  </a:cubicBezTo>
                  <a:cubicBezTo>
                    <a:pt x="92" y="51"/>
                    <a:pt x="88" y="26"/>
                    <a:pt x="6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477"/>
            <p:cNvSpPr>
              <a:spLocks/>
            </p:cNvSpPr>
            <p:nvPr/>
          </p:nvSpPr>
          <p:spPr bwMode="auto">
            <a:xfrm>
              <a:off x="3430" y="5550"/>
              <a:ext cx="363" cy="505"/>
            </a:xfrm>
            <a:custGeom>
              <a:avLst/>
              <a:gdLst>
                <a:gd name="T0" fmla="*/ 83 w 192"/>
                <a:gd name="T1" fmla="*/ 36 h 267"/>
                <a:gd name="T2" fmla="*/ 36 w 192"/>
                <a:gd name="T3" fmla="*/ 4 h 267"/>
                <a:gd name="T4" fmla="*/ 4 w 192"/>
                <a:gd name="T5" fmla="*/ 50 h 267"/>
                <a:gd name="T6" fmla="*/ 119 w 192"/>
                <a:gd name="T7" fmla="*/ 255 h 267"/>
                <a:gd name="T8" fmla="*/ 148 w 192"/>
                <a:gd name="T9" fmla="*/ 267 h 267"/>
                <a:gd name="T10" fmla="*/ 176 w 192"/>
                <a:gd name="T11" fmla="*/ 256 h 267"/>
                <a:gd name="T12" fmla="*/ 177 w 192"/>
                <a:gd name="T13" fmla="*/ 200 h 267"/>
                <a:gd name="T14" fmla="*/ 83 w 192"/>
                <a:gd name="T15" fmla="*/ 36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67">
                  <a:moveTo>
                    <a:pt x="83" y="36"/>
                  </a:moveTo>
                  <a:cubicBezTo>
                    <a:pt x="78" y="14"/>
                    <a:pt x="58" y="0"/>
                    <a:pt x="36" y="4"/>
                  </a:cubicBezTo>
                  <a:cubicBezTo>
                    <a:pt x="14" y="8"/>
                    <a:pt x="0" y="29"/>
                    <a:pt x="4" y="50"/>
                  </a:cubicBezTo>
                  <a:cubicBezTo>
                    <a:pt x="20" y="136"/>
                    <a:pt x="75" y="209"/>
                    <a:pt x="119" y="255"/>
                  </a:cubicBezTo>
                  <a:cubicBezTo>
                    <a:pt x="127" y="263"/>
                    <a:pt x="138" y="267"/>
                    <a:pt x="148" y="267"/>
                  </a:cubicBezTo>
                  <a:cubicBezTo>
                    <a:pt x="158" y="267"/>
                    <a:pt x="168" y="263"/>
                    <a:pt x="176" y="256"/>
                  </a:cubicBezTo>
                  <a:cubicBezTo>
                    <a:pt x="192" y="241"/>
                    <a:pt x="192" y="216"/>
                    <a:pt x="177" y="200"/>
                  </a:cubicBezTo>
                  <a:cubicBezTo>
                    <a:pt x="141" y="161"/>
                    <a:pt x="95" y="102"/>
                    <a:pt x="8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2" name="Group 487"/>
          <p:cNvGrpSpPr>
            <a:grpSpLocks noChangeAspect="1"/>
          </p:cNvGrpSpPr>
          <p:nvPr/>
        </p:nvGrpSpPr>
        <p:grpSpPr bwMode="auto">
          <a:xfrm>
            <a:off x="7537985" y="1860791"/>
            <a:ext cx="457200" cy="457200"/>
            <a:chOff x="1050" y="-152"/>
            <a:chExt cx="3876" cy="3876"/>
          </a:xfrm>
          <a:solidFill>
            <a:schemeClr val="accent1"/>
          </a:solidFill>
        </p:grpSpPr>
        <p:sp>
          <p:nvSpPr>
            <p:cNvPr id="494" name="Freeform 488"/>
            <p:cNvSpPr>
              <a:spLocks/>
            </p:cNvSpPr>
            <p:nvPr/>
          </p:nvSpPr>
          <p:spPr bwMode="auto">
            <a:xfrm>
              <a:off x="1620" y="3402"/>
              <a:ext cx="285" cy="322"/>
            </a:xfrm>
            <a:custGeom>
              <a:avLst/>
              <a:gdLst>
                <a:gd name="T0" fmla="*/ 78 w 151"/>
                <a:gd name="T1" fmla="*/ 22 h 170"/>
                <a:gd name="T2" fmla="*/ 22 w 151"/>
                <a:gd name="T3" fmla="*/ 13 h 170"/>
                <a:gd name="T4" fmla="*/ 13 w 151"/>
                <a:gd name="T5" fmla="*/ 68 h 170"/>
                <a:gd name="T6" fmla="*/ 73 w 151"/>
                <a:gd name="T7" fmla="*/ 153 h 170"/>
                <a:gd name="T8" fmla="*/ 106 w 151"/>
                <a:gd name="T9" fmla="*/ 170 h 170"/>
                <a:gd name="T10" fmla="*/ 129 w 151"/>
                <a:gd name="T11" fmla="*/ 163 h 170"/>
                <a:gd name="T12" fmla="*/ 138 w 151"/>
                <a:gd name="T13" fmla="*/ 107 h 170"/>
                <a:gd name="T14" fmla="*/ 78 w 151"/>
                <a:gd name="T15" fmla="*/ 22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170">
                  <a:moveTo>
                    <a:pt x="78" y="22"/>
                  </a:moveTo>
                  <a:cubicBezTo>
                    <a:pt x="65" y="4"/>
                    <a:pt x="40" y="0"/>
                    <a:pt x="22" y="13"/>
                  </a:cubicBezTo>
                  <a:cubicBezTo>
                    <a:pt x="4" y="25"/>
                    <a:pt x="0" y="50"/>
                    <a:pt x="13" y="68"/>
                  </a:cubicBezTo>
                  <a:cubicBezTo>
                    <a:pt x="73" y="153"/>
                    <a:pt x="73" y="153"/>
                    <a:pt x="73" y="153"/>
                  </a:cubicBezTo>
                  <a:cubicBezTo>
                    <a:pt x="81" y="164"/>
                    <a:pt x="93" y="170"/>
                    <a:pt x="106" y="170"/>
                  </a:cubicBezTo>
                  <a:cubicBezTo>
                    <a:pt x="114" y="170"/>
                    <a:pt x="122" y="168"/>
                    <a:pt x="129" y="163"/>
                  </a:cubicBezTo>
                  <a:cubicBezTo>
                    <a:pt x="147" y="150"/>
                    <a:pt x="151" y="125"/>
                    <a:pt x="138" y="107"/>
                  </a:cubicBezTo>
                  <a:lnTo>
                    <a:pt x="7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489"/>
            <p:cNvSpPr>
              <a:spLocks/>
            </p:cNvSpPr>
            <p:nvPr/>
          </p:nvSpPr>
          <p:spPr bwMode="auto">
            <a:xfrm>
              <a:off x="1050" y="1021"/>
              <a:ext cx="1713" cy="2703"/>
            </a:xfrm>
            <a:custGeom>
              <a:avLst/>
              <a:gdLst>
                <a:gd name="T0" fmla="*/ 835 w 905"/>
                <a:gd name="T1" fmla="*/ 1067 h 1428"/>
                <a:gd name="T2" fmla="*/ 586 w 905"/>
                <a:gd name="T3" fmla="*/ 698 h 1428"/>
                <a:gd name="T4" fmla="*/ 446 w 905"/>
                <a:gd name="T5" fmla="*/ 604 h 1428"/>
                <a:gd name="T6" fmla="*/ 268 w 905"/>
                <a:gd name="T7" fmla="*/ 622 h 1428"/>
                <a:gd name="T8" fmla="*/ 268 w 905"/>
                <a:gd name="T9" fmla="*/ 140 h 1428"/>
                <a:gd name="T10" fmla="*/ 163 w 905"/>
                <a:gd name="T11" fmla="*/ 9 h 1428"/>
                <a:gd name="T12" fmla="*/ 50 w 905"/>
                <a:gd name="T13" fmla="*/ 35 h 1428"/>
                <a:gd name="T14" fmla="*/ 0 w 905"/>
                <a:gd name="T15" fmla="*/ 140 h 1428"/>
                <a:gd name="T16" fmla="*/ 0 w 905"/>
                <a:gd name="T17" fmla="*/ 760 h 1428"/>
                <a:gd name="T18" fmla="*/ 72 w 905"/>
                <a:gd name="T19" fmla="*/ 985 h 1428"/>
                <a:gd name="T20" fmla="*/ 143 w 905"/>
                <a:gd name="T21" fmla="*/ 1086 h 1428"/>
                <a:gd name="T22" fmla="*/ 176 w 905"/>
                <a:gd name="T23" fmla="*/ 1103 h 1428"/>
                <a:gd name="T24" fmla="*/ 199 w 905"/>
                <a:gd name="T25" fmla="*/ 1095 h 1428"/>
                <a:gd name="T26" fmla="*/ 208 w 905"/>
                <a:gd name="T27" fmla="*/ 1040 h 1428"/>
                <a:gd name="T28" fmla="*/ 137 w 905"/>
                <a:gd name="T29" fmla="*/ 939 h 1428"/>
                <a:gd name="T30" fmla="*/ 80 w 905"/>
                <a:gd name="T31" fmla="*/ 760 h 1428"/>
                <a:gd name="T32" fmla="*/ 80 w 905"/>
                <a:gd name="T33" fmla="*/ 140 h 1428"/>
                <a:gd name="T34" fmla="*/ 100 w 905"/>
                <a:gd name="T35" fmla="*/ 98 h 1428"/>
                <a:gd name="T36" fmla="*/ 146 w 905"/>
                <a:gd name="T37" fmla="*/ 87 h 1428"/>
                <a:gd name="T38" fmla="*/ 188 w 905"/>
                <a:gd name="T39" fmla="*/ 140 h 1428"/>
                <a:gd name="T40" fmla="*/ 188 w 905"/>
                <a:gd name="T41" fmla="*/ 632 h 1428"/>
                <a:gd name="T42" fmla="*/ 260 w 905"/>
                <a:gd name="T43" fmla="*/ 819 h 1428"/>
                <a:gd name="T44" fmla="*/ 266 w 905"/>
                <a:gd name="T45" fmla="*/ 827 h 1428"/>
                <a:gd name="T46" fmla="*/ 353 w 905"/>
                <a:gd name="T47" fmla="*/ 919 h 1428"/>
                <a:gd name="T48" fmla="*/ 394 w 905"/>
                <a:gd name="T49" fmla="*/ 963 h 1428"/>
                <a:gd name="T50" fmla="*/ 395 w 905"/>
                <a:gd name="T51" fmla="*/ 963 h 1428"/>
                <a:gd name="T52" fmla="*/ 457 w 905"/>
                <a:gd name="T53" fmla="*/ 1029 h 1428"/>
                <a:gd name="T54" fmla="*/ 513 w 905"/>
                <a:gd name="T55" fmla="*/ 1031 h 1428"/>
                <a:gd name="T56" fmla="*/ 515 w 905"/>
                <a:gd name="T57" fmla="*/ 974 h 1428"/>
                <a:gd name="T58" fmla="*/ 414 w 905"/>
                <a:gd name="T59" fmla="*/ 867 h 1428"/>
                <a:gd name="T60" fmla="*/ 322 w 905"/>
                <a:gd name="T61" fmla="*/ 769 h 1428"/>
                <a:gd name="T62" fmla="*/ 322 w 905"/>
                <a:gd name="T63" fmla="*/ 768 h 1428"/>
                <a:gd name="T64" fmla="*/ 323 w 905"/>
                <a:gd name="T65" fmla="*/ 680 h 1428"/>
                <a:gd name="T66" fmla="*/ 402 w 905"/>
                <a:gd name="T67" fmla="*/ 670 h 1428"/>
                <a:gd name="T68" fmla="*/ 542 w 905"/>
                <a:gd name="T69" fmla="*/ 764 h 1428"/>
                <a:gd name="T70" fmla="*/ 757 w 905"/>
                <a:gd name="T71" fmla="*/ 1084 h 1428"/>
                <a:gd name="T72" fmla="*/ 823 w 905"/>
                <a:gd name="T73" fmla="*/ 1396 h 1428"/>
                <a:gd name="T74" fmla="*/ 862 w 905"/>
                <a:gd name="T75" fmla="*/ 1428 h 1428"/>
                <a:gd name="T76" fmla="*/ 870 w 905"/>
                <a:gd name="T77" fmla="*/ 1427 h 1428"/>
                <a:gd name="T78" fmla="*/ 901 w 905"/>
                <a:gd name="T79" fmla="*/ 1380 h 1428"/>
                <a:gd name="T80" fmla="*/ 835 w 905"/>
                <a:gd name="T81" fmla="*/ 1067 h 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5" h="1428">
                  <a:moveTo>
                    <a:pt x="835" y="1067"/>
                  </a:moveTo>
                  <a:cubicBezTo>
                    <a:pt x="803" y="916"/>
                    <a:pt x="715" y="784"/>
                    <a:pt x="586" y="698"/>
                  </a:cubicBezTo>
                  <a:cubicBezTo>
                    <a:pt x="446" y="604"/>
                    <a:pt x="446" y="604"/>
                    <a:pt x="446" y="604"/>
                  </a:cubicBezTo>
                  <a:cubicBezTo>
                    <a:pt x="390" y="566"/>
                    <a:pt x="315" y="574"/>
                    <a:pt x="268" y="622"/>
                  </a:cubicBezTo>
                  <a:cubicBezTo>
                    <a:pt x="268" y="140"/>
                    <a:pt x="268" y="140"/>
                    <a:pt x="268" y="140"/>
                  </a:cubicBezTo>
                  <a:cubicBezTo>
                    <a:pt x="268" y="76"/>
                    <a:pt x="225" y="23"/>
                    <a:pt x="163" y="9"/>
                  </a:cubicBezTo>
                  <a:cubicBezTo>
                    <a:pt x="123" y="0"/>
                    <a:pt x="82" y="10"/>
                    <a:pt x="50" y="35"/>
                  </a:cubicBezTo>
                  <a:cubicBezTo>
                    <a:pt x="18" y="61"/>
                    <a:pt x="0" y="99"/>
                    <a:pt x="0" y="140"/>
                  </a:cubicBezTo>
                  <a:cubicBezTo>
                    <a:pt x="0" y="760"/>
                    <a:pt x="0" y="760"/>
                    <a:pt x="0" y="760"/>
                  </a:cubicBezTo>
                  <a:cubicBezTo>
                    <a:pt x="0" y="841"/>
                    <a:pt x="25" y="919"/>
                    <a:pt x="72" y="985"/>
                  </a:cubicBezTo>
                  <a:cubicBezTo>
                    <a:pt x="143" y="1086"/>
                    <a:pt x="143" y="1086"/>
                    <a:pt x="143" y="1086"/>
                  </a:cubicBezTo>
                  <a:cubicBezTo>
                    <a:pt x="151" y="1097"/>
                    <a:pt x="163" y="1103"/>
                    <a:pt x="176" y="1103"/>
                  </a:cubicBezTo>
                  <a:cubicBezTo>
                    <a:pt x="184" y="1103"/>
                    <a:pt x="192" y="1100"/>
                    <a:pt x="199" y="1095"/>
                  </a:cubicBezTo>
                  <a:cubicBezTo>
                    <a:pt x="217" y="1083"/>
                    <a:pt x="221" y="1058"/>
                    <a:pt x="208" y="1040"/>
                  </a:cubicBezTo>
                  <a:cubicBezTo>
                    <a:pt x="137" y="939"/>
                    <a:pt x="137" y="939"/>
                    <a:pt x="137" y="939"/>
                  </a:cubicBezTo>
                  <a:cubicBezTo>
                    <a:pt x="100" y="886"/>
                    <a:pt x="80" y="825"/>
                    <a:pt x="80" y="760"/>
                  </a:cubicBezTo>
                  <a:cubicBezTo>
                    <a:pt x="80" y="140"/>
                    <a:pt x="80" y="140"/>
                    <a:pt x="80" y="140"/>
                  </a:cubicBezTo>
                  <a:cubicBezTo>
                    <a:pt x="80" y="123"/>
                    <a:pt x="87" y="108"/>
                    <a:pt x="100" y="98"/>
                  </a:cubicBezTo>
                  <a:cubicBezTo>
                    <a:pt x="113" y="87"/>
                    <a:pt x="130" y="84"/>
                    <a:pt x="146" y="87"/>
                  </a:cubicBezTo>
                  <a:cubicBezTo>
                    <a:pt x="170" y="93"/>
                    <a:pt x="188" y="114"/>
                    <a:pt x="188" y="140"/>
                  </a:cubicBezTo>
                  <a:cubicBezTo>
                    <a:pt x="188" y="632"/>
                    <a:pt x="188" y="632"/>
                    <a:pt x="188" y="632"/>
                  </a:cubicBezTo>
                  <a:cubicBezTo>
                    <a:pt x="188" y="701"/>
                    <a:pt x="213" y="768"/>
                    <a:pt x="260" y="819"/>
                  </a:cubicBezTo>
                  <a:cubicBezTo>
                    <a:pt x="262" y="822"/>
                    <a:pt x="264" y="824"/>
                    <a:pt x="266" y="827"/>
                  </a:cubicBezTo>
                  <a:cubicBezTo>
                    <a:pt x="293" y="855"/>
                    <a:pt x="324" y="888"/>
                    <a:pt x="353" y="919"/>
                  </a:cubicBezTo>
                  <a:cubicBezTo>
                    <a:pt x="394" y="963"/>
                    <a:pt x="394" y="963"/>
                    <a:pt x="394" y="963"/>
                  </a:cubicBezTo>
                  <a:cubicBezTo>
                    <a:pt x="395" y="963"/>
                    <a:pt x="395" y="963"/>
                    <a:pt x="395" y="963"/>
                  </a:cubicBezTo>
                  <a:cubicBezTo>
                    <a:pt x="430" y="1001"/>
                    <a:pt x="456" y="1028"/>
                    <a:pt x="457" y="1029"/>
                  </a:cubicBezTo>
                  <a:cubicBezTo>
                    <a:pt x="472" y="1045"/>
                    <a:pt x="497" y="1046"/>
                    <a:pt x="513" y="1031"/>
                  </a:cubicBezTo>
                  <a:cubicBezTo>
                    <a:pt x="529" y="1016"/>
                    <a:pt x="530" y="990"/>
                    <a:pt x="515" y="974"/>
                  </a:cubicBezTo>
                  <a:cubicBezTo>
                    <a:pt x="514" y="973"/>
                    <a:pt x="467" y="924"/>
                    <a:pt x="414" y="867"/>
                  </a:cubicBezTo>
                  <a:cubicBezTo>
                    <a:pt x="322" y="769"/>
                    <a:pt x="322" y="769"/>
                    <a:pt x="322" y="769"/>
                  </a:cubicBezTo>
                  <a:cubicBezTo>
                    <a:pt x="322" y="769"/>
                    <a:pt x="322" y="769"/>
                    <a:pt x="322" y="768"/>
                  </a:cubicBezTo>
                  <a:cubicBezTo>
                    <a:pt x="300" y="743"/>
                    <a:pt x="300" y="705"/>
                    <a:pt x="323" y="680"/>
                  </a:cubicBezTo>
                  <a:cubicBezTo>
                    <a:pt x="343" y="657"/>
                    <a:pt x="377" y="653"/>
                    <a:pt x="402" y="670"/>
                  </a:cubicBezTo>
                  <a:cubicBezTo>
                    <a:pt x="542" y="764"/>
                    <a:pt x="542" y="764"/>
                    <a:pt x="542" y="764"/>
                  </a:cubicBezTo>
                  <a:cubicBezTo>
                    <a:pt x="653" y="839"/>
                    <a:pt x="729" y="952"/>
                    <a:pt x="757" y="1084"/>
                  </a:cubicBezTo>
                  <a:cubicBezTo>
                    <a:pt x="823" y="1396"/>
                    <a:pt x="823" y="1396"/>
                    <a:pt x="823" y="1396"/>
                  </a:cubicBezTo>
                  <a:cubicBezTo>
                    <a:pt x="826" y="1415"/>
                    <a:pt x="843" y="1428"/>
                    <a:pt x="862" y="1428"/>
                  </a:cubicBezTo>
                  <a:cubicBezTo>
                    <a:pt x="864" y="1428"/>
                    <a:pt x="867" y="1428"/>
                    <a:pt x="870" y="1427"/>
                  </a:cubicBezTo>
                  <a:cubicBezTo>
                    <a:pt x="892" y="1423"/>
                    <a:pt x="905" y="1401"/>
                    <a:pt x="901" y="1380"/>
                  </a:cubicBezTo>
                  <a:lnTo>
                    <a:pt x="835" y="10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490"/>
            <p:cNvSpPr>
              <a:spLocks/>
            </p:cNvSpPr>
            <p:nvPr/>
          </p:nvSpPr>
          <p:spPr bwMode="auto">
            <a:xfrm>
              <a:off x="1463" y="3181"/>
              <a:ext cx="172" cy="163"/>
            </a:xfrm>
            <a:custGeom>
              <a:avLst/>
              <a:gdLst>
                <a:gd name="T0" fmla="*/ 78 w 91"/>
                <a:gd name="T1" fmla="*/ 22 h 86"/>
                <a:gd name="T2" fmla="*/ 22 w 91"/>
                <a:gd name="T3" fmla="*/ 13 h 86"/>
                <a:gd name="T4" fmla="*/ 13 w 91"/>
                <a:gd name="T5" fmla="*/ 69 h 86"/>
                <a:gd name="T6" fmla="*/ 13 w 91"/>
                <a:gd name="T7" fmla="*/ 69 h 86"/>
                <a:gd name="T8" fmla="*/ 46 w 91"/>
                <a:gd name="T9" fmla="*/ 86 h 86"/>
                <a:gd name="T10" fmla="*/ 69 w 91"/>
                <a:gd name="T11" fmla="*/ 78 h 86"/>
                <a:gd name="T12" fmla="*/ 78 w 91"/>
                <a:gd name="T13" fmla="*/ 22 h 86"/>
              </a:gdLst>
              <a:ahLst/>
              <a:cxnLst>
                <a:cxn ang="0">
                  <a:pos x="T0" y="T1"/>
                </a:cxn>
                <a:cxn ang="0">
                  <a:pos x="T2" y="T3"/>
                </a:cxn>
                <a:cxn ang="0">
                  <a:pos x="T4" y="T5"/>
                </a:cxn>
                <a:cxn ang="0">
                  <a:pos x="T6" y="T7"/>
                </a:cxn>
                <a:cxn ang="0">
                  <a:pos x="T8" y="T9"/>
                </a:cxn>
                <a:cxn ang="0">
                  <a:pos x="T10" y="T11"/>
                </a:cxn>
                <a:cxn ang="0">
                  <a:pos x="T12" y="T13"/>
                </a:cxn>
              </a:cxnLst>
              <a:rect l="0" t="0" r="r" b="b"/>
              <a:pathLst>
                <a:path w="91" h="86">
                  <a:moveTo>
                    <a:pt x="78" y="22"/>
                  </a:moveTo>
                  <a:cubicBezTo>
                    <a:pt x="65" y="4"/>
                    <a:pt x="40" y="0"/>
                    <a:pt x="22" y="13"/>
                  </a:cubicBezTo>
                  <a:cubicBezTo>
                    <a:pt x="4" y="26"/>
                    <a:pt x="0" y="51"/>
                    <a:pt x="13" y="69"/>
                  </a:cubicBezTo>
                  <a:cubicBezTo>
                    <a:pt x="13" y="69"/>
                    <a:pt x="13" y="69"/>
                    <a:pt x="13" y="69"/>
                  </a:cubicBezTo>
                  <a:cubicBezTo>
                    <a:pt x="21" y="80"/>
                    <a:pt x="33" y="86"/>
                    <a:pt x="46" y="86"/>
                  </a:cubicBezTo>
                  <a:cubicBezTo>
                    <a:pt x="54" y="86"/>
                    <a:pt x="62" y="83"/>
                    <a:pt x="69" y="78"/>
                  </a:cubicBezTo>
                  <a:cubicBezTo>
                    <a:pt x="87" y="65"/>
                    <a:pt x="91" y="40"/>
                    <a:pt x="78"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491"/>
            <p:cNvSpPr>
              <a:spLocks/>
            </p:cNvSpPr>
            <p:nvPr/>
          </p:nvSpPr>
          <p:spPr bwMode="auto">
            <a:xfrm>
              <a:off x="3213" y="1021"/>
              <a:ext cx="1713" cy="2703"/>
            </a:xfrm>
            <a:custGeom>
              <a:avLst/>
              <a:gdLst>
                <a:gd name="T0" fmla="*/ 855 w 905"/>
                <a:gd name="T1" fmla="*/ 35 h 1428"/>
                <a:gd name="T2" fmla="*/ 742 w 905"/>
                <a:gd name="T3" fmla="*/ 9 h 1428"/>
                <a:gd name="T4" fmla="*/ 637 w 905"/>
                <a:gd name="T5" fmla="*/ 140 h 1428"/>
                <a:gd name="T6" fmla="*/ 637 w 905"/>
                <a:gd name="T7" fmla="*/ 622 h 1428"/>
                <a:gd name="T8" fmla="*/ 459 w 905"/>
                <a:gd name="T9" fmla="*/ 604 h 1428"/>
                <a:gd name="T10" fmla="*/ 319 w 905"/>
                <a:gd name="T11" fmla="*/ 698 h 1428"/>
                <a:gd name="T12" fmla="*/ 70 w 905"/>
                <a:gd name="T13" fmla="*/ 1067 h 1428"/>
                <a:gd name="T14" fmla="*/ 4 w 905"/>
                <a:gd name="T15" fmla="*/ 1380 h 1428"/>
                <a:gd name="T16" fmla="*/ 35 w 905"/>
                <a:gd name="T17" fmla="*/ 1427 h 1428"/>
                <a:gd name="T18" fmla="*/ 43 w 905"/>
                <a:gd name="T19" fmla="*/ 1428 h 1428"/>
                <a:gd name="T20" fmla="*/ 82 w 905"/>
                <a:gd name="T21" fmla="*/ 1396 h 1428"/>
                <a:gd name="T22" fmla="*/ 148 w 905"/>
                <a:gd name="T23" fmla="*/ 1084 h 1428"/>
                <a:gd name="T24" fmla="*/ 363 w 905"/>
                <a:gd name="T25" fmla="*/ 764 h 1428"/>
                <a:gd name="T26" fmla="*/ 503 w 905"/>
                <a:gd name="T27" fmla="*/ 670 h 1428"/>
                <a:gd name="T28" fmla="*/ 582 w 905"/>
                <a:gd name="T29" fmla="*/ 680 h 1428"/>
                <a:gd name="T30" fmla="*/ 584 w 905"/>
                <a:gd name="T31" fmla="*/ 768 h 1428"/>
                <a:gd name="T32" fmla="*/ 583 w 905"/>
                <a:gd name="T33" fmla="*/ 769 h 1428"/>
                <a:gd name="T34" fmla="*/ 390 w 905"/>
                <a:gd name="T35" fmla="*/ 974 h 1428"/>
                <a:gd name="T36" fmla="*/ 392 w 905"/>
                <a:gd name="T37" fmla="*/ 1031 h 1428"/>
                <a:gd name="T38" fmla="*/ 448 w 905"/>
                <a:gd name="T39" fmla="*/ 1029 h 1428"/>
                <a:gd name="T40" fmla="*/ 639 w 905"/>
                <a:gd name="T41" fmla="*/ 827 h 1428"/>
                <a:gd name="T42" fmla="*/ 645 w 905"/>
                <a:gd name="T43" fmla="*/ 819 h 1428"/>
                <a:gd name="T44" fmla="*/ 717 w 905"/>
                <a:gd name="T45" fmla="*/ 632 h 1428"/>
                <a:gd name="T46" fmla="*/ 717 w 905"/>
                <a:gd name="T47" fmla="*/ 140 h 1428"/>
                <a:gd name="T48" fmla="*/ 759 w 905"/>
                <a:gd name="T49" fmla="*/ 87 h 1428"/>
                <a:gd name="T50" fmla="*/ 805 w 905"/>
                <a:gd name="T51" fmla="*/ 98 h 1428"/>
                <a:gd name="T52" fmla="*/ 825 w 905"/>
                <a:gd name="T53" fmla="*/ 140 h 1428"/>
                <a:gd name="T54" fmla="*/ 825 w 905"/>
                <a:gd name="T55" fmla="*/ 760 h 1428"/>
                <a:gd name="T56" fmla="*/ 768 w 905"/>
                <a:gd name="T57" fmla="*/ 939 h 1428"/>
                <a:gd name="T58" fmla="*/ 466 w 905"/>
                <a:gd name="T59" fmla="*/ 1365 h 1428"/>
                <a:gd name="T60" fmla="*/ 475 w 905"/>
                <a:gd name="T61" fmla="*/ 1421 h 1428"/>
                <a:gd name="T62" fmla="*/ 498 w 905"/>
                <a:gd name="T63" fmla="*/ 1428 h 1428"/>
                <a:gd name="T64" fmla="*/ 531 w 905"/>
                <a:gd name="T65" fmla="*/ 1411 h 1428"/>
                <a:gd name="T66" fmla="*/ 833 w 905"/>
                <a:gd name="T67" fmla="*/ 985 h 1428"/>
                <a:gd name="T68" fmla="*/ 905 w 905"/>
                <a:gd name="T69" fmla="*/ 760 h 1428"/>
                <a:gd name="T70" fmla="*/ 905 w 905"/>
                <a:gd name="T71" fmla="*/ 140 h 1428"/>
                <a:gd name="T72" fmla="*/ 855 w 905"/>
                <a:gd name="T73" fmla="*/ 35 h 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5" h="1428">
                  <a:moveTo>
                    <a:pt x="855" y="35"/>
                  </a:moveTo>
                  <a:cubicBezTo>
                    <a:pt x="823" y="10"/>
                    <a:pt x="782" y="0"/>
                    <a:pt x="742" y="9"/>
                  </a:cubicBezTo>
                  <a:cubicBezTo>
                    <a:pt x="680" y="23"/>
                    <a:pt x="637" y="76"/>
                    <a:pt x="637" y="140"/>
                  </a:cubicBezTo>
                  <a:cubicBezTo>
                    <a:pt x="637" y="622"/>
                    <a:pt x="637" y="622"/>
                    <a:pt x="637" y="622"/>
                  </a:cubicBezTo>
                  <a:cubicBezTo>
                    <a:pt x="590" y="574"/>
                    <a:pt x="515" y="566"/>
                    <a:pt x="459" y="604"/>
                  </a:cubicBezTo>
                  <a:cubicBezTo>
                    <a:pt x="319" y="698"/>
                    <a:pt x="319" y="698"/>
                    <a:pt x="319" y="698"/>
                  </a:cubicBezTo>
                  <a:cubicBezTo>
                    <a:pt x="190" y="784"/>
                    <a:pt x="102" y="916"/>
                    <a:pt x="70" y="1067"/>
                  </a:cubicBezTo>
                  <a:cubicBezTo>
                    <a:pt x="4" y="1380"/>
                    <a:pt x="4" y="1380"/>
                    <a:pt x="4" y="1380"/>
                  </a:cubicBezTo>
                  <a:cubicBezTo>
                    <a:pt x="0" y="1401"/>
                    <a:pt x="13" y="1423"/>
                    <a:pt x="35" y="1427"/>
                  </a:cubicBezTo>
                  <a:cubicBezTo>
                    <a:pt x="38" y="1428"/>
                    <a:pt x="41" y="1428"/>
                    <a:pt x="43" y="1428"/>
                  </a:cubicBezTo>
                  <a:cubicBezTo>
                    <a:pt x="62" y="1428"/>
                    <a:pt x="79" y="1415"/>
                    <a:pt x="82" y="1396"/>
                  </a:cubicBezTo>
                  <a:cubicBezTo>
                    <a:pt x="148" y="1084"/>
                    <a:pt x="148" y="1084"/>
                    <a:pt x="148" y="1084"/>
                  </a:cubicBezTo>
                  <a:cubicBezTo>
                    <a:pt x="176" y="952"/>
                    <a:pt x="252" y="839"/>
                    <a:pt x="363" y="764"/>
                  </a:cubicBezTo>
                  <a:cubicBezTo>
                    <a:pt x="503" y="670"/>
                    <a:pt x="503" y="670"/>
                    <a:pt x="503" y="670"/>
                  </a:cubicBezTo>
                  <a:cubicBezTo>
                    <a:pt x="528" y="653"/>
                    <a:pt x="562" y="657"/>
                    <a:pt x="582" y="680"/>
                  </a:cubicBezTo>
                  <a:cubicBezTo>
                    <a:pt x="605" y="705"/>
                    <a:pt x="605" y="743"/>
                    <a:pt x="584" y="768"/>
                  </a:cubicBezTo>
                  <a:cubicBezTo>
                    <a:pt x="583" y="769"/>
                    <a:pt x="583" y="769"/>
                    <a:pt x="583" y="769"/>
                  </a:cubicBezTo>
                  <a:cubicBezTo>
                    <a:pt x="583" y="769"/>
                    <a:pt x="391" y="973"/>
                    <a:pt x="390" y="974"/>
                  </a:cubicBezTo>
                  <a:cubicBezTo>
                    <a:pt x="375" y="990"/>
                    <a:pt x="376" y="1016"/>
                    <a:pt x="392" y="1031"/>
                  </a:cubicBezTo>
                  <a:cubicBezTo>
                    <a:pt x="408" y="1046"/>
                    <a:pt x="433" y="1045"/>
                    <a:pt x="448" y="1029"/>
                  </a:cubicBezTo>
                  <a:cubicBezTo>
                    <a:pt x="449" y="1028"/>
                    <a:pt x="612" y="855"/>
                    <a:pt x="639" y="827"/>
                  </a:cubicBezTo>
                  <a:cubicBezTo>
                    <a:pt x="641" y="824"/>
                    <a:pt x="643" y="822"/>
                    <a:pt x="645" y="819"/>
                  </a:cubicBezTo>
                  <a:cubicBezTo>
                    <a:pt x="692" y="768"/>
                    <a:pt x="717" y="701"/>
                    <a:pt x="717" y="632"/>
                  </a:cubicBezTo>
                  <a:cubicBezTo>
                    <a:pt x="717" y="140"/>
                    <a:pt x="717" y="140"/>
                    <a:pt x="717" y="140"/>
                  </a:cubicBezTo>
                  <a:cubicBezTo>
                    <a:pt x="717" y="114"/>
                    <a:pt x="735" y="93"/>
                    <a:pt x="759" y="87"/>
                  </a:cubicBezTo>
                  <a:cubicBezTo>
                    <a:pt x="775" y="84"/>
                    <a:pt x="792" y="87"/>
                    <a:pt x="805" y="98"/>
                  </a:cubicBezTo>
                  <a:cubicBezTo>
                    <a:pt x="818" y="108"/>
                    <a:pt x="825" y="123"/>
                    <a:pt x="825" y="140"/>
                  </a:cubicBezTo>
                  <a:cubicBezTo>
                    <a:pt x="825" y="760"/>
                    <a:pt x="825" y="760"/>
                    <a:pt x="825" y="760"/>
                  </a:cubicBezTo>
                  <a:cubicBezTo>
                    <a:pt x="825" y="825"/>
                    <a:pt x="805" y="886"/>
                    <a:pt x="768" y="939"/>
                  </a:cubicBezTo>
                  <a:cubicBezTo>
                    <a:pt x="466" y="1365"/>
                    <a:pt x="466" y="1365"/>
                    <a:pt x="466" y="1365"/>
                  </a:cubicBezTo>
                  <a:cubicBezTo>
                    <a:pt x="453" y="1383"/>
                    <a:pt x="457" y="1408"/>
                    <a:pt x="475" y="1421"/>
                  </a:cubicBezTo>
                  <a:cubicBezTo>
                    <a:pt x="482" y="1426"/>
                    <a:pt x="490" y="1428"/>
                    <a:pt x="498" y="1428"/>
                  </a:cubicBezTo>
                  <a:cubicBezTo>
                    <a:pt x="511" y="1428"/>
                    <a:pt x="523" y="1422"/>
                    <a:pt x="531" y="1411"/>
                  </a:cubicBezTo>
                  <a:cubicBezTo>
                    <a:pt x="833" y="985"/>
                    <a:pt x="833" y="985"/>
                    <a:pt x="833" y="985"/>
                  </a:cubicBezTo>
                  <a:cubicBezTo>
                    <a:pt x="880" y="919"/>
                    <a:pt x="905" y="841"/>
                    <a:pt x="905" y="760"/>
                  </a:cubicBezTo>
                  <a:cubicBezTo>
                    <a:pt x="905" y="140"/>
                    <a:pt x="905" y="140"/>
                    <a:pt x="905" y="140"/>
                  </a:cubicBezTo>
                  <a:cubicBezTo>
                    <a:pt x="905" y="99"/>
                    <a:pt x="887" y="61"/>
                    <a:pt x="85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492"/>
            <p:cNvSpPr>
              <a:spLocks noEditPoints="1"/>
            </p:cNvSpPr>
            <p:nvPr/>
          </p:nvSpPr>
          <p:spPr bwMode="auto">
            <a:xfrm>
              <a:off x="1758" y="257"/>
              <a:ext cx="2462" cy="1981"/>
            </a:xfrm>
            <a:custGeom>
              <a:avLst/>
              <a:gdLst>
                <a:gd name="T0" fmla="*/ 1077 w 1301"/>
                <a:gd name="T1" fmla="*/ 863 h 1047"/>
                <a:gd name="T2" fmla="*/ 1301 w 1301"/>
                <a:gd name="T3" fmla="*/ 808 h 1047"/>
                <a:gd name="T4" fmla="*/ 1085 w 1301"/>
                <a:gd name="T5" fmla="*/ 534 h 1047"/>
                <a:gd name="T6" fmla="*/ 1162 w 1301"/>
                <a:gd name="T7" fmla="*/ 282 h 1047"/>
                <a:gd name="T8" fmla="*/ 651 w 1301"/>
                <a:gd name="T9" fmla="*/ 0 h 1047"/>
                <a:gd name="T10" fmla="*/ 138 w 1301"/>
                <a:gd name="T11" fmla="*/ 282 h 1047"/>
                <a:gd name="T12" fmla="*/ 215 w 1301"/>
                <a:gd name="T13" fmla="*/ 521 h 1047"/>
                <a:gd name="T14" fmla="*/ 0 w 1301"/>
                <a:gd name="T15" fmla="*/ 733 h 1047"/>
                <a:gd name="T16" fmla="*/ 223 w 1301"/>
                <a:gd name="T17" fmla="*/ 848 h 1047"/>
                <a:gd name="T18" fmla="*/ 263 w 1301"/>
                <a:gd name="T19" fmla="*/ 1047 h 1047"/>
                <a:gd name="T20" fmla="*/ 503 w 1301"/>
                <a:gd name="T21" fmla="*/ 967 h 1047"/>
                <a:gd name="T22" fmla="*/ 422 w 1301"/>
                <a:gd name="T23" fmla="*/ 844 h 1047"/>
                <a:gd name="T24" fmla="*/ 303 w 1301"/>
                <a:gd name="T25" fmla="*/ 967 h 1047"/>
                <a:gd name="T26" fmla="*/ 540 w 1301"/>
                <a:gd name="T27" fmla="*/ 675 h 1047"/>
                <a:gd name="T28" fmla="*/ 650 w 1301"/>
                <a:gd name="T29" fmla="*/ 866 h 1047"/>
                <a:gd name="T30" fmla="*/ 870 w 1301"/>
                <a:gd name="T31" fmla="*/ 701 h 1047"/>
                <a:gd name="T32" fmla="*/ 918 w 1301"/>
                <a:gd name="T33" fmla="*/ 967 h 1047"/>
                <a:gd name="T34" fmla="*/ 838 w 1301"/>
                <a:gd name="T35" fmla="*/ 884 h 1047"/>
                <a:gd name="T36" fmla="*/ 753 w 1301"/>
                <a:gd name="T37" fmla="*/ 1007 h 1047"/>
                <a:gd name="T38" fmla="*/ 523 w 1301"/>
                <a:gd name="T39" fmla="*/ 561 h 1047"/>
                <a:gd name="T40" fmla="*/ 420 w 1301"/>
                <a:gd name="T41" fmla="*/ 521 h 1047"/>
                <a:gd name="T42" fmla="*/ 523 w 1301"/>
                <a:gd name="T43" fmla="*/ 561 h 1047"/>
                <a:gd name="T44" fmla="*/ 274 w 1301"/>
                <a:gd name="T45" fmla="*/ 355 h 1047"/>
                <a:gd name="T46" fmla="*/ 317 w 1301"/>
                <a:gd name="T47" fmla="*/ 473 h 1047"/>
                <a:gd name="T48" fmla="*/ 497 w 1301"/>
                <a:gd name="T49" fmla="*/ 320 h 1047"/>
                <a:gd name="T50" fmla="*/ 804 w 1301"/>
                <a:gd name="T51" fmla="*/ 303 h 1047"/>
                <a:gd name="T52" fmla="*/ 497 w 1301"/>
                <a:gd name="T53" fmla="*/ 362 h 1047"/>
                <a:gd name="T54" fmla="*/ 846 w 1301"/>
                <a:gd name="T55" fmla="*/ 490 h 1047"/>
                <a:gd name="T56" fmla="*/ 809 w 1301"/>
                <a:gd name="T57" fmla="*/ 551 h 1047"/>
                <a:gd name="T58" fmla="*/ 884 w 1301"/>
                <a:gd name="T59" fmla="*/ 368 h 1047"/>
                <a:gd name="T60" fmla="*/ 1026 w 1301"/>
                <a:gd name="T61" fmla="*/ 355 h 1047"/>
                <a:gd name="T62" fmla="*/ 983 w 1301"/>
                <a:gd name="T63" fmla="*/ 473 h 1047"/>
                <a:gd name="T64" fmla="*/ 1082 w 1301"/>
                <a:gd name="T65" fmla="*/ 275 h 1047"/>
                <a:gd name="T66" fmla="*/ 983 w 1301"/>
                <a:gd name="T67" fmla="*/ 183 h 1047"/>
                <a:gd name="T68" fmla="*/ 802 w 1301"/>
                <a:gd name="T69" fmla="*/ 209 h 1047"/>
                <a:gd name="T70" fmla="*/ 552 w 1301"/>
                <a:gd name="T71" fmla="*/ 240 h 1047"/>
                <a:gd name="T72" fmla="*/ 317 w 1301"/>
                <a:gd name="T73" fmla="*/ 183 h 1047"/>
                <a:gd name="T74" fmla="*/ 219 w 1301"/>
                <a:gd name="T75" fmla="*/ 275 h 1047"/>
                <a:gd name="T76" fmla="*/ 242 w 1301"/>
                <a:gd name="T77" fmla="*/ 768 h 1047"/>
                <a:gd name="T78" fmla="*/ 162 w 1301"/>
                <a:gd name="T79" fmla="*/ 628 h 1047"/>
                <a:gd name="T80" fmla="*/ 295 w 1301"/>
                <a:gd name="T81" fmla="*/ 552 h 1047"/>
                <a:gd name="T82" fmla="*/ 340 w 1301"/>
                <a:gd name="T83" fmla="*/ 563 h 1047"/>
                <a:gd name="T84" fmla="*/ 372 w 1301"/>
                <a:gd name="T85" fmla="*/ 604 h 1047"/>
                <a:gd name="T86" fmla="*/ 650 w 1301"/>
                <a:gd name="T87" fmla="*/ 727 h 1047"/>
                <a:gd name="T88" fmla="*/ 651 w 1301"/>
                <a:gd name="T89" fmla="*/ 596 h 1047"/>
                <a:gd name="T90" fmla="*/ 650 w 1301"/>
                <a:gd name="T91" fmla="*/ 727 h 1047"/>
                <a:gd name="T92" fmla="*/ 928 w 1301"/>
                <a:gd name="T93" fmla="*/ 604 h 1047"/>
                <a:gd name="T94" fmla="*/ 961 w 1301"/>
                <a:gd name="T95" fmla="*/ 564 h 1047"/>
                <a:gd name="T96" fmla="*/ 1005 w 1301"/>
                <a:gd name="T97" fmla="*/ 552 h 1047"/>
                <a:gd name="T98" fmla="*/ 1138 w 1301"/>
                <a:gd name="T99" fmla="*/ 628 h 1047"/>
                <a:gd name="T100" fmla="*/ 1058 w 1301"/>
                <a:gd name="T101" fmla="*/ 768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01" h="1047">
                  <a:moveTo>
                    <a:pt x="1037" y="1047"/>
                  </a:moveTo>
                  <a:cubicBezTo>
                    <a:pt x="1059" y="1047"/>
                    <a:pt x="1077" y="1029"/>
                    <a:pt x="1077" y="1007"/>
                  </a:cubicBezTo>
                  <a:cubicBezTo>
                    <a:pt x="1077" y="863"/>
                    <a:pt x="1077" y="863"/>
                    <a:pt x="1077" y="863"/>
                  </a:cubicBezTo>
                  <a:cubicBezTo>
                    <a:pt x="1077" y="858"/>
                    <a:pt x="1077" y="853"/>
                    <a:pt x="1077" y="848"/>
                  </a:cubicBezTo>
                  <a:cubicBezTo>
                    <a:pt x="1261" y="848"/>
                    <a:pt x="1261" y="848"/>
                    <a:pt x="1261" y="848"/>
                  </a:cubicBezTo>
                  <a:cubicBezTo>
                    <a:pt x="1283" y="848"/>
                    <a:pt x="1301" y="830"/>
                    <a:pt x="1301" y="808"/>
                  </a:cubicBezTo>
                  <a:cubicBezTo>
                    <a:pt x="1301" y="733"/>
                    <a:pt x="1301" y="733"/>
                    <a:pt x="1301" y="733"/>
                  </a:cubicBezTo>
                  <a:cubicBezTo>
                    <a:pt x="1301" y="646"/>
                    <a:pt x="1242" y="571"/>
                    <a:pt x="1157" y="551"/>
                  </a:cubicBezTo>
                  <a:cubicBezTo>
                    <a:pt x="1085" y="534"/>
                    <a:pt x="1085" y="534"/>
                    <a:pt x="1085" y="534"/>
                  </a:cubicBezTo>
                  <a:cubicBezTo>
                    <a:pt x="1085" y="521"/>
                    <a:pt x="1085" y="521"/>
                    <a:pt x="1085" y="521"/>
                  </a:cubicBezTo>
                  <a:cubicBezTo>
                    <a:pt x="1132" y="488"/>
                    <a:pt x="1162" y="435"/>
                    <a:pt x="1162" y="374"/>
                  </a:cubicBezTo>
                  <a:cubicBezTo>
                    <a:pt x="1162" y="282"/>
                    <a:pt x="1162" y="282"/>
                    <a:pt x="1162" y="282"/>
                  </a:cubicBezTo>
                  <a:cubicBezTo>
                    <a:pt x="1162" y="183"/>
                    <a:pt x="1082" y="103"/>
                    <a:pt x="983" y="103"/>
                  </a:cubicBezTo>
                  <a:cubicBezTo>
                    <a:pt x="939" y="103"/>
                    <a:pt x="898" y="119"/>
                    <a:pt x="867" y="146"/>
                  </a:cubicBezTo>
                  <a:cubicBezTo>
                    <a:pt x="832" y="60"/>
                    <a:pt x="748" y="0"/>
                    <a:pt x="651" y="0"/>
                  </a:cubicBezTo>
                  <a:cubicBezTo>
                    <a:pt x="553" y="0"/>
                    <a:pt x="469" y="60"/>
                    <a:pt x="434" y="146"/>
                  </a:cubicBezTo>
                  <a:cubicBezTo>
                    <a:pt x="403" y="119"/>
                    <a:pt x="362" y="103"/>
                    <a:pt x="317" y="103"/>
                  </a:cubicBezTo>
                  <a:cubicBezTo>
                    <a:pt x="219" y="103"/>
                    <a:pt x="138" y="183"/>
                    <a:pt x="138" y="282"/>
                  </a:cubicBezTo>
                  <a:cubicBezTo>
                    <a:pt x="138" y="288"/>
                    <a:pt x="138" y="288"/>
                    <a:pt x="138" y="288"/>
                  </a:cubicBezTo>
                  <a:cubicBezTo>
                    <a:pt x="138" y="374"/>
                    <a:pt x="138" y="374"/>
                    <a:pt x="138" y="374"/>
                  </a:cubicBezTo>
                  <a:cubicBezTo>
                    <a:pt x="138" y="435"/>
                    <a:pt x="169" y="488"/>
                    <a:pt x="215" y="521"/>
                  </a:cubicBezTo>
                  <a:cubicBezTo>
                    <a:pt x="215" y="534"/>
                    <a:pt x="215" y="534"/>
                    <a:pt x="215" y="534"/>
                  </a:cubicBezTo>
                  <a:cubicBezTo>
                    <a:pt x="144" y="551"/>
                    <a:pt x="144" y="551"/>
                    <a:pt x="144" y="551"/>
                  </a:cubicBezTo>
                  <a:cubicBezTo>
                    <a:pt x="59" y="571"/>
                    <a:pt x="0" y="646"/>
                    <a:pt x="0" y="733"/>
                  </a:cubicBezTo>
                  <a:cubicBezTo>
                    <a:pt x="0" y="808"/>
                    <a:pt x="0" y="808"/>
                    <a:pt x="0" y="808"/>
                  </a:cubicBezTo>
                  <a:cubicBezTo>
                    <a:pt x="0" y="830"/>
                    <a:pt x="17" y="848"/>
                    <a:pt x="40" y="848"/>
                  </a:cubicBezTo>
                  <a:cubicBezTo>
                    <a:pt x="223" y="848"/>
                    <a:pt x="223" y="848"/>
                    <a:pt x="223" y="848"/>
                  </a:cubicBezTo>
                  <a:cubicBezTo>
                    <a:pt x="223" y="853"/>
                    <a:pt x="223" y="858"/>
                    <a:pt x="223" y="863"/>
                  </a:cubicBezTo>
                  <a:cubicBezTo>
                    <a:pt x="223" y="1007"/>
                    <a:pt x="223" y="1007"/>
                    <a:pt x="223" y="1007"/>
                  </a:cubicBezTo>
                  <a:cubicBezTo>
                    <a:pt x="223" y="1029"/>
                    <a:pt x="241" y="1047"/>
                    <a:pt x="263" y="1047"/>
                  </a:cubicBezTo>
                  <a:cubicBezTo>
                    <a:pt x="503" y="1047"/>
                    <a:pt x="503" y="1047"/>
                    <a:pt x="503" y="1047"/>
                  </a:cubicBezTo>
                  <a:cubicBezTo>
                    <a:pt x="525" y="1047"/>
                    <a:pt x="543" y="1029"/>
                    <a:pt x="543" y="1007"/>
                  </a:cubicBezTo>
                  <a:cubicBezTo>
                    <a:pt x="543" y="985"/>
                    <a:pt x="525" y="967"/>
                    <a:pt x="503" y="967"/>
                  </a:cubicBezTo>
                  <a:cubicBezTo>
                    <a:pt x="462" y="967"/>
                    <a:pt x="462" y="967"/>
                    <a:pt x="462" y="967"/>
                  </a:cubicBezTo>
                  <a:cubicBezTo>
                    <a:pt x="462" y="884"/>
                    <a:pt x="462" y="884"/>
                    <a:pt x="462" y="884"/>
                  </a:cubicBezTo>
                  <a:cubicBezTo>
                    <a:pt x="462" y="862"/>
                    <a:pt x="444" y="844"/>
                    <a:pt x="422" y="844"/>
                  </a:cubicBezTo>
                  <a:cubicBezTo>
                    <a:pt x="400" y="844"/>
                    <a:pt x="382" y="862"/>
                    <a:pt x="382" y="884"/>
                  </a:cubicBezTo>
                  <a:cubicBezTo>
                    <a:pt x="382" y="967"/>
                    <a:pt x="382" y="967"/>
                    <a:pt x="382" y="967"/>
                  </a:cubicBezTo>
                  <a:cubicBezTo>
                    <a:pt x="303" y="967"/>
                    <a:pt x="303" y="967"/>
                    <a:pt x="303" y="967"/>
                  </a:cubicBezTo>
                  <a:cubicBezTo>
                    <a:pt x="303" y="863"/>
                    <a:pt x="303" y="863"/>
                    <a:pt x="303" y="863"/>
                  </a:cubicBezTo>
                  <a:cubicBezTo>
                    <a:pt x="303" y="786"/>
                    <a:pt x="355" y="719"/>
                    <a:pt x="430" y="701"/>
                  </a:cubicBezTo>
                  <a:cubicBezTo>
                    <a:pt x="540" y="675"/>
                    <a:pt x="540" y="675"/>
                    <a:pt x="540" y="675"/>
                  </a:cubicBezTo>
                  <a:cubicBezTo>
                    <a:pt x="614" y="842"/>
                    <a:pt x="614" y="842"/>
                    <a:pt x="614" y="842"/>
                  </a:cubicBezTo>
                  <a:cubicBezTo>
                    <a:pt x="620" y="857"/>
                    <a:pt x="634" y="866"/>
                    <a:pt x="650" y="866"/>
                  </a:cubicBezTo>
                  <a:cubicBezTo>
                    <a:pt x="650" y="866"/>
                    <a:pt x="650" y="866"/>
                    <a:pt x="650" y="866"/>
                  </a:cubicBezTo>
                  <a:cubicBezTo>
                    <a:pt x="666" y="866"/>
                    <a:pt x="680" y="857"/>
                    <a:pt x="687" y="842"/>
                  </a:cubicBezTo>
                  <a:cubicBezTo>
                    <a:pt x="760" y="675"/>
                    <a:pt x="760" y="675"/>
                    <a:pt x="760" y="675"/>
                  </a:cubicBezTo>
                  <a:cubicBezTo>
                    <a:pt x="870" y="701"/>
                    <a:pt x="870" y="701"/>
                    <a:pt x="870" y="701"/>
                  </a:cubicBezTo>
                  <a:cubicBezTo>
                    <a:pt x="945" y="719"/>
                    <a:pt x="997" y="786"/>
                    <a:pt x="997" y="863"/>
                  </a:cubicBezTo>
                  <a:cubicBezTo>
                    <a:pt x="997" y="967"/>
                    <a:pt x="997" y="967"/>
                    <a:pt x="997" y="967"/>
                  </a:cubicBezTo>
                  <a:cubicBezTo>
                    <a:pt x="918" y="967"/>
                    <a:pt x="918" y="967"/>
                    <a:pt x="918" y="967"/>
                  </a:cubicBezTo>
                  <a:cubicBezTo>
                    <a:pt x="918" y="884"/>
                    <a:pt x="918" y="884"/>
                    <a:pt x="918" y="884"/>
                  </a:cubicBezTo>
                  <a:cubicBezTo>
                    <a:pt x="918" y="862"/>
                    <a:pt x="900" y="844"/>
                    <a:pt x="878" y="844"/>
                  </a:cubicBezTo>
                  <a:cubicBezTo>
                    <a:pt x="856" y="844"/>
                    <a:pt x="838" y="862"/>
                    <a:pt x="838" y="884"/>
                  </a:cubicBezTo>
                  <a:cubicBezTo>
                    <a:pt x="838" y="967"/>
                    <a:pt x="838" y="967"/>
                    <a:pt x="838" y="967"/>
                  </a:cubicBezTo>
                  <a:cubicBezTo>
                    <a:pt x="793" y="967"/>
                    <a:pt x="793" y="967"/>
                    <a:pt x="793" y="967"/>
                  </a:cubicBezTo>
                  <a:cubicBezTo>
                    <a:pt x="771" y="967"/>
                    <a:pt x="753" y="985"/>
                    <a:pt x="753" y="1007"/>
                  </a:cubicBezTo>
                  <a:cubicBezTo>
                    <a:pt x="753" y="1029"/>
                    <a:pt x="771" y="1047"/>
                    <a:pt x="793" y="1047"/>
                  </a:cubicBezTo>
                  <a:lnTo>
                    <a:pt x="1037" y="1047"/>
                  </a:lnTo>
                  <a:close/>
                  <a:moveTo>
                    <a:pt x="523" y="561"/>
                  </a:moveTo>
                  <a:cubicBezTo>
                    <a:pt x="513" y="557"/>
                    <a:pt x="502" y="553"/>
                    <a:pt x="491" y="551"/>
                  </a:cubicBezTo>
                  <a:cubicBezTo>
                    <a:pt x="420" y="533"/>
                    <a:pt x="420" y="533"/>
                    <a:pt x="420" y="533"/>
                  </a:cubicBezTo>
                  <a:cubicBezTo>
                    <a:pt x="420" y="521"/>
                    <a:pt x="420" y="521"/>
                    <a:pt x="420" y="521"/>
                  </a:cubicBezTo>
                  <a:cubicBezTo>
                    <a:pt x="433" y="512"/>
                    <a:pt x="444" y="501"/>
                    <a:pt x="454" y="489"/>
                  </a:cubicBezTo>
                  <a:cubicBezTo>
                    <a:pt x="472" y="517"/>
                    <a:pt x="496" y="540"/>
                    <a:pt x="523" y="558"/>
                  </a:cubicBezTo>
                  <a:lnTo>
                    <a:pt x="523" y="561"/>
                  </a:lnTo>
                  <a:close/>
                  <a:moveTo>
                    <a:pt x="218" y="374"/>
                  </a:moveTo>
                  <a:cubicBezTo>
                    <a:pt x="218" y="355"/>
                    <a:pt x="218" y="355"/>
                    <a:pt x="218" y="355"/>
                  </a:cubicBezTo>
                  <a:cubicBezTo>
                    <a:pt x="274" y="355"/>
                    <a:pt x="274" y="355"/>
                    <a:pt x="274" y="355"/>
                  </a:cubicBezTo>
                  <a:cubicBezTo>
                    <a:pt x="323" y="355"/>
                    <a:pt x="372" y="345"/>
                    <a:pt x="417" y="327"/>
                  </a:cubicBezTo>
                  <a:cubicBezTo>
                    <a:pt x="417" y="374"/>
                    <a:pt x="417" y="374"/>
                    <a:pt x="417" y="374"/>
                  </a:cubicBezTo>
                  <a:cubicBezTo>
                    <a:pt x="417" y="429"/>
                    <a:pt x="372" y="473"/>
                    <a:pt x="317" y="473"/>
                  </a:cubicBezTo>
                  <a:cubicBezTo>
                    <a:pt x="263" y="473"/>
                    <a:pt x="218" y="429"/>
                    <a:pt x="218" y="374"/>
                  </a:cubicBezTo>
                  <a:close/>
                  <a:moveTo>
                    <a:pt x="497" y="362"/>
                  </a:moveTo>
                  <a:cubicBezTo>
                    <a:pt x="497" y="320"/>
                    <a:pt x="497" y="320"/>
                    <a:pt x="497" y="320"/>
                  </a:cubicBezTo>
                  <a:cubicBezTo>
                    <a:pt x="552" y="320"/>
                    <a:pt x="552" y="320"/>
                    <a:pt x="552" y="320"/>
                  </a:cubicBezTo>
                  <a:cubicBezTo>
                    <a:pt x="615" y="320"/>
                    <a:pt x="675" y="297"/>
                    <a:pt x="722" y="255"/>
                  </a:cubicBezTo>
                  <a:cubicBezTo>
                    <a:pt x="804" y="303"/>
                    <a:pt x="804" y="303"/>
                    <a:pt x="804" y="303"/>
                  </a:cubicBezTo>
                  <a:cubicBezTo>
                    <a:pt x="804" y="368"/>
                    <a:pt x="804" y="368"/>
                    <a:pt x="804" y="368"/>
                  </a:cubicBezTo>
                  <a:cubicBezTo>
                    <a:pt x="801" y="450"/>
                    <a:pt x="733" y="516"/>
                    <a:pt x="651" y="516"/>
                  </a:cubicBezTo>
                  <a:cubicBezTo>
                    <a:pt x="566" y="516"/>
                    <a:pt x="497" y="447"/>
                    <a:pt x="497" y="362"/>
                  </a:cubicBezTo>
                  <a:close/>
                  <a:moveTo>
                    <a:pt x="777" y="562"/>
                  </a:moveTo>
                  <a:cubicBezTo>
                    <a:pt x="777" y="559"/>
                    <a:pt x="777" y="559"/>
                    <a:pt x="777" y="559"/>
                  </a:cubicBezTo>
                  <a:cubicBezTo>
                    <a:pt x="805" y="541"/>
                    <a:pt x="828" y="517"/>
                    <a:pt x="846" y="490"/>
                  </a:cubicBezTo>
                  <a:cubicBezTo>
                    <a:pt x="856" y="502"/>
                    <a:pt x="868" y="512"/>
                    <a:pt x="881" y="521"/>
                  </a:cubicBezTo>
                  <a:cubicBezTo>
                    <a:pt x="881" y="533"/>
                    <a:pt x="881" y="533"/>
                    <a:pt x="881" y="533"/>
                  </a:cubicBezTo>
                  <a:cubicBezTo>
                    <a:pt x="809" y="551"/>
                    <a:pt x="809" y="551"/>
                    <a:pt x="809" y="551"/>
                  </a:cubicBezTo>
                  <a:cubicBezTo>
                    <a:pt x="798" y="553"/>
                    <a:pt x="787" y="557"/>
                    <a:pt x="777" y="562"/>
                  </a:cubicBezTo>
                  <a:close/>
                  <a:moveTo>
                    <a:pt x="884" y="374"/>
                  </a:moveTo>
                  <a:cubicBezTo>
                    <a:pt x="884" y="368"/>
                    <a:pt x="884" y="368"/>
                    <a:pt x="884" y="368"/>
                  </a:cubicBezTo>
                  <a:cubicBezTo>
                    <a:pt x="884" y="366"/>
                    <a:pt x="884" y="364"/>
                    <a:pt x="884" y="362"/>
                  </a:cubicBezTo>
                  <a:cubicBezTo>
                    <a:pt x="884" y="327"/>
                    <a:pt x="884" y="327"/>
                    <a:pt x="884" y="327"/>
                  </a:cubicBezTo>
                  <a:cubicBezTo>
                    <a:pt x="929" y="345"/>
                    <a:pt x="977" y="355"/>
                    <a:pt x="1026" y="355"/>
                  </a:cubicBezTo>
                  <a:cubicBezTo>
                    <a:pt x="1082" y="355"/>
                    <a:pt x="1082" y="355"/>
                    <a:pt x="1082" y="355"/>
                  </a:cubicBezTo>
                  <a:cubicBezTo>
                    <a:pt x="1082" y="374"/>
                    <a:pt x="1082" y="374"/>
                    <a:pt x="1082" y="374"/>
                  </a:cubicBezTo>
                  <a:cubicBezTo>
                    <a:pt x="1082" y="429"/>
                    <a:pt x="1038" y="473"/>
                    <a:pt x="983" y="473"/>
                  </a:cubicBezTo>
                  <a:cubicBezTo>
                    <a:pt x="928" y="473"/>
                    <a:pt x="884" y="429"/>
                    <a:pt x="884" y="374"/>
                  </a:cubicBezTo>
                  <a:close/>
                  <a:moveTo>
                    <a:pt x="983" y="183"/>
                  </a:moveTo>
                  <a:cubicBezTo>
                    <a:pt x="1035" y="183"/>
                    <a:pt x="1078" y="224"/>
                    <a:pt x="1082" y="275"/>
                  </a:cubicBezTo>
                  <a:cubicBezTo>
                    <a:pt x="1026" y="275"/>
                    <a:pt x="1026" y="275"/>
                    <a:pt x="1026" y="275"/>
                  </a:cubicBezTo>
                  <a:cubicBezTo>
                    <a:pt x="979" y="275"/>
                    <a:pt x="933" y="264"/>
                    <a:pt x="892" y="242"/>
                  </a:cubicBezTo>
                  <a:cubicBezTo>
                    <a:pt x="907" y="207"/>
                    <a:pt x="942" y="183"/>
                    <a:pt x="983" y="183"/>
                  </a:cubicBezTo>
                  <a:close/>
                  <a:moveTo>
                    <a:pt x="497" y="234"/>
                  </a:moveTo>
                  <a:cubicBezTo>
                    <a:pt x="497" y="149"/>
                    <a:pt x="566" y="80"/>
                    <a:pt x="651" y="80"/>
                  </a:cubicBezTo>
                  <a:cubicBezTo>
                    <a:pt x="727" y="80"/>
                    <a:pt x="790" y="136"/>
                    <a:pt x="802" y="209"/>
                  </a:cubicBezTo>
                  <a:cubicBezTo>
                    <a:pt x="735" y="170"/>
                    <a:pt x="735" y="170"/>
                    <a:pt x="735" y="170"/>
                  </a:cubicBezTo>
                  <a:cubicBezTo>
                    <a:pt x="718" y="160"/>
                    <a:pt x="697" y="163"/>
                    <a:pt x="684" y="178"/>
                  </a:cubicBezTo>
                  <a:cubicBezTo>
                    <a:pt x="651" y="218"/>
                    <a:pt x="603" y="240"/>
                    <a:pt x="552" y="240"/>
                  </a:cubicBezTo>
                  <a:cubicBezTo>
                    <a:pt x="497" y="240"/>
                    <a:pt x="497" y="240"/>
                    <a:pt x="497" y="240"/>
                  </a:cubicBezTo>
                  <a:cubicBezTo>
                    <a:pt x="497" y="234"/>
                    <a:pt x="497" y="234"/>
                    <a:pt x="497" y="234"/>
                  </a:cubicBezTo>
                  <a:close/>
                  <a:moveTo>
                    <a:pt x="317" y="183"/>
                  </a:moveTo>
                  <a:cubicBezTo>
                    <a:pt x="358" y="183"/>
                    <a:pt x="393" y="207"/>
                    <a:pt x="408" y="242"/>
                  </a:cubicBezTo>
                  <a:cubicBezTo>
                    <a:pt x="367" y="264"/>
                    <a:pt x="321" y="275"/>
                    <a:pt x="274" y="275"/>
                  </a:cubicBezTo>
                  <a:cubicBezTo>
                    <a:pt x="219" y="275"/>
                    <a:pt x="219" y="275"/>
                    <a:pt x="219" y="275"/>
                  </a:cubicBezTo>
                  <a:cubicBezTo>
                    <a:pt x="222" y="224"/>
                    <a:pt x="265" y="183"/>
                    <a:pt x="317" y="183"/>
                  </a:cubicBezTo>
                  <a:close/>
                  <a:moveTo>
                    <a:pt x="412" y="623"/>
                  </a:moveTo>
                  <a:cubicBezTo>
                    <a:pt x="333" y="642"/>
                    <a:pt x="271" y="697"/>
                    <a:pt x="242" y="768"/>
                  </a:cubicBezTo>
                  <a:cubicBezTo>
                    <a:pt x="80" y="768"/>
                    <a:pt x="80" y="768"/>
                    <a:pt x="80" y="768"/>
                  </a:cubicBezTo>
                  <a:cubicBezTo>
                    <a:pt x="80" y="733"/>
                    <a:pt x="80" y="733"/>
                    <a:pt x="80" y="733"/>
                  </a:cubicBezTo>
                  <a:cubicBezTo>
                    <a:pt x="80" y="683"/>
                    <a:pt x="114" y="640"/>
                    <a:pt x="162" y="628"/>
                  </a:cubicBezTo>
                  <a:cubicBezTo>
                    <a:pt x="264" y="604"/>
                    <a:pt x="264" y="604"/>
                    <a:pt x="264" y="604"/>
                  </a:cubicBezTo>
                  <a:cubicBezTo>
                    <a:pt x="282" y="600"/>
                    <a:pt x="295" y="584"/>
                    <a:pt x="295" y="565"/>
                  </a:cubicBezTo>
                  <a:cubicBezTo>
                    <a:pt x="295" y="552"/>
                    <a:pt x="295" y="552"/>
                    <a:pt x="295" y="552"/>
                  </a:cubicBezTo>
                  <a:cubicBezTo>
                    <a:pt x="302" y="553"/>
                    <a:pt x="310" y="553"/>
                    <a:pt x="317" y="553"/>
                  </a:cubicBezTo>
                  <a:cubicBezTo>
                    <a:pt x="325" y="553"/>
                    <a:pt x="332" y="553"/>
                    <a:pt x="340" y="552"/>
                  </a:cubicBezTo>
                  <a:cubicBezTo>
                    <a:pt x="340" y="563"/>
                    <a:pt x="340" y="563"/>
                    <a:pt x="340" y="563"/>
                  </a:cubicBezTo>
                  <a:cubicBezTo>
                    <a:pt x="340" y="564"/>
                    <a:pt x="340" y="564"/>
                    <a:pt x="340" y="565"/>
                  </a:cubicBezTo>
                  <a:cubicBezTo>
                    <a:pt x="340" y="578"/>
                    <a:pt x="346" y="591"/>
                    <a:pt x="358" y="599"/>
                  </a:cubicBezTo>
                  <a:cubicBezTo>
                    <a:pt x="362" y="602"/>
                    <a:pt x="367" y="603"/>
                    <a:pt x="372" y="604"/>
                  </a:cubicBezTo>
                  <a:cubicBezTo>
                    <a:pt x="432" y="619"/>
                    <a:pt x="432" y="619"/>
                    <a:pt x="432" y="619"/>
                  </a:cubicBezTo>
                  <a:lnTo>
                    <a:pt x="412" y="623"/>
                  </a:lnTo>
                  <a:close/>
                  <a:moveTo>
                    <a:pt x="650" y="727"/>
                  </a:moveTo>
                  <a:cubicBezTo>
                    <a:pt x="603" y="620"/>
                    <a:pt x="603" y="620"/>
                    <a:pt x="603" y="620"/>
                  </a:cubicBezTo>
                  <a:cubicBezTo>
                    <a:pt x="603" y="591"/>
                    <a:pt x="603" y="591"/>
                    <a:pt x="603" y="591"/>
                  </a:cubicBezTo>
                  <a:cubicBezTo>
                    <a:pt x="619" y="594"/>
                    <a:pt x="634" y="596"/>
                    <a:pt x="651" y="596"/>
                  </a:cubicBezTo>
                  <a:cubicBezTo>
                    <a:pt x="666" y="596"/>
                    <a:pt x="682" y="595"/>
                    <a:pt x="697" y="591"/>
                  </a:cubicBezTo>
                  <a:cubicBezTo>
                    <a:pt x="697" y="620"/>
                    <a:pt x="697" y="620"/>
                    <a:pt x="697" y="620"/>
                  </a:cubicBezTo>
                  <a:lnTo>
                    <a:pt x="650" y="727"/>
                  </a:lnTo>
                  <a:close/>
                  <a:moveTo>
                    <a:pt x="888" y="624"/>
                  </a:moveTo>
                  <a:cubicBezTo>
                    <a:pt x="868" y="619"/>
                    <a:pt x="868" y="619"/>
                    <a:pt x="868" y="619"/>
                  </a:cubicBezTo>
                  <a:cubicBezTo>
                    <a:pt x="928" y="604"/>
                    <a:pt x="928" y="604"/>
                    <a:pt x="928" y="604"/>
                  </a:cubicBezTo>
                  <a:cubicBezTo>
                    <a:pt x="933" y="603"/>
                    <a:pt x="938" y="602"/>
                    <a:pt x="942" y="599"/>
                  </a:cubicBezTo>
                  <a:cubicBezTo>
                    <a:pt x="954" y="591"/>
                    <a:pt x="961" y="578"/>
                    <a:pt x="961" y="565"/>
                  </a:cubicBezTo>
                  <a:cubicBezTo>
                    <a:pt x="961" y="565"/>
                    <a:pt x="961" y="564"/>
                    <a:pt x="961" y="564"/>
                  </a:cubicBezTo>
                  <a:cubicBezTo>
                    <a:pt x="961" y="552"/>
                    <a:pt x="961" y="552"/>
                    <a:pt x="961" y="552"/>
                  </a:cubicBezTo>
                  <a:cubicBezTo>
                    <a:pt x="968" y="553"/>
                    <a:pt x="975" y="553"/>
                    <a:pt x="983" y="553"/>
                  </a:cubicBezTo>
                  <a:cubicBezTo>
                    <a:pt x="991" y="553"/>
                    <a:pt x="998" y="553"/>
                    <a:pt x="1005" y="552"/>
                  </a:cubicBezTo>
                  <a:cubicBezTo>
                    <a:pt x="1005" y="565"/>
                    <a:pt x="1005" y="565"/>
                    <a:pt x="1005" y="565"/>
                  </a:cubicBezTo>
                  <a:cubicBezTo>
                    <a:pt x="1005" y="584"/>
                    <a:pt x="1018" y="600"/>
                    <a:pt x="1036" y="604"/>
                  </a:cubicBezTo>
                  <a:cubicBezTo>
                    <a:pt x="1138" y="628"/>
                    <a:pt x="1138" y="628"/>
                    <a:pt x="1138" y="628"/>
                  </a:cubicBezTo>
                  <a:cubicBezTo>
                    <a:pt x="1187" y="640"/>
                    <a:pt x="1221" y="683"/>
                    <a:pt x="1221" y="733"/>
                  </a:cubicBezTo>
                  <a:cubicBezTo>
                    <a:pt x="1221" y="768"/>
                    <a:pt x="1221" y="768"/>
                    <a:pt x="1221" y="768"/>
                  </a:cubicBezTo>
                  <a:cubicBezTo>
                    <a:pt x="1058" y="768"/>
                    <a:pt x="1058" y="768"/>
                    <a:pt x="1058" y="768"/>
                  </a:cubicBezTo>
                  <a:cubicBezTo>
                    <a:pt x="1029" y="697"/>
                    <a:pt x="967" y="642"/>
                    <a:pt x="888" y="6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493"/>
            <p:cNvSpPr>
              <a:spLocks/>
            </p:cNvSpPr>
            <p:nvPr/>
          </p:nvSpPr>
          <p:spPr bwMode="auto">
            <a:xfrm>
              <a:off x="2912" y="2087"/>
              <a:ext cx="152" cy="151"/>
            </a:xfrm>
            <a:custGeom>
              <a:avLst/>
              <a:gdLst>
                <a:gd name="T0" fmla="*/ 40 w 80"/>
                <a:gd name="T1" fmla="*/ 0 h 80"/>
                <a:gd name="T2" fmla="*/ 12 w 80"/>
                <a:gd name="T3" fmla="*/ 11 h 80"/>
                <a:gd name="T4" fmla="*/ 0 w 80"/>
                <a:gd name="T5" fmla="*/ 40 h 80"/>
                <a:gd name="T6" fmla="*/ 12 w 80"/>
                <a:gd name="T7" fmla="*/ 68 h 80"/>
                <a:gd name="T8" fmla="*/ 40 w 80"/>
                <a:gd name="T9" fmla="*/ 80 h 80"/>
                <a:gd name="T10" fmla="*/ 68 w 80"/>
                <a:gd name="T11" fmla="*/ 68 h 80"/>
                <a:gd name="T12" fmla="*/ 80 w 80"/>
                <a:gd name="T13" fmla="*/ 40 h 80"/>
                <a:gd name="T14" fmla="*/ 68 w 80"/>
                <a:gd name="T15" fmla="*/ 11 h 80"/>
                <a:gd name="T16" fmla="*/ 40 w 8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0"/>
                  </a:moveTo>
                  <a:cubicBezTo>
                    <a:pt x="29" y="0"/>
                    <a:pt x="19" y="4"/>
                    <a:pt x="12" y="11"/>
                  </a:cubicBezTo>
                  <a:cubicBezTo>
                    <a:pt x="4" y="19"/>
                    <a:pt x="0" y="29"/>
                    <a:pt x="0" y="40"/>
                  </a:cubicBezTo>
                  <a:cubicBezTo>
                    <a:pt x="0" y="50"/>
                    <a:pt x="4" y="60"/>
                    <a:pt x="12" y="68"/>
                  </a:cubicBezTo>
                  <a:cubicBezTo>
                    <a:pt x="19" y="75"/>
                    <a:pt x="29" y="80"/>
                    <a:pt x="40" y="80"/>
                  </a:cubicBezTo>
                  <a:cubicBezTo>
                    <a:pt x="51" y="80"/>
                    <a:pt x="61" y="75"/>
                    <a:pt x="68" y="68"/>
                  </a:cubicBezTo>
                  <a:cubicBezTo>
                    <a:pt x="76" y="60"/>
                    <a:pt x="80" y="50"/>
                    <a:pt x="80" y="40"/>
                  </a:cubicBezTo>
                  <a:cubicBezTo>
                    <a:pt x="80" y="29"/>
                    <a:pt x="76" y="19"/>
                    <a:pt x="68" y="11"/>
                  </a:cubicBezTo>
                  <a:cubicBezTo>
                    <a:pt x="61" y="4"/>
                    <a:pt x="51"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494"/>
            <p:cNvSpPr>
              <a:spLocks/>
            </p:cNvSpPr>
            <p:nvPr/>
          </p:nvSpPr>
          <p:spPr bwMode="auto">
            <a:xfrm>
              <a:off x="2912" y="-152"/>
              <a:ext cx="152" cy="265"/>
            </a:xfrm>
            <a:custGeom>
              <a:avLst/>
              <a:gdLst>
                <a:gd name="T0" fmla="*/ 40 w 80"/>
                <a:gd name="T1" fmla="*/ 140 h 140"/>
                <a:gd name="T2" fmla="*/ 80 w 80"/>
                <a:gd name="T3" fmla="*/ 100 h 140"/>
                <a:gd name="T4" fmla="*/ 80 w 80"/>
                <a:gd name="T5" fmla="*/ 40 h 140"/>
                <a:gd name="T6" fmla="*/ 40 w 80"/>
                <a:gd name="T7" fmla="*/ 0 h 140"/>
                <a:gd name="T8" fmla="*/ 0 w 80"/>
                <a:gd name="T9" fmla="*/ 40 h 140"/>
                <a:gd name="T10" fmla="*/ 0 w 80"/>
                <a:gd name="T11" fmla="*/ 100 h 140"/>
                <a:gd name="T12" fmla="*/ 40 w 80"/>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80" h="140">
                  <a:moveTo>
                    <a:pt x="40" y="140"/>
                  </a:moveTo>
                  <a:cubicBezTo>
                    <a:pt x="62" y="140"/>
                    <a:pt x="80" y="122"/>
                    <a:pt x="80" y="100"/>
                  </a:cubicBezTo>
                  <a:cubicBezTo>
                    <a:pt x="80" y="40"/>
                    <a:pt x="80" y="40"/>
                    <a:pt x="80" y="40"/>
                  </a:cubicBezTo>
                  <a:cubicBezTo>
                    <a:pt x="80" y="18"/>
                    <a:pt x="62" y="0"/>
                    <a:pt x="40" y="0"/>
                  </a:cubicBezTo>
                  <a:cubicBezTo>
                    <a:pt x="18" y="0"/>
                    <a:pt x="0" y="18"/>
                    <a:pt x="0" y="40"/>
                  </a:cubicBezTo>
                  <a:cubicBezTo>
                    <a:pt x="0" y="100"/>
                    <a:pt x="0" y="100"/>
                    <a:pt x="0" y="100"/>
                  </a:cubicBezTo>
                  <a:cubicBezTo>
                    <a:pt x="0" y="122"/>
                    <a:pt x="18" y="140"/>
                    <a:pt x="40"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495"/>
            <p:cNvSpPr>
              <a:spLocks/>
            </p:cNvSpPr>
            <p:nvPr/>
          </p:nvSpPr>
          <p:spPr bwMode="auto">
            <a:xfrm>
              <a:off x="2492" y="-14"/>
              <a:ext cx="246" cy="239"/>
            </a:xfrm>
            <a:custGeom>
              <a:avLst/>
              <a:gdLst>
                <a:gd name="T0" fmla="*/ 58 w 130"/>
                <a:gd name="T1" fmla="*/ 114 h 126"/>
                <a:gd name="T2" fmla="*/ 86 w 130"/>
                <a:gd name="T3" fmla="*/ 126 h 126"/>
                <a:gd name="T4" fmla="*/ 115 w 130"/>
                <a:gd name="T5" fmla="*/ 114 h 126"/>
                <a:gd name="T6" fmla="*/ 115 w 130"/>
                <a:gd name="T7" fmla="*/ 57 h 126"/>
                <a:gd name="T8" fmla="*/ 73 w 130"/>
                <a:gd name="T9" fmla="*/ 16 h 126"/>
                <a:gd name="T10" fmla="*/ 16 w 130"/>
                <a:gd name="T11" fmla="*/ 16 h 126"/>
                <a:gd name="T12" fmla="*/ 16 w 130"/>
                <a:gd name="T13" fmla="*/ 72 h 126"/>
                <a:gd name="T14" fmla="*/ 58 w 130"/>
                <a:gd name="T15" fmla="*/ 114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6">
                  <a:moveTo>
                    <a:pt x="58" y="114"/>
                  </a:moveTo>
                  <a:cubicBezTo>
                    <a:pt x="66" y="122"/>
                    <a:pt x="76" y="126"/>
                    <a:pt x="86" y="126"/>
                  </a:cubicBezTo>
                  <a:cubicBezTo>
                    <a:pt x="97" y="126"/>
                    <a:pt x="107" y="122"/>
                    <a:pt x="115" y="114"/>
                  </a:cubicBezTo>
                  <a:cubicBezTo>
                    <a:pt x="130" y="98"/>
                    <a:pt x="130" y="73"/>
                    <a:pt x="115" y="57"/>
                  </a:cubicBezTo>
                  <a:cubicBezTo>
                    <a:pt x="73" y="16"/>
                    <a:pt x="73" y="16"/>
                    <a:pt x="73" y="16"/>
                  </a:cubicBezTo>
                  <a:cubicBezTo>
                    <a:pt x="57" y="0"/>
                    <a:pt x="32" y="0"/>
                    <a:pt x="16" y="16"/>
                  </a:cubicBezTo>
                  <a:cubicBezTo>
                    <a:pt x="0" y="31"/>
                    <a:pt x="1" y="57"/>
                    <a:pt x="16" y="72"/>
                  </a:cubicBezTo>
                  <a:lnTo>
                    <a:pt x="58"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496"/>
            <p:cNvSpPr>
              <a:spLocks/>
            </p:cNvSpPr>
            <p:nvPr/>
          </p:nvSpPr>
          <p:spPr bwMode="auto">
            <a:xfrm>
              <a:off x="3236" y="-12"/>
              <a:ext cx="246" cy="238"/>
            </a:xfrm>
            <a:custGeom>
              <a:avLst/>
              <a:gdLst>
                <a:gd name="T0" fmla="*/ 44 w 130"/>
                <a:gd name="T1" fmla="*/ 126 h 126"/>
                <a:gd name="T2" fmla="*/ 72 w 130"/>
                <a:gd name="T3" fmla="*/ 114 h 126"/>
                <a:gd name="T4" fmla="*/ 114 w 130"/>
                <a:gd name="T5" fmla="*/ 72 h 126"/>
                <a:gd name="T6" fmla="*/ 114 w 130"/>
                <a:gd name="T7" fmla="*/ 16 h 126"/>
                <a:gd name="T8" fmla="*/ 57 w 130"/>
                <a:gd name="T9" fmla="*/ 16 h 126"/>
                <a:gd name="T10" fmla="*/ 16 w 130"/>
                <a:gd name="T11" fmla="*/ 57 h 126"/>
                <a:gd name="T12" fmla="*/ 16 w 130"/>
                <a:gd name="T13" fmla="*/ 114 h 126"/>
                <a:gd name="T14" fmla="*/ 44 w 130"/>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6">
                  <a:moveTo>
                    <a:pt x="44" y="126"/>
                  </a:moveTo>
                  <a:cubicBezTo>
                    <a:pt x="54" y="126"/>
                    <a:pt x="64" y="122"/>
                    <a:pt x="72" y="114"/>
                  </a:cubicBezTo>
                  <a:cubicBezTo>
                    <a:pt x="114" y="72"/>
                    <a:pt x="114" y="72"/>
                    <a:pt x="114" y="72"/>
                  </a:cubicBezTo>
                  <a:cubicBezTo>
                    <a:pt x="130" y="57"/>
                    <a:pt x="130" y="31"/>
                    <a:pt x="114" y="16"/>
                  </a:cubicBezTo>
                  <a:cubicBezTo>
                    <a:pt x="98" y="0"/>
                    <a:pt x="73" y="0"/>
                    <a:pt x="57" y="16"/>
                  </a:cubicBezTo>
                  <a:cubicBezTo>
                    <a:pt x="16" y="57"/>
                    <a:pt x="16" y="57"/>
                    <a:pt x="16" y="57"/>
                  </a:cubicBezTo>
                  <a:cubicBezTo>
                    <a:pt x="0" y="73"/>
                    <a:pt x="0" y="98"/>
                    <a:pt x="16" y="114"/>
                  </a:cubicBezTo>
                  <a:cubicBezTo>
                    <a:pt x="24" y="122"/>
                    <a:pt x="34" y="126"/>
                    <a:pt x="4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3" name="Group 539"/>
          <p:cNvGrpSpPr>
            <a:grpSpLocks noChangeAspect="1"/>
          </p:cNvGrpSpPr>
          <p:nvPr/>
        </p:nvGrpSpPr>
        <p:grpSpPr bwMode="auto">
          <a:xfrm>
            <a:off x="8156105" y="1860791"/>
            <a:ext cx="444886" cy="457200"/>
            <a:chOff x="795" y="737"/>
            <a:chExt cx="3107" cy="3193"/>
          </a:xfrm>
          <a:solidFill>
            <a:schemeClr val="accent1"/>
          </a:solidFill>
        </p:grpSpPr>
        <p:sp>
          <p:nvSpPr>
            <p:cNvPr id="545" name="Freeform 540"/>
            <p:cNvSpPr>
              <a:spLocks noEditPoints="1"/>
            </p:cNvSpPr>
            <p:nvPr/>
          </p:nvSpPr>
          <p:spPr bwMode="auto">
            <a:xfrm>
              <a:off x="1276" y="737"/>
              <a:ext cx="2626" cy="3193"/>
            </a:xfrm>
            <a:custGeom>
              <a:avLst/>
              <a:gdLst>
                <a:gd name="T0" fmla="*/ 1244 w 1387"/>
                <a:gd name="T1" fmla="*/ 957 h 1687"/>
                <a:gd name="T2" fmla="*/ 1244 w 1387"/>
                <a:gd name="T3" fmla="*/ 1021 h 1687"/>
                <a:gd name="T4" fmla="*/ 775 w 1387"/>
                <a:gd name="T5" fmla="*/ 1523 h 1687"/>
                <a:gd name="T6" fmla="*/ 703 w 1387"/>
                <a:gd name="T7" fmla="*/ 1067 h 1687"/>
                <a:gd name="T8" fmla="*/ 923 w 1387"/>
                <a:gd name="T9" fmla="*/ 944 h 1687"/>
                <a:gd name="T10" fmla="*/ 1081 w 1387"/>
                <a:gd name="T11" fmla="*/ 642 h 1687"/>
                <a:gd name="T12" fmla="*/ 985 w 1387"/>
                <a:gd name="T13" fmla="*/ 314 h 1687"/>
                <a:gd name="T14" fmla="*/ 914 w 1387"/>
                <a:gd name="T15" fmla="*/ 861 h 1687"/>
                <a:gd name="T16" fmla="*/ 751 w 1387"/>
                <a:gd name="T17" fmla="*/ 555 h 1687"/>
                <a:gd name="T18" fmla="*/ 568 w 1387"/>
                <a:gd name="T19" fmla="*/ 272 h 1687"/>
                <a:gd name="T20" fmla="*/ 385 w 1387"/>
                <a:gd name="T21" fmla="*/ 555 h 1687"/>
                <a:gd name="T22" fmla="*/ 222 w 1387"/>
                <a:gd name="T23" fmla="*/ 861 h 1687"/>
                <a:gd name="T24" fmla="*/ 798 w 1387"/>
                <a:gd name="T25" fmla="*/ 174 h 1687"/>
                <a:gd name="T26" fmla="*/ 830 w 1387"/>
                <a:gd name="T27" fmla="*/ 119 h 1687"/>
                <a:gd name="T28" fmla="*/ 202 w 1387"/>
                <a:gd name="T29" fmla="*/ 933 h 1687"/>
                <a:gd name="T30" fmla="*/ 434 w 1387"/>
                <a:gd name="T31" fmla="*/ 1182 h 1687"/>
                <a:gd name="T32" fmla="*/ 299 w 1387"/>
                <a:gd name="T33" fmla="*/ 1092 h 1687"/>
                <a:gd name="T34" fmla="*/ 141 w 1387"/>
                <a:gd name="T35" fmla="*/ 1295 h 1687"/>
                <a:gd name="T36" fmla="*/ 186 w 1387"/>
                <a:gd name="T37" fmla="*/ 1295 h 1687"/>
                <a:gd name="T38" fmla="*/ 434 w 1387"/>
                <a:gd name="T39" fmla="*/ 1272 h 1687"/>
                <a:gd name="T40" fmla="*/ 568 w 1387"/>
                <a:gd name="T41" fmla="*/ 1687 h 1687"/>
                <a:gd name="T42" fmla="*/ 703 w 1387"/>
                <a:gd name="T43" fmla="*/ 1541 h 1687"/>
                <a:gd name="T44" fmla="*/ 775 w 1387"/>
                <a:gd name="T45" fmla="*/ 1601 h 1687"/>
                <a:gd name="T46" fmla="*/ 1323 w 1387"/>
                <a:gd name="T47" fmla="*/ 1066 h 1687"/>
                <a:gd name="T48" fmla="*/ 1355 w 1387"/>
                <a:gd name="T49" fmla="*/ 1133 h 1687"/>
                <a:gd name="T50" fmla="*/ 1387 w 1387"/>
                <a:gd name="T51" fmla="*/ 989 h 1687"/>
                <a:gd name="T52" fmla="*/ 568 w 1387"/>
                <a:gd name="T53" fmla="*/ 336 h 1687"/>
                <a:gd name="T54" fmla="*/ 634 w 1387"/>
                <a:gd name="T55" fmla="*/ 404 h 1687"/>
                <a:gd name="T56" fmla="*/ 491 w 1387"/>
                <a:gd name="T57" fmla="*/ 459 h 1687"/>
                <a:gd name="T58" fmla="*/ 449 w 1387"/>
                <a:gd name="T59" fmla="*/ 455 h 1687"/>
                <a:gd name="T60" fmla="*/ 449 w 1387"/>
                <a:gd name="T61" fmla="*/ 523 h 1687"/>
                <a:gd name="T62" fmla="*/ 624 w 1387"/>
                <a:gd name="T63" fmla="*/ 472 h 1687"/>
                <a:gd name="T64" fmla="*/ 687 w 1387"/>
                <a:gd name="T65" fmla="*/ 555 h 1687"/>
                <a:gd name="T66" fmla="*/ 449 w 1387"/>
                <a:gd name="T67" fmla="*/ 555 h 1687"/>
                <a:gd name="T68" fmla="*/ 639 w 1387"/>
                <a:gd name="T69" fmla="*/ 1552 h 1687"/>
                <a:gd name="T70" fmla="*/ 498 w 1387"/>
                <a:gd name="T71" fmla="*/ 1552 h 1687"/>
                <a:gd name="T72" fmla="*/ 568 w 1387"/>
                <a:gd name="T73" fmla="*/ 1085 h 1687"/>
                <a:gd name="T74" fmla="*/ 639 w 1387"/>
                <a:gd name="T75" fmla="*/ 1552 h 1687"/>
                <a:gd name="T76" fmla="*/ 271 w 1387"/>
                <a:gd name="T77" fmla="*/ 911 h 1687"/>
                <a:gd name="T78" fmla="*/ 536 w 1387"/>
                <a:gd name="T79" fmla="*/ 738 h 1687"/>
                <a:gd name="T80" fmla="*/ 568 w 1387"/>
                <a:gd name="T81" fmla="*/ 888 h 1687"/>
                <a:gd name="T82" fmla="*/ 600 w 1387"/>
                <a:gd name="T83" fmla="*/ 738 h 1687"/>
                <a:gd name="T84" fmla="*/ 865 w 1387"/>
                <a:gd name="T85" fmla="*/ 911 h 1687"/>
                <a:gd name="T86" fmla="*/ 568 w 1387"/>
                <a:gd name="T87" fmla="*/ 1021 h 1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7" h="1687">
                  <a:moveTo>
                    <a:pt x="1355" y="957"/>
                  </a:moveTo>
                  <a:cubicBezTo>
                    <a:pt x="1244" y="957"/>
                    <a:pt x="1244" y="957"/>
                    <a:pt x="1244" y="957"/>
                  </a:cubicBezTo>
                  <a:cubicBezTo>
                    <a:pt x="1226" y="957"/>
                    <a:pt x="1212" y="971"/>
                    <a:pt x="1212" y="989"/>
                  </a:cubicBezTo>
                  <a:cubicBezTo>
                    <a:pt x="1212" y="1007"/>
                    <a:pt x="1226" y="1021"/>
                    <a:pt x="1244" y="1021"/>
                  </a:cubicBezTo>
                  <a:cubicBezTo>
                    <a:pt x="1278" y="1021"/>
                    <a:pt x="1278" y="1021"/>
                    <a:pt x="1278" y="1021"/>
                  </a:cubicBezTo>
                  <a:cubicBezTo>
                    <a:pt x="775" y="1523"/>
                    <a:pt x="775" y="1523"/>
                    <a:pt x="775" y="1523"/>
                  </a:cubicBezTo>
                  <a:cubicBezTo>
                    <a:pt x="703" y="1451"/>
                    <a:pt x="703" y="1451"/>
                    <a:pt x="703" y="1451"/>
                  </a:cubicBezTo>
                  <a:cubicBezTo>
                    <a:pt x="703" y="1067"/>
                    <a:pt x="703" y="1067"/>
                    <a:pt x="703" y="1067"/>
                  </a:cubicBezTo>
                  <a:cubicBezTo>
                    <a:pt x="783" y="1046"/>
                    <a:pt x="859" y="1005"/>
                    <a:pt x="923" y="944"/>
                  </a:cubicBezTo>
                  <a:cubicBezTo>
                    <a:pt x="923" y="944"/>
                    <a:pt x="923" y="944"/>
                    <a:pt x="923" y="944"/>
                  </a:cubicBezTo>
                  <a:cubicBezTo>
                    <a:pt x="927" y="941"/>
                    <a:pt x="931" y="937"/>
                    <a:pt x="935" y="933"/>
                  </a:cubicBezTo>
                  <a:cubicBezTo>
                    <a:pt x="1014" y="854"/>
                    <a:pt x="1065" y="753"/>
                    <a:pt x="1081" y="642"/>
                  </a:cubicBezTo>
                  <a:cubicBezTo>
                    <a:pt x="1097" y="535"/>
                    <a:pt x="1078" y="423"/>
                    <a:pt x="1028" y="327"/>
                  </a:cubicBezTo>
                  <a:cubicBezTo>
                    <a:pt x="1020" y="311"/>
                    <a:pt x="1000" y="305"/>
                    <a:pt x="985" y="314"/>
                  </a:cubicBezTo>
                  <a:cubicBezTo>
                    <a:pt x="969" y="322"/>
                    <a:pt x="963" y="341"/>
                    <a:pt x="971" y="357"/>
                  </a:cubicBezTo>
                  <a:cubicBezTo>
                    <a:pt x="1058" y="523"/>
                    <a:pt x="1034" y="721"/>
                    <a:pt x="914" y="861"/>
                  </a:cubicBezTo>
                  <a:cubicBezTo>
                    <a:pt x="874" y="772"/>
                    <a:pt x="794" y="706"/>
                    <a:pt x="699" y="683"/>
                  </a:cubicBezTo>
                  <a:cubicBezTo>
                    <a:pt x="731" y="650"/>
                    <a:pt x="751" y="605"/>
                    <a:pt x="751" y="555"/>
                  </a:cubicBezTo>
                  <a:cubicBezTo>
                    <a:pt x="751" y="455"/>
                    <a:pt x="751" y="455"/>
                    <a:pt x="751" y="455"/>
                  </a:cubicBezTo>
                  <a:cubicBezTo>
                    <a:pt x="751" y="354"/>
                    <a:pt x="669" y="272"/>
                    <a:pt x="568" y="272"/>
                  </a:cubicBezTo>
                  <a:cubicBezTo>
                    <a:pt x="467" y="272"/>
                    <a:pt x="385" y="354"/>
                    <a:pt x="385" y="455"/>
                  </a:cubicBezTo>
                  <a:cubicBezTo>
                    <a:pt x="385" y="555"/>
                    <a:pt x="385" y="555"/>
                    <a:pt x="385" y="555"/>
                  </a:cubicBezTo>
                  <a:cubicBezTo>
                    <a:pt x="385" y="605"/>
                    <a:pt x="405" y="650"/>
                    <a:pt x="438" y="683"/>
                  </a:cubicBezTo>
                  <a:cubicBezTo>
                    <a:pt x="343" y="706"/>
                    <a:pt x="263" y="772"/>
                    <a:pt x="222" y="861"/>
                  </a:cubicBezTo>
                  <a:cubicBezTo>
                    <a:pt x="70" y="683"/>
                    <a:pt x="78" y="414"/>
                    <a:pt x="247" y="245"/>
                  </a:cubicBezTo>
                  <a:cubicBezTo>
                    <a:pt x="393" y="99"/>
                    <a:pt x="619" y="70"/>
                    <a:pt x="798" y="174"/>
                  </a:cubicBezTo>
                  <a:cubicBezTo>
                    <a:pt x="813" y="183"/>
                    <a:pt x="832" y="178"/>
                    <a:pt x="841" y="163"/>
                  </a:cubicBezTo>
                  <a:cubicBezTo>
                    <a:pt x="850" y="148"/>
                    <a:pt x="845" y="128"/>
                    <a:pt x="830" y="119"/>
                  </a:cubicBezTo>
                  <a:cubicBezTo>
                    <a:pt x="627" y="0"/>
                    <a:pt x="368" y="34"/>
                    <a:pt x="202" y="200"/>
                  </a:cubicBezTo>
                  <a:cubicBezTo>
                    <a:pt x="0" y="402"/>
                    <a:pt x="0" y="731"/>
                    <a:pt x="202" y="933"/>
                  </a:cubicBezTo>
                  <a:cubicBezTo>
                    <a:pt x="268" y="1000"/>
                    <a:pt x="349" y="1045"/>
                    <a:pt x="434" y="1067"/>
                  </a:cubicBezTo>
                  <a:cubicBezTo>
                    <a:pt x="434" y="1182"/>
                    <a:pt x="434" y="1182"/>
                    <a:pt x="434" y="1182"/>
                  </a:cubicBezTo>
                  <a:cubicBezTo>
                    <a:pt x="344" y="1092"/>
                    <a:pt x="344" y="1092"/>
                    <a:pt x="344" y="1092"/>
                  </a:cubicBezTo>
                  <a:cubicBezTo>
                    <a:pt x="331" y="1079"/>
                    <a:pt x="311" y="1079"/>
                    <a:pt x="299" y="1092"/>
                  </a:cubicBezTo>
                  <a:cubicBezTo>
                    <a:pt x="141" y="1250"/>
                    <a:pt x="141" y="1250"/>
                    <a:pt x="141" y="1250"/>
                  </a:cubicBezTo>
                  <a:cubicBezTo>
                    <a:pt x="128" y="1262"/>
                    <a:pt x="128" y="1282"/>
                    <a:pt x="141" y="1295"/>
                  </a:cubicBezTo>
                  <a:cubicBezTo>
                    <a:pt x="147" y="1301"/>
                    <a:pt x="155" y="1304"/>
                    <a:pt x="163" y="1304"/>
                  </a:cubicBezTo>
                  <a:cubicBezTo>
                    <a:pt x="172" y="1304"/>
                    <a:pt x="180" y="1301"/>
                    <a:pt x="186" y="1295"/>
                  </a:cubicBezTo>
                  <a:cubicBezTo>
                    <a:pt x="321" y="1160"/>
                    <a:pt x="321" y="1160"/>
                    <a:pt x="321" y="1160"/>
                  </a:cubicBezTo>
                  <a:cubicBezTo>
                    <a:pt x="434" y="1272"/>
                    <a:pt x="434" y="1272"/>
                    <a:pt x="434" y="1272"/>
                  </a:cubicBezTo>
                  <a:cubicBezTo>
                    <a:pt x="434" y="1552"/>
                    <a:pt x="434" y="1552"/>
                    <a:pt x="434" y="1552"/>
                  </a:cubicBezTo>
                  <a:cubicBezTo>
                    <a:pt x="434" y="1626"/>
                    <a:pt x="494" y="1687"/>
                    <a:pt x="568" y="1687"/>
                  </a:cubicBezTo>
                  <a:cubicBezTo>
                    <a:pt x="642" y="1687"/>
                    <a:pt x="703" y="1626"/>
                    <a:pt x="703" y="1552"/>
                  </a:cubicBezTo>
                  <a:cubicBezTo>
                    <a:pt x="703" y="1541"/>
                    <a:pt x="703" y="1541"/>
                    <a:pt x="703" y="1541"/>
                  </a:cubicBezTo>
                  <a:cubicBezTo>
                    <a:pt x="753" y="1591"/>
                    <a:pt x="753" y="1591"/>
                    <a:pt x="753" y="1591"/>
                  </a:cubicBezTo>
                  <a:cubicBezTo>
                    <a:pt x="759" y="1598"/>
                    <a:pt x="767" y="1601"/>
                    <a:pt x="775" y="1601"/>
                  </a:cubicBezTo>
                  <a:cubicBezTo>
                    <a:pt x="784" y="1601"/>
                    <a:pt x="792" y="1598"/>
                    <a:pt x="798" y="1591"/>
                  </a:cubicBezTo>
                  <a:cubicBezTo>
                    <a:pt x="1323" y="1066"/>
                    <a:pt x="1323" y="1066"/>
                    <a:pt x="1323" y="1066"/>
                  </a:cubicBezTo>
                  <a:cubicBezTo>
                    <a:pt x="1323" y="1101"/>
                    <a:pt x="1323" y="1101"/>
                    <a:pt x="1323" y="1101"/>
                  </a:cubicBezTo>
                  <a:cubicBezTo>
                    <a:pt x="1323" y="1118"/>
                    <a:pt x="1338" y="1133"/>
                    <a:pt x="1355" y="1133"/>
                  </a:cubicBezTo>
                  <a:cubicBezTo>
                    <a:pt x="1373" y="1133"/>
                    <a:pt x="1387" y="1118"/>
                    <a:pt x="1387" y="1101"/>
                  </a:cubicBezTo>
                  <a:cubicBezTo>
                    <a:pt x="1387" y="989"/>
                    <a:pt x="1387" y="989"/>
                    <a:pt x="1387" y="989"/>
                  </a:cubicBezTo>
                  <a:cubicBezTo>
                    <a:pt x="1387" y="971"/>
                    <a:pt x="1373" y="957"/>
                    <a:pt x="1355" y="957"/>
                  </a:cubicBezTo>
                  <a:close/>
                  <a:moveTo>
                    <a:pt x="568" y="336"/>
                  </a:moveTo>
                  <a:cubicBezTo>
                    <a:pt x="627" y="336"/>
                    <a:pt x="675" y="379"/>
                    <a:pt x="685" y="434"/>
                  </a:cubicBezTo>
                  <a:cubicBezTo>
                    <a:pt x="634" y="404"/>
                    <a:pt x="634" y="404"/>
                    <a:pt x="634" y="404"/>
                  </a:cubicBezTo>
                  <a:cubicBezTo>
                    <a:pt x="621" y="397"/>
                    <a:pt x="604" y="399"/>
                    <a:pt x="594" y="411"/>
                  </a:cubicBezTo>
                  <a:cubicBezTo>
                    <a:pt x="568" y="442"/>
                    <a:pt x="531" y="459"/>
                    <a:pt x="491" y="459"/>
                  </a:cubicBezTo>
                  <a:cubicBezTo>
                    <a:pt x="449" y="459"/>
                    <a:pt x="449" y="459"/>
                    <a:pt x="449" y="459"/>
                  </a:cubicBezTo>
                  <a:cubicBezTo>
                    <a:pt x="449" y="455"/>
                    <a:pt x="449" y="455"/>
                    <a:pt x="449" y="455"/>
                  </a:cubicBezTo>
                  <a:cubicBezTo>
                    <a:pt x="449" y="390"/>
                    <a:pt x="503" y="336"/>
                    <a:pt x="568" y="336"/>
                  </a:cubicBezTo>
                  <a:close/>
                  <a:moveTo>
                    <a:pt x="449" y="523"/>
                  </a:moveTo>
                  <a:cubicBezTo>
                    <a:pt x="491" y="523"/>
                    <a:pt x="491" y="523"/>
                    <a:pt x="491" y="523"/>
                  </a:cubicBezTo>
                  <a:cubicBezTo>
                    <a:pt x="541" y="523"/>
                    <a:pt x="587" y="505"/>
                    <a:pt x="624" y="472"/>
                  </a:cubicBezTo>
                  <a:cubicBezTo>
                    <a:pt x="687" y="510"/>
                    <a:pt x="687" y="510"/>
                    <a:pt x="687" y="510"/>
                  </a:cubicBezTo>
                  <a:cubicBezTo>
                    <a:pt x="687" y="555"/>
                    <a:pt x="687" y="555"/>
                    <a:pt x="687" y="555"/>
                  </a:cubicBezTo>
                  <a:cubicBezTo>
                    <a:pt x="687" y="621"/>
                    <a:pt x="634" y="674"/>
                    <a:pt x="568" y="674"/>
                  </a:cubicBezTo>
                  <a:cubicBezTo>
                    <a:pt x="503" y="674"/>
                    <a:pt x="449" y="621"/>
                    <a:pt x="449" y="555"/>
                  </a:cubicBezTo>
                  <a:cubicBezTo>
                    <a:pt x="449" y="523"/>
                    <a:pt x="449" y="523"/>
                    <a:pt x="449" y="523"/>
                  </a:cubicBezTo>
                  <a:close/>
                  <a:moveTo>
                    <a:pt x="639" y="1552"/>
                  </a:moveTo>
                  <a:cubicBezTo>
                    <a:pt x="639" y="1591"/>
                    <a:pt x="607" y="1623"/>
                    <a:pt x="568" y="1623"/>
                  </a:cubicBezTo>
                  <a:cubicBezTo>
                    <a:pt x="529" y="1623"/>
                    <a:pt x="498" y="1591"/>
                    <a:pt x="498" y="1552"/>
                  </a:cubicBezTo>
                  <a:cubicBezTo>
                    <a:pt x="498" y="1080"/>
                    <a:pt x="498" y="1080"/>
                    <a:pt x="498" y="1080"/>
                  </a:cubicBezTo>
                  <a:cubicBezTo>
                    <a:pt x="521" y="1083"/>
                    <a:pt x="545" y="1085"/>
                    <a:pt x="568" y="1085"/>
                  </a:cubicBezTo>
                  <a:cubicBezTo>
                    <a:pt x="592" y="1085"/>
                    <a:pt x="615" y="1083"/>
                    <a:pt x="639" y="1080"/>
                  </a:cubicBezTo>
                  <a:lnTo>
                    <a:pt x="639" y="1552"/>
                  </a:lnTo>
                  <a:close/>
                  <a:moveTo>
                    <a:pt x="568" y="1021"/>
                  </a:moveTo>
                  <a:cubicBezTo>
                    <a:pt x="462" y="1021"/>
                    <a:pt x="356" y="984"/>
                    <a:pt x="271" y="911"/>
                  </a:cubicBezTo>
                  <a:cubicBezTo>
                    <a:pt x="306" y="808"/>
                    <a:pt x="403" y="738"/>
                    <a:pt x="513" y="738"/>
                  </a:cubicBezTo>
                  <a:cubicBezTo>
                    <a:pt x="536" y="738"/>
                    <a:pt x="536" y="738"/>
                    <a:pt x="536" y="738"/>
                  </a:cubicBezTo>
                  <a:cubicBezTo>
                    <a:pt x="536" y="856"/>
                    <a:pt x="536" y="856"/>
                    <a:pt x="536" y="856"/>
                  </a:cubicBezTo>
                  <a:cubicBezTo>
                    <a:pt x="536" y="874"/>
                    <a:pt x="551" y="888"/>
                    <a:pt x="568" y="888"/>
                  </a:cubicBezTo>
                  <a:cubicBezTo>
                    <a:pt x="586" y="888"/>
                    <a:pt x="600" y="874"/>
                    <a:pt x="600" y="856"/>
                  </a:cubicBezTo>
                  <a:cubicBezTo>
                    <a:pt x="600" y="738"/>
                    <a:pt x="600" y="738"/>
                    <a:pt x="600" y="738"/>
                  </a:cubicBezTo>
                  <a:cubicBezTo>
                    <a:pt x="623" y="738"/>
                    <a:pt x="623" y="738"/>
                    <a:pt x="623" y="738"/>
                  </a:cubicBezTo>
                  <a:cubicBezTo>
                    <a:pt x="733" y="738"/>
                    <a:pt x="830" y="808"/>
                    <a:pt x="865" y="911"/>
                  </a:cubicBezTo>
                  <a:cubicBezTo>
                    <a:pt x="780" y="984"/>
                    <a:pt x="674" y="1021"/>
                    <a:pt x="568" y="1021"/>
                  </a:cubicBezTo>
                  <a:close/>
                  <a:moveTo>
                    <a:pt x="568" y="1021"/>
                  </a:moveTo>
                  <a:cubicBezTo>
                    <a:pt x="568" y="1021"/>
                    <a:pt x="568" y="1021"/>
                    <a:pt x="568" y="10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541"/>
            <p:cNvSpPr>
              <a:spLocks noEditPoints="1"/>
            </p:cNvSpPr>
            <p:nvPr/>
          </p:nvSpPr>
          <p:spPr bwMode="auto">
            <a:xfrm>
              <a:off x="795" y="3402"/>
              <a:ext cx="532" cy="528"/>
            </a:xfrm>
            <a:custGeom>
              <a:avLst/>
              <a:gdLst>
                <a:gd name="T0" fmla="*/ 269 w 281"/>
                <a:gd name="T1" fmla="*/ 13 h 279"/>
                <a:gd name="T2" fmla="*/ 224 w 281"/>
                <a:gd name="T3" fmla="*/ 13 h 279"/>
                <a:gd name="T4" fmla="*/ 12 w 281"/>
                <a:gd name="T5" fmla="*/ 224 h 279"/>
                <a:gd name="T6" fmla="*/ 12 w 281"/>
                <a:gd name="T7" fmla="*/ 269 h 279"/>
                <a:gd name="T8" fmla="*/ 35 w 281"/>
                <a:gd name="T9" fmla="*/ 279 h 279"/>
                <a:gd name="T10" fmla="*/ 58 w 281"/>
                <a:gd name="T11" fmla="*/ 269 h 279"/>
                <a:gd name="T12" fmla="*/ 269 w 281"/>
                <a:gd name="T13" fmla="*/ 58 h 279"/>
                <a:gd name="T14" fmla="*/ 269 w 281"/>
                <a:gd name="T15" fmla="*/ 13 h 279"/>
                <a:gd name="T16" fmla="*/ 269 w 281"/>
                <a:gd name="T17" fmla="*/ 13 h 279"/>
                <a:gd name="T18" fmla="*/ 269 w 281"/>
                <a:gd name="T19" fmla="*/ 1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1" h="279">
                  <a:moveTo>
                    <a:pt x="269" y="13"/>
                  </a:moveTo>
                  <a:cubicBezTo>
                    <a:pt x="256" y="0"/>
                    <a:pt x="236" y="0"/>
                    <a:pt x="224" y="13"/>
                  </a:cubicBezTo>
                  <a:cubicBezTo>
                    <a:pt x="12" y="224"/>
                    <a:pt x="12" y="224"/>
                    <a:pt x="12" y="224"/>
                  </a:cubicBezTo>
                  <a:cubicBezTo>
                    <a:pt x="0" y="237"/>
                    <a:pt x="0" y="257"/>
                    <a:pt x="12" y="269"/>
                  </a:cubicBezTo>
                  <a:cubicBezTo>
                    <a:pt x="19" y="276"/>
                    <a:pt x="27" y="279"/>
                    <a:pt x="35" y="279"/>
                  </a:cubicBezTo>
                  <a:cubicBezTo>
                    <a:pt x="43" y="279"/>
                    <a:pt x="51" y="276"/>
                    <a:pt x="58" y="269"/>
                  </a:cubicBezTo>
                  <a:cubicBezTo>
                    <a:pt x="269" y="58"/>
                    <a:pt x="269" y="58"/>
                    <a:pt x="269" y="58"/>
                  </a:cubicBezTo>
                  <a:cubicBezTo>
                    <a:pt x="281" y="46"/>
                    <a:pt x="281" y="25"/>
                    <a:pt x="269" y="13"/>
                  </a:cubicBezTo>
                  <a:close/>
                  <a:moveTo>
                    <a:pt x="269" y="13"/>
                  </a:moveTo>
                  <a:cubicBezTo>
                    <a:pt x="269" y="13"/>
                    <a:pt x="269" y="13"/>
                    <a:pt x="269"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542"/>
            <p:cNvSpPr>
              <a:spLocks noEditPoints="1"/>
            </p:cNvSpPr>
            <p:nvPr/>
          </p:nvSpPr>
          <p:spPr bwMode="auto">
            <a:xfrm>
              <a:off x="1371" y="3240"/>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9"/>
                    <a:pt x="9" y="55"/>
                  </a:cubicBezTo>
                  <a:cubicBezTo>
                    <a:pt x="15" y="60"/>
                    <a:pt x="23" y="64"/>
                    <a:pt x="32" y="64"/>
                  </a:cubicBezTo>
                  <a:cubicBezTo>
                    <a:pt x="40" y="64"/>
                    <a:pt x="48" y="60"/>
                    <a:pt x="54" y="55"/>
                  </a:cubicBezTo>
                  <a:cubicBezTo>
                    <a:pt x="60" y="49"/>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543"/>
            <p:cNvSpPr>
              <a:spLocks noEditPoints="1"/>
            </p:cNvSpPr>
            <p:nvPr/>
          </p:nvSpPr>
          <p:spPr bwMode="auto">
            <a:xfrm>
              <a:off x="2942" y="1099"/>
              <a:ext cx="122" cy="121"/>
            </a:xfrm>
            <a:custGeom>
              <a:avLst/>
              <a:gdLst>
                <a:gd name="T0" fmla="*/ 64 w 64"/>
                <a:gd name="T1" fmla="*/ 32 h 64"/>
                <a:gd name="T2" fmla="*/ 32 w 64"/>
                <a:gd name="T3" fmla="*/ 64 h 64"/>
                <a:gd name="T4" fmla="*/ 0 w 64"/>
                <a:gd name="T5" fmla="*/ 32 h 64"/>
                <a:gd name="T6" fmla="*/ 32 w 64"/>
                <a:gd name="T7" fmla="*/ 0 h 64"/>
                <a:gd name="T8" fmla="*/ 64 w 64"/>
                <a:gd name="T9" fmla="*/ 32 h 64"/>
                <a:gd name="T10" fmla="*/ 64 w 64"/>
                <a:gd name="T11" fmla="*/ 32 h 64"/>
                <a:gd name="T12" fmla="*/ 64 w 64"/>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64" h="64">
                  <a:moveTo>
                    <a:pt x="64" y="32"/>
                  </a:moveTo>
                  <a:cubicBezTo>
                    <a:pt x="64" y="49"/>
                    <a:pt x="50" y="64"/>
                    <a:pt x="32" y="64"/>
                  </a:cubicBezTo>
                  <a:cubicBezTo>
                    <a:pt x="14" y="64"/>
                    <a:pt x="0" y="49"/>
                    <a:pt x="0" y="32"/>
                  </a:cubicBezTo>
                  <a:cubicBezTo>
                    <a:pt x="0" y="14"/>
                    <a:pt x="14" y="0"/>
                    <a:pt x="32" y="0"/>
                  </a:cubicBezTo>
                  <a:cubicBezTo>
                    <a:pt x="50" y="0"/>
                    <a:pt x="64" y="14"/>
                    <a:pt x="64" y="32"/>
                  </a:cubicBezTo>
                  <a:close/>
                  <a:moveTo>
                    <a:pt x="64" y="32"/>
                  </a:moveTo>
                  <a:cubicBezTo>
                    <a:pt x="64" y="32"/>
                    <a:pt x="64" y="32"/>
                    <a:pt x="64"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1" name="Group 559"/>
          <p:cNvGrpSpPr>
            <a:grpSpLocks noChangeAspect="1"/>
          </p:cNvGrpSpPr>
          <p:nvPr/>
        </p:nvGrpSpPr>
        <p:grpSpPr bwMode="auto">
          <a:xfrm>
            <a:off x="9502944" y="1860791"/>
            <a:ext cx="382474" cy="457200"/>
            <a:chOff x="994" y="865"/>
            <a:chExt cx="2595" cy="3102"/>
          </a:xfrm>
          <a:solidFill>
            <a:schemeClr val="accent1"/>
          </a:solidFill>
        </p:grpSpPr>
        <p:sp>
          <p:nvSpPr>
            <p:cNvPr id="563" name="Freeform 560"/>
            <p:cNvSpPr>
              <a:spLocks noEditPoints="1"/>
            </p:cNvSpPr>
            <p:nvPr/>
          </p:nvSpPr>
          <p:spPr bwMode="auto">
            <a:xfrm>
              <a:off x="994" y="2605"/>
              <a:ext cx="121" cy="121"/>
            </a:xfrm>
            <a:custGeom>
              <a:avLst/>
              <a:gdLst>
                <a:gd name="T0" fmla="*/ 55 w 64"/>
                <a:gd name="T1" fmla="*/ 9 h 64"/>
                <a:gd name="T2" fmla="*/ 32 w 64"/>
                <a:gd name="T3" fmla="*/ 0 h 64"/>
                <a:gd name="T4" fmla="*/ 10 w 64"/>
                <a:gd name="T5" fmla="*/ 9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561"/>
            <p:cNvSpPr>
              <a:spLocks noEditPoints="1"/>
            </p:cNvSpPr>
            <p:nvPr/>
          </p:nvSpPr>
          <p:spPr bwMode="auto">
            <a:xfrm>
              <a:off x="994" y="865"/>
              <a:ext cx="2595" cy="3102"/>
            </a:xfrm>
            <a:custGeom>
              <a:avLst/>
              <a:gdLst>
                <a:gd name="T0" fmla="*/ 1069 w 1370"/>
                <a:gd name="T1" fmla="*/ 10 h 1639"/>
                <a:gd name="T2" fmla="*/ 96 w 1370"/>
                <a:gd name="T3" fmla="*/ 0 h 1639"/>
                <a:gd name="T4" fmla="*/ 0 w 1370"/>
                <a:gd name="T5" fmla="*/ 819 h 1639"/>
                <a:gd name="T6" fmla="*/ 64 w 1370"/>
                <a:gd name="T7" fmla="*/ 819 h 1639"/>
                <a:gd name="T8" fmla="*/ 96 w 1370"/>
                <a:gd name="T9" fmla="*/ 64 h 1639"/>
                <a:gd name="T10" fmla="*/ 1015 w 1370"/>
                <a:gd name="T11" fmla="*/ 259 h 1639"/>
                <a:gd name="T12" fmla="*/ 1306 w 1370"/>
                <a:gd name="T13" fmla="*/ 355 h 1639"/>
                <a:gd name="T14" fmla="*/ 1274 w 1370"/>
                <a:gd name="T15" fmla="*/ 1575 h 1639"/>
                <a:gd name="T16" fmla="*/ 1242 w 1370"/>
                <a:gd name="T17" fmla="*/ 1095 h 1639"/>
                <a:gd name="T18" fmla="*/ 1044 w 1370"/>
                <a:gd name="T19" fmla="*/ 1063 h 1639"/>
                <a:gd name="T20" fmla="*/ 1012 w 1370"/>
                <a:gd name="T21" fmla="*/ 1575 h 1639"/>
                <a:gd name="T22" fmla="*/ 948 w 1370"/>
                <a:gd name="T23" fmla="*/ 1197 h 1639"/>
                <a:gd name="T24" fmla="*/ 749 w 1370"/>
                <a:gd name="T25" fmla="*/ 1165 h 1639"/>
                <a:gd name="T26" fmla="*/ 717 w 1370"/>
                <a:gd name="T27" fmla="*/ 1575 h 1639"/>
                <a:gd name="T28" fmla="*/ 653 w 1370"/>
                <a:gd name="T29" fmla="*/ 1322 h 1639"/>
                <a:gd name="T30" fmla="*/ 455 w 1370"/>
                <a:gd name="T31" fmla="*/ 1290 h 1639"/>
                <a:gd name="T32" fmla="*/ 423 w 1370"/>
                <a:gd name="T33" fmla="*/ 1575 h 1639"/>
                <a:gd name="T34" fmla="*/ 359 w 1370"/>
                <a:gd name="T35" fmla="*/ 1440 h 1639"/>
                <a:gd name="T36" fmla="*/ 160 w 1370"/>
                <a:gd name="T37" fmla="*/ 1408 h 1639"/>
                <a:gd name="T38" fmla="*/ 128 w 1370"/>
                <a:gd name="T39" fmla="*/ 1575 h 1639"/>
                <a:gd name="T40" fmla="*/ 64 w 1370"/>
                <a:gd name="T41" fmla="*/ 1543 h 1639"/>
                <a:gd name="T42" fmla="*/ 32 w 1370"/>
                <a:gd name="T43" fmla="*/ 1040 h 1639"/>
                <a:gd name="T44" fmla="*/ 0 w 1370"/>
                <a:gd name="T45" fmla="*/ 1543 h 1639"/>
                <a:gd name="T46" fmla="*/ 1274 w 1370"/>
                <a:gd name="T47" fmla="*/ 1639 h 1639"/>
                <a:gd name="T48" fmla="*/ 1370 w 1370"/>
                <a:gd name="T49" fmla="*/ 323 h 1639"/>
                <a:gd name="T50" fmla="*/ 1111 w 1370"/>
                <a:gd name="T51" fmla="*/ 291 h 1639"/>
                <a:gd name="T52" fmla="*/ 1079 w 1370"/>
                <a:gd name="T53" fmla="*/ 110 h 1639"/>
                <a:gd name="T54" fmla="*/ 1111 w 1370"/>
                <a:gd name="T55" fmla="*/ 291 h 1639"/>
                <a:gd name="T56" fmla="*/ 192 w 1370"/>
                <a:gd name="T57" fmla="*/ 1575 h 1639"/>
                <a:gd name="T58" fmla="*/ 295 w 1370"/>
                <a:gd name="T59" fmla="*/ 1472 h 1639"/>
                <a:gd name="T60" fmla="*/ 589 w 1370"/>
                <a:gd name="T61" fmla="*/ 1575 h 1639"/>
                <a:gd name="T62" fmla="*/ 487 w 1370"/>
                <a:gd name="T63" fmla="*/ 1354 h 1639"/>
                <a:gd name="T64" fmla="*/ 589 w 1370"/>
                <a:gd name="T65" fmla="*/ 1575 h 1639"/>
                <a:gd name="T66" fmla="*/ 781 w 1370"/>
                <a:gd name="T67" fmla="*/ 1575 h 1639"/>
                <a:gd name="T68" fmla="*/ 884 w 1370"/>
                <a:gd name="T69" fmla="*/ 1229 h 1639"/>
                <a:gd name="T70" fmla="*/ 1178 w 1370"/>
                <a:gd name="T71" fmla="*/ 1575 h 1639"/>
                <a:gd name="T72" fmla="*/ 1076 w 1370"/>
                <a:gd name="T73" fmla="*/ 1127 h 1639"/>
                <a:gd name="T74" fmla="*/ 1178 w 1370"/>
                <a:gd name="T75" fmla="*/ 1575 h 1639"/>
                <a:gd name="T76" fmla="*/ 1178 w 1370"/>
                <a:gd name="T77" fmla="*/ 1575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0" h="1639">
                  <a:moveTo>
                    <a:pt x="1361" y="301"/>
                  </a:moveTo>
                  <a:cubicBezTo>
                    <a:pt x="1069" y="10"/>
                    <a:pt x="1069" y="10"/>
                    <a:pt x="1069" y="10"/>
                  </a:cubicBezTo>
                  <a:cubicBezTo>
                    <a:pt x="1063" y="4"/>
                    <a:pt x="1055" y="0"/>
                    <a:pt x="1047" y="0"/>
                  </a:cubicBezTo>
                  <a:cubicBezTo>
                    <a:pt x="96" y="0"/>
                    <a:pt x="96" y="0"/>
                    <a:pt x="96" y="0"/>
                  </a:cubicBezTo>
                  <a:cubicBezTo>
                    <a:pt x="43" y="0"/>
                    <a:pt x="0" y="43"/>
                    <a:pt x="0" y="96"/>
                  </a:cubicBezTo>
                  <a:cubicBezTo>
                    <a:pt x="0" y="819"/>
                    <a:pt x="0" y="819"/>
                    <a:pt x="0" y="819"/>
                  </a:cubicBezTo>
                  <a:cubicBezTo>
                    <a:pt x="0" y="837"/>
                    <a:pt x="15" y="851"/>
                    <a:pt x="32" y="851"/>
                  </a:cubicBezTo>
                  <a:cubicBezTo>
                    <a:pt x="50" y="851"/>
                    <a:pt x="64" y="837"/>
                    <a:pt x="64" y="819"/>
                  </a:cubicBezTo>
                  <a:cubicBezTo>
                    <a:pt x="64" y="96"/>
                    <a:pt x="64" y="96"/>
                    <a:pt x="64" y="96"/>
                  </a:cubicBezTo>
                  <a:cubicBezTo>
                    <a:pt x="64" y="79"/>
                    <a:pt x="79" y="64"/>
                    <a:pt x="96" y="64"/>
                  </a:cubicBezTo>
                  <a:cubicBezTo>
                    <a:pt x="1015" y="64"/>
                    <a:pt x="1015" y="64"/>
                    <a:pt x="1015" y="64"/>
                  </a:cubicBezTo>
                  <a:cubicBezTo>
                    <a:pt x="1015" y="259"/>
                    <a:pt x="1015" y="259"/>
                    <a:pt x="1015" y="259"/>
                  </a:cubicBezTo>
                  <a:cubicBezTo>
                    <a:pt x="1015" y="312"/>
                    <a:pt x="1058" y="355"/>
                    <a:pt x="1111" y="355"/>
                  </a:cubicBezTo>
                  <a:cubicBezTo>
                    <a:pt x="1306" y="355"/>
                    <a:pt x="1306" y="355"/>
                    <a:pt x="1306" y="355"/>
                  </a:cubicBezTo>
                  <a:cubicBezTo>
                    <a:pt x="1306" y="1543"/>
                    <a:pt x="1306" y="1543"/>
                    <a:pt x="1306" y="1543"/>
                  </a:cubicBezTo>
                  <a:cubicBezTo>
                    <a:pt x="1306" y="1560"/>
                    <a:pt x="1292" y="1575"/>
                    <a:pt x="1274" y="1575"/>
                  </a:cubicBezTo>
                  <a:cubicBezTo>
                    <a:pt x="1242" y="1575"/>
                    <a:pt x="1242" y="1575"/>
                    <a:pt x="1242" y="1575"/>
                  </a:cubicBezTo>
                  <a:cubicBezTo>
                    <a:pt x="1242" y="1095"/>
                    <a:pt x="1242" y="1095"/>
                    <a:pt x="1242" y="1095"/>
                  </a:cubicBezTo>
                  <a:cubicBezTo>
                    <a:pt x="1242" y="1077"/>
                    <a:pt x="1228" y="1063"/>
                    <a:pt x="1210" y="1063"/>
                  </a:cubicBezTo>
                  <a:cubicBezTo>
                    <a:pt x="1044" y="1063"/>
                    <a:pt x="1044" y="1063"/>
                    <a:pt x="1044" y="1063"/>
                  </a:cubicBezTo>
                  <a:cubicBezTo>
                    <a:pt x="1026" y="1063"/>
                    <a:pt x="1012" y="1077"/>
                    <a:pt x="1012" y="1095"/>
                  </a:cubicBezTo>
                  <a:cubicBezTo>
                    <a:pt x="1012" y="1575"/>
                    <a:pt x="1012" y="1575"/>
                    <a:pt x="1012" y="1575"/>
                  </a:cubicBezTo>
                  <a:cubicBezTo>
                    <a:pt x="948" y="1575"/>
                    <a:pt x="948" y="1575"/>
                    <a:pt x="948" y="1575"/>
                  </a:cubicBezTo>
                  <a:cubicBezTo>
                    <a:pt x="948" y="1197"/>
                    <a:pt x="948" y="1197"/>
                    <a:pt x="948" y="1197"/>
                  </a:cubicBezTo>
                  <a:cubicBezTo>
                    <a:pt x="948" y="1180"/>
                    <a:pt x="933" y="1165"/>
                    <a:pt x="916" y="1165"/>
                  </a:cubicBezTo>
                  <a:cubicBezTo>
                    <a:pt x="749" y="1165"/>
                    <a:pt x="749" y="1165"/>
                    <a:pt x="749" y="1165"/>
                  </a:cubicBezTo>
                  <a:cubicBezTo>
                    <a:pt x="732" y="1165"/>
                    <a:pt x="717" y="1180"/>
                    <a:pt x="717" y="1197"/>
                  </a:cubicBezTo>
                  <a:cubicBezTo>
                    <a:pt x="717" y="1575"/>
                    <a:pt x="717" y="1575"/>
                    <a:pt x="717" y="1575"/>
                  </a:cubicBezTo>
                  <a:cubicBezTo>
                    <a:pt x="653" y="1575"/>
                    <a:pt x="653" y="1575"/>
                    <a:pt x="653" y="1575"/>
                  </a:cubicBezTo>
                  <a:cubicBezTo>
                    <a:pt x="653" y="1322"/>
                    <a:pt x="653" y="1322"/>
                    <a:pt x="653" y="1322"/>
                  </a:cubicBezTo>
                  <a:cubicBezTo>
                    <a:pt x="653" y="1304"/>
                    <a:pt x="639" y="1290"/>
                    <a:pt x="621" y="1290"/>
                  </a:cubicBezTo>
                  <a:cubicBezTo>
                    <a:pt x="455" y="1290"/>
                    <a:pt x="455" y="1290"/>
                    <a:pt x="455" y="1290"/>
                  </a:cubicBezTo>
                  <a:cubicBezTo>
                    <a:pt x="437" y="1290"/>
                    <a:pt x="423" y="1304"/>
                    <a:pt x="423" y="1322"/>
                  </a:cubicBezTo>
                  <a:cubicBezTo>
                    <a:pt x="423" y="1575"/>
                    <a:pt x="423" y="1575"/>
                    <a:pt x="423" y="1575"/>
                  </a:cubicBezTo>
                  <a:cubicBezTo>
                    <a:pt x="359" y="1575"/>
                    <a:pt x="359" y="1575"/>
                    <a:pt x="359" y="1575"/>
                  </a:cubicBezTo>
                  <a:cubicBezTo>
                    <a:pt x="359" y="1440"/>
                    <a:pt x="359" y="1440"/>
                    <a:pt x="359" y="1440"/>
                  </a:cubicBezTo>
                  <a:cubicBezTo>
                    <a:pt x="359" y="1423"/>
                    <a:pt x="344" y="1408"/>
                    <a:pt x="327" y="1408"/>
                  </a:cubicBezTo>
                  <a:cubicBezTo>
                    <a:pt x="160" y="1408"/>
                    <a:pt x="160" y="1408"/>
                    <a:pt x="160" y="1408"/>
                  </a:cubicBezTo>
                  <a:cubicBezTo>
                    <a:pt x="143" y="1408"/>
                    <a:pt x="128" y="1423"/>
                    <a:pt x="128" y="1440"/>
                  </a:cubicBezTo>
                  <a:cubicBezTo>
                    <a:pt x="128" y="1575"/>
                    <a:pt x="128" y="1575"/>
                    <a:pt x="128" y="1575"/>
                  </a:cubicBezTo>
                  <a:cubicBezTo>
                    <a:pt x="96" y="1575"/>
                    <a:pt x="96" y="1575"/>
                    <a:pt x="96" y="1575"/>
                  </a:cubicBezTo>
                  <a:cubicBezTo>
                    <a:pt x="79" y="1575"/>
                    <a:pt x="64" y="1560"/>
                    <a:pt x="64" y="1543"/>
                  </a:cubicBezTo>
                  <a:cubicBezTo>
                    <a:pt x="64" y="1072"/>
                    <a:pt x="64" y="1072"/>
                    <a:pt x="64" y="1072"/>
                  </a:cubicBezTo>
                  <a:cubicBezTo>
                    <a:pt x="64" y="1055"/>
                    <a:pt x="50" y="1040"/>
                    <a:pt x="32" y="1040"/>
                  </a:cubicBezTo>
                  <a:cubicBezTo>
                    <a:pt x="15" y="1040"/>
                    <a:pt x="0" y="1055"/>
                    <a:pt x="0" y="1072"/>
                  </a:cubicBezTo>
                  <a:cubicBezTo>
                    <a:pt x="0" y="1543"/>
                    <a:pt x="0" y="1543"/>
                    <a:pt x="0" y="1543"/>
                  </a:cubicBezTo>
                  <a:cubicBezTo>
                    <a:pt x="0" y="1596"/>
                    <a:pt x="43" y="1639"/>
                    <a:pt x="96" y="1639"/>
                  </a:cubicBezTo>
                  <a:cubicBezTo>
                    <a:pt x="1274" y="1639"/>
                    <a:pt x="1274" y="1639"/>
                    <a:pt x="1274" y="1639"/>
                  </a:cubicBezTo>
                  <a:cubicBezTo>
                    <a:pt x="1327" y="1639"/>
                    <a:pt x="1370" y="1596"/>
                    <a:pt x="1370" y="1543"/>
                  </a:cubicBezTo>
                  <a:cubicBezTo>
                    <a:pt x="1370" y="323"/>
                    <a:pt x="1370" y="323"/>
                    <a:pt x="1370" y="323"/>
                  </a:cubicBezTo>
                  <a:cubicBezTo>
                    <a:pt x="1370" y="315"/>
                    <a:pt x="1367" y="307"/>
                    <a:pt x="1361" y="301"/>
                  </a:cubicBezTo>
                  <a:close/>
                  <a:moveTo>
                    <a:pt x="1111" y="291"/>
                  </a:moveTo>
                  <a:cubicBezTo>
                    <a:pt x="1093" y="291"/>
                    <a:pt x="1079" y="277"/>
                    <a:pt x="1079" y="259"/>
                  </a:cubicBezTo>
                  <a:cubicBezTo>
                    <a:pt x="1079" y="110"/>
                    <a:pt x="1079" y="110"/>
                    <a:pt x="1079" y="110"/>
                  </a:cubicBezTo>
                  <a:cubicBezTo>
                    <a:pt x="1261" y="291"/>
                    <a:pt x="1261" y="291"/>
                    <a:pt x="1261" y="291"/>
                  </a:cubicBezTo>
                  <a:lnTo>
                    <a:pt x="1111" y="291"/>
                  </a:lnTo>
                  <a:close/>
                  <a:moveTo>
                    <a:pt x="295" y="1575"/>
                  </a:moveTo>
                  <a:cubicBezTo>
                    <a:pt x="192" y="1575"/>
                    <a:pt x="192" y="1575"/>
                    <a:pt x="192" y="1575"/>
                  </a:cubicBezTo>
                  <a:cubicBezTo>
                    <a:pt x="192" y="1472"/>
                    <a:pt x="192" y="1472"/>
                    <a:pt x="192" y="1472"/>
                  </a:cubicBezTo>
                  <a:cubicBezTo>
                    <a:pt x="295" y="1472"/>
                    <a:pt x="295" y="1472"/>
                    <a:pt x="295" y="1472"/>
                  </a:cubicBezTo>
                  <a:lnTo>
                    <a:pt x="295" y="1575"/>
                  </a:lnTo>
                  <a:close/>
                  <a:moveTo>
                    <a:pt x="589" y="1575"/>
                  </a:moveTo>
                  <a:cubicBezTo>
                    <a:pt x="487" y="1575"/>
                    <a:pt x="487" y="1575"/>
                    <a:pt x="487" y="1575"/>
                  </a:cubicBezTo>
                  <a:cubicBezTo>
                    <a:pt x="487" y="1354"/>
                    <a:pt x="487" y="1354"/>
                    <a:pt x="487" y="1354"/>
                  </a:cubicBezTo>
                  <a:cubicBezTo>
                    <a:pt x="589" y="1354"/>
                    <a:pt x="589" y="1354"/>
                    <a:pt x="589" y="1354"/>
                  </a:cubicBezTo>
                  <a:lnTo>
                    <a:pt x="589" y="1575"/>
                  </a:lnTo>
                  <a:close/>
                  <a:moveTo>
                    <a:pt x="884" y="1575"/>
                  </a:moveTo>
                  <a:cubicBezTo>
                    <a:pt x="781" y="1575"/>
                    <a:pt x="781" y="1575"/>
                    <a:pt x="781" y="1575"/>
                  </a:cubicBezTo>
                  <a:cubicBezTo>
                    <a:pt x="781" y="1229"/>
                    <a:pt x="781" y="1229"/>
                    <a:pt x="781" y="1229"/>
                  </a:cubicBezTo>
                  <a:cubicBezTo>
                    <a:pt x="884" y="1229"/>
                    <a:pt x="884" y="1229"/>
                    <a:pt x="884" y="1229"/>
                  </a:cubicBezTo>
                  <a:lnTo>
                    <a:pt x="884" y="1575"/>
                  </a:lnTo>
                  <a:close/>
                  <a:moveTo>
                    <a:pt x="1178" y="1575"/>
                  </a:moveTo>
                  <a:cubicBezTo>
                    <a:pt x="1076" y="1575"/>
                    <a:pt x="1076" y="1575"/>
                    <a:pt x="1076" y="1575"/>
                  </a:cubicBezTo>
                  <a:cubicBezTo>
                    <a:pt x="1076" y="1127"/>
                    <a:pt x="1076" y="1127"/>
                    <a:pt x="1076" y="1127"/>
                  </a:cubicBezTo>
                  <a:cubicBezTo>
                    <a:pt x="1178" y="1127"/>
                    <a:pt x="1178" y="1127"/>
                    <a:pt x="1178" y="1127"/>
                  </a:cubicBezTo>
                  <a:lnTo>
                    <a:pt x="1178" y="1575"/>
                  </a:lnTo>
                  <a:close/>
                  <a:moveTo>
                    <a:pt x="1178" y="1575"/>
                  </a:moveTo>
                  <a:cubicBezTo>
                    <a:pt x="1178" y="1575"/>
                    <a:pt x="1178" y="1575"/>
                    <a:pt x="1178" y="15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562"/>
            <p:cNvSpPr>
              <a:spLocks noEditPoints="1"/>
            </p:cNvSpPr>
            <p:nvPr/>
          </p:nvSpPr>
          <p:spPr bwMode="auto">
            <a:xfrm>
              <a:off x="1236" y="1107"/>
              <a:ext cx="995" cy="1043"/>
            </a:xfrm>
            <a:custGeom>
              <a:avLst/>
              <a:gdLst>
                <a:gd name="T0" fmla="*/ 377 w 525"/>
                <a:gd name="T1" fmla="*/ 231 h 551"/>
                <a:gd name="T2" fmla="*/ 397 w 525"/>
                <a:gd name="T3" fmla="*/ 160 h 551"/>
                <a:gd name="T4" fmla="*/ 397 w 525"/>
                <a:gd name="T5" fmla="*/ 135 h 551"/>
                <a:gd name="T6" fmla="*/ 263 w 525"/>
                <a:gd name="T7" fmla="*/ 0 h 551"/>
                <a:gd name="T8" fmla="*/ 128 w 525"/>
                <a:gd name="T9" fmla="*/ 135 h 551"/>
                <a:gd name="T10" fmla="*/ 128 w 525"/>
                <a:gd name="T11" fmla="*/ 160 h 551"/>
                <a:gd name="T12" fmla="*/ 149 w 525"/>
                <a:gd name="T13" fmla="*/ 231 h 551"/>
                <a:gd name="T14" fmla="*/ 0 w 525"/>
                <a:gd name="T15" fmla="*/ 391 h 551"/>
                <a:gd name="T16" fmla="*/ 0 w 525"/>
                <a:gd name="T17" fmla="*/ 519 h 551"/>
                <a:gd name="T18" fmla="*/ 32 w 525"/>
                <a:gd name="T19" fmla="*/ 551 h 551"/>
                <a:gd name="T20" fmla="*/ 493 w 525"/>
                <a:gd name="T21" fmla="*/ 551 h 551"/>
                <a:gd name="T22" fmla="*/ 525 w 525"/>
                <a:gd name="T23" fmla="*/ 519 h 551"/>
                <a:gd name="T24" fmla="*/ 525 w 525"/>
                <a:gd name="T25" fmla="*/ 391 h 551"/>
                <a:gd name="T26" fmla="*/ 377 w 525"/>
                <a:gd name="T27" fmla="*/ 231 h 551"/>
                <a:gd name="T28" fmla="*/ 192 w 525"/>
                <a:gd name="T29" fmla="*/ 135 h 551"/>
                <a:gd name="T30" fmla="*/ 263 w 525"/>
                <a:gd name="T31" fmla="*/ 64 h 551"/>
                <a:gd name="T32" fmla="*/ 333 w 525"/>
                <a:gd name="T33" fmla="*/ 135 h 551"/>
                <a:gd name="T34" fmla="*/ 333 w 525"/>
                <a:gd name="T35" fmla="*/ 160 h 551"/>
                <a:gd name="T36" fmla="*/ 263 w 525"/>
                <a:gd name="T37" fmla="*/ 231 h 551"/>
                <a:gd name="T38" fmla="*/ 192 w 525"/>
                <a:gd name="T39" fmla="*/ 160 h 551"/>
                <a:gd name="T40" fmla="*/ 192 w 525"/>
                <a:gd name="T41" fmla="*/ 135 h 551"/>
                <a:gd name="T42" fmla="*/ 461 w 525"/>
                <a:gd name="T43" fmla="*/ 487 h 551"/>
                <a:gd name="T44" fmla="*/ 64 w 525"/>
                <a:gd name="T45" fmla="*/ 487 h 551"/>
                <a:gd name="T46" fmla="*/ 64 w 525"/>
                <a:gd name="T47" fmla="*/ 391 h 551"/>
                <a:gd name="T48" fmla="*/ 160 w 525"/>
                <a:gd name="T49" fmla="*/ 295 h 551"/>
                <a:gd name="T50" fmla="*/ 231 w 525"/>
                <a:gd name="T51" fmla="*/ 295 h 551"/>
                <a:gd name="T52" fmla="*/ 231 w 525"/>
                <a:gd name="T53" fmla="*/ 391 h 551"/>
                <a:gd name="T54" fmla="*/ 263 w 525"/>
                <a:gd name="T55" fmla="*/ 423 h 551"/>
                <a:gd name="T56" fmla="*/ 295 w 525"/>
                <a:gd name="T57" fmla="*/ 391 h 551"/>
                <a:gd name="T58" fmla="*/ 295 w 525"/>
                <a:gd name="T59" fmla="*/ 295 h 551"/>
                <a:gd name="T60" fmla="*/ 365 w 525"/>
                <a:gd name="T61" fmla="*/ 295 h 551"/>
                <a:gd name="T62" fmla="*/ 461 w 525"/>
                <a:gd name="T63" fmla="*/ 391 h 551"/>
                <a:gd name="T64" fmla="*/ 461 w 525"/>
                <a:gd name="T65" fmla="*/ 487 h 551"/>
                <a:gd name="T66" fmla="*/ 461 w 525"/>
                <a:gd name="T67" fmla="*/ 487 h 551"/>
                <a:gd name="T68" fmla="*/ 461 w 525"/>
                <a:gd name="T69" fmla="*/ 48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5" h="551">
                  <a:moveTo>
                    <a:pt x="377" y="231"/>
                  </a:moveTo>
                  <a:cubicBezTo>
                    <a:pt x="390" y="211"/>
                    <a:pt x="397" y="186"/>
                    <a:pt x="397" y="160"/>
                  </a:cubicBezTo>
                  <a:cubicBezTo>
                    <a:pt x="397" y="135"/>
                    <a:pt x="397" y="135"/>
                    <a:pt x="397" y="135"/>
                  </a:cubicBezTo>
                  <a:cubicBezTo>
                    <a:pt x="397" y="61"/>
                    <a:pt x="337" y="0"/>
                    <a:pt x="263" y="0"/>
                  </a:cubicBezTo>
                  <a:cubicBezTo>
                    <a:pt x="189" y="0"/>
                    <a:pt x="128" y="61"/>
                    <a:pt x="128" y="135"/>
                  </a:cubicBezTo>
                  <a:cubicBezTo>
                    <a:pt x="128" y="160"/>
                    <a:pt x="128" y="160"/>
                    <a:pt x="128" y="160"/>
                  </a:cubicBezTo>
                  <a:cubicBezTo>
                    <a:pt x="128" y="186"/>
                    <a:pt x="136" y="211"/>
                    <a:pt x="149" y="231"/>
                  </a:cubicBezTo>
                  <a:cubicBezTo>
                    <a:pt x="66" y="237"/>
                    <a:pt x="0" y="306"/>
                    <a:pt x="0" y="391"/>
                  </a:cubicBezTo>
                  <a:cubicBezTo>
                    <a:pt x="0" y="519"/>
                    <a:pt x="0" y="519"/>
                    <a:pt x="0" y="519"/>
                  </a:cubicBezTo>
                  <a:cubicBezTo>
                    <a:pt x="0" y="536"/>
                    <a:pt x="15" y="551"/>
                    <a:pt x="32" y="551"/>
                  </a:cubicBezTo>
                  <a:cubicBezTo>
                    <a:pt x="493" y="551"/>
                    <a:pt x="493" y="551"/>
                    <a:pt x="493" y="551"/>
                  </a:cubicBezTo>
                  <a:cubicBezTo>
                    <a:pt x="511" y="551"/>
                    <a:pt x="525" y="536"/>
                    <a:pt x="525" y="519"/>
                  </a:cubicBezTo>
                  <a:cubicBezTo>
                    <a:pt x="525" y="391"/>
                    <a:pt x="525" y="391"/>
                    <a:pt x="525" y="391"/>
                  </a:cubicBezTo>
                  <a:cubicBezTo>
                    <a:pt x="525" y="306"/>
                    <a:pt x="460" y="237"/>
                    <a:pt x="377" y="231"/>
                  </a:cubicBezTo>
                  <a:close/>
                  <a:moveTo>
                    <a:pt x="192" y="135"/>
                  </a:moveTo>
                  <a:cubicBezTo>
                    <a:pt x="192" y="96"/>
                    <a:pt x="224" y="64"/>
                    <a:pt x="263" y="64"/>
                  </a:cubicBezTo>
                  <a:cubicBezTo>
                    <a:pt x="302" y="64"/>
                    <a:pt x="333" y="96"/>
                    <a:pt x="333" y="135"/>
                  </a:cubicBezTo>
                  <a:cubicBezTo>
                    <a:pt x="333" y="160"/>
                    <a:pt x="333" y="160"/>
                    <a:pt x="333" y="160"/>
                  </a:cubicBezTo>
                  <a:cubicBezTo>
                    <a:pt x="333" y="199"/>
                    <a:pt x="302" y="231"/>
                    <a:pt x="263" y="231"/>
                  </a:cubicBezTo>
                  <a:cubicBezTo>
                    <a:pt x="224" y="231"/>
                    <a:pt x="192" y="199"/>
                    <a:pt x="192" y="160"/>
                  </a:cubicBezTo>
                  <a:lnTo>
                    <a:pt x="192" y="135"/>
                  </a:lnTo>
                  <a:close/>
                  <a:moveTo>
                    <a:pt x="461" y="487"/>
                  </a:moveTo>
                  <a:cubicBezTo>
                    <a:pt x="64" y="487"/>
                    <a:pt x="64" y="487"/>
                    <a:pt x="64" y="487"/>
                  </a:cubicBezTo>
                  <a:cubicBezTo>
                    <a:pt x="64" y="391"/>
                    <a:pt x="64" y="391"/>
                    <a:pt x="64" y="391"/>
                  </a:cubicBezTo>
                  <a:cubicBezTo>
                    <a:pt x="64" y="338"/>
                    <a:pt x="107" y="295"/>
                    <a:pt x="160" y="295"/>
                  </a:cubicBezTo>
                  <a:cubicBezTo>
                    <a:pt x="231" y="295"/>
                    <a:pt x="231" y="295"/>
                    <a:pt x="231" y="295"/>
                  </a:cubicBezTo>
                  <a:cubicBezTo>
                    <a:pt x="231" y="391"/>
                    <a:pt x="231" y="391"/>
                    <a:pt x="231" y="391"/>
                  </a:cubicBezTo>
                  <a:cubicBezTo>
                    <a:pt x="231" y="408"/>
                    <a:pt x="245" y="423"/>
                    <a:pt x="263" y="423"/>
                  </a:cubicBezTo>
                  <a:cubicBezTo>
                    <a:pt x="280" y="423"/>
                    <a:pt x="295" y="408"/>
                    <a:pt x="295" y="391"/>
                  </a:cubicBezTo>
                  <a:cubicBezTo>
                    <a:pt x="295" y="295"/>
                    <a:pt x="295" y="295"/>
                    <a:pt x="295" y="295"/>
                  </a:cubicBezTo>
                  <a:cubicBezTo>
                    <a:pt x="365" y="295"/>
                    <a:pt x="365" y="295"/>
                    <a:pt x="365" y="295"/>
                  </a:cubicBezTo>
                  <a:cubicBezTo>
                    <a:pt x="418" y="295"/>
                    <a:pt x="461" y="338"/>
                    <a:pt x="461" y="391"/>
                  </a:cubicBezTo>
                  <a:lnTo>
                    <a:pt x="461" y="487"/>
                  </a:lnTo>
                  <a:close/>
                  <a:moveTo>
                    <a:pt x="461" y="487"/>
                  </a:moveTo>
                  <a:cubicBezTo>
                    <a:pt x="461" y="487"/>
                    <a:pt x="461" y="487"/>
                    <a:pt x="461" y="4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563"/>
            <p:cNvSpPr>
              <a:spLocks noEditPoints="1"/>
            </p:cNvSpPr>
            <p:nvPr/>
          </p:nvSpPr>
          <p:spPr bwMode="auto">
            <a:xfrm>
              <a:off x="2352" y="1738"/>
              <a:ext cx="849" cy="121"/>
            </a:xfrm>
            <a:custGeom>
              <a:avLst/>
              <a:gdLst>
                <a:gd name="T0" fmla="*/ 416 w 448"/>
                <a:gd name="T1" fmla="*/ 0 h 64"/>
                <a:gd name="T2" fmla="*/ 32 w 448"/>
                <a:gd name="T3" fmla="*/ 0 h 64"/>
                <a:gd name="T4" fmla="*/ 0 w 448"/>
                <a:gd name="T5" fmla="*/ 32 h 64"/>
                <a:gd name="T6" fmla="*/ 32 w 448"/>
                <a:gd name="T7" fmla="*/ 64 h 64"/>
                <a:gd name="T8" fmla="*/ 416 w 448"/>
                <a:gd name="T9" fmla="*/ 64 h 64"/>
                <a:gd name="T10" fmla="*/ 448 w 448"/>
                <a:gd name="T11" fmla="*/ 32 h 64"/>
                <a:gd name="T12" fmla="*/ 416 w 448"/>
                <a:gd name="T13" fmla="*/ 0 h 64"/>
                <a:gd name="T14" fmla="*/ 416 w 448"/>
                <a:gd name="T15" fmla="*/ 0 h 64"/>
                <a:gd name="T16" fmla="*/ 416 w 448"/>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64">
                  <a:moveTo>
                    <a:pt x="416" y="0"/>
                  </a:moveTo>
                  <a:cubicBezTo>
                    <a:pt x="32" y="0"/>
                    <a:pt x="32" y="0"/>
                    <a:pt x="32" y="0"/>
                  </a:cubicBezTo>
                  <a:cubicBezTo>
                    <a:pt x="15" y="0"/>
                    <a:pt x="0" y="14"/>
                    <a:pt x="0" y="32"/>
                  </a:cubicBezTo>
                  <a:cubicBezTo>
                    <a:pt x="0" y="50"/>
                    <a:pt x="15" y="64"/>
                    <a:pt x="32" y="64"/>
                  </a:cubicBezTo>
                  <a:cubicBezTo>
                    <a:pt x="416" y="64"/>
                    <a:pt x="416" y="64"/>
                    <a:pt x="416" y="64"/>
                  </a:cubicBezTo>
                  <a:cubicBezTo>
                    <a:pt x="434" y="64"/>
                    <a:pt x="448" y="50"/>
                    <a:pt x="448" y="32"/>
                  </a:cubicBezTo>
                  <a:cubicBezTo>
                    <a:pt x="448" y="14"/>
                    <a:pt x="434" y="0"/>
                    <a:pt x="416" y="0"/>
                  </a:cubicBezTo>
                  <a:close/>
                  <a:moveTo>
                    <a:pt x="416" y="0"/>
                  </a:moveTo>
                  <a:cubicBezTo>
                    <a:pt x="416" y="0"/>
                    <a:pt x="416" y="0"/>
                    <a:pt x="4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564"/>
            <p:cNvSpPr>
              <a:spLocks noEditPoints="1"/>
            </p:cNvSpPr>
            <p:nvPr/>
          </p:nvSpPr>
          <p:spPr bwMode="auto">
            <a:xfrm>
              <a:off x="3080" y="2029"/>
              <a:ext cx="121" cy="121"/>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565"/>
            <p:cNvSpPr>
              <a:spLocks noEditPoints="1"/>
            </p:cNvSpPr>
            <p:nvPr/>
          </p:nvSpPr>
          <p:spPr bwMode="auto">
            <a:xfrm>
              <a:off x="2352" y="2029"/>
              <a:ext cx="589" cy="121"/>
            </a:xfrm>
            <a:custGeom>
              <a:avLst/>
              <a:gdLst>
                <a:gd name="T0" fmla="*/ 279 w 311"/>
                <a:gd name="T1" fmla="*/ 0 h 64"/>
                <a:gd name="T2" fmla="*/ 32 w 311"/>
                <a:gd name="T3" fmla="*/ 0 h 64"/>
                <a:gd name="T4" fmla="*/ 0 w 311"/>
                <a:gd name="T5" fmla="*/ 32 h 64"/>
                <a:gd name="T6" fmla="*/ 32 w 311"/>
                <a:gd name="T7" fmla="*/ 64 h 64"/>
                <a:gd name="T8" fmla="*/ 279 w 311"/>
                <a:gd name="T9" fmla="*/ 64 h 64"/>
                <a:gd name="T10" fmla="*/ 311 w 311"/>
                <a:gd name="T11" fmla="*/ 32 h 64"/>
                <a:gd name="T12" fmla="*/ 279 w 311"/>
                <a:gd name="T13" fmla="*/ 0 h 64"/>
                <a:gd name="T14" fmla="*/ 279 w 311"/>
                <a:gd name="T15" fmla="*/ 0 h 64"/>
                <a:gd name="T16" fmla="*/ 279 w 31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64">
                  <a:moveTo>
                    <a:pt x="279" y="0"/>
                  </a:moveTo>
                  <a:cubicBezTo>
                    <a:pt x="32" y="0"/>
                    <a:pt x="32" y="0"/>
                    <a:pt x="32" y="0"/>
                  </a:cubicBezTo>
                  <a:cubicBezTo>
                    <a:pt x="15" y="0"/>
                    <a:pt x="0" y="14"/>
                    <a:pt x="0" y="32"/>
                  </a:cubicBezTo>
                  <a:cubicBezTo>
                    <a:pt x="0" y="49"/>
                    <a:pt x="15" y="64"/>
                    <a:pt x="32" y="64"/>
                  </a:cubicBezTo>
                  <a:cubicBezTo>
                    <a:pt x="279" y="64"/>
                    <a:pt x="279" y="64"/>
                    <a:pt x="279" y="64"/>
                  </a:cubicBezTo>
                  <a:cubicBezTo>
                    <a:pt x="296" y="64"/>
                    <a:pt x="311" y="49"/>
                    <a:pt x="311" y="32"/>
                  </a:cubicBezTo>
                  <a:cubicBezTo>
                    <a:pt x="311" y="14"/>
                    <a:pt x="296" y="0"/>
                    <a:pt x="279" y="0"/>
                  </a:cubicBezTo>
                  <a:close/>
                  <a:moveTo>
                    <a:pt x="279" y="0"/>
                  </a:moveTo>
                  <a:cubicBezTo>
                    <a:pt x="279" y="0"/>
                    <a:pt x="279" y="0"/>
                    <a:pt x="2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566"/>
            <p:cNvSpPr>
              <a:spLocks noEditPoints="1"/>
            </p:cNvSpPr>
            <p:nvPr/>
          </p:nvSpPr>
          <p:spPr bwMode="auto">
            <a:xfrm>
              <a:off x="2352" y="1446"/>
              <a:ext cx="294" cy="121"/>
            </a:xfrm>
            <a:custGeom>
              <a:avLst/>
              <a:gdLst>
                <a:gd name="T0" fmla="*/ 123 w 155"/>
                <a:gd name="T1" fmla="*/ 0 h 64"/>
                <a:gd name="T2" fmla="*/ 32 w 155"/>
                <a:gd name="T3" fmla="*/ 0 h 64"/>
                <a:gd name="T4" fmla="*/ 0 w 155"/>
                <a:gd name="T5" fmla="*/ 32 h 64"/>
                <a:gd name="T6" fmla="*/ 32 w 155"/>
                <a:gd name="T7" fmla="*/ 64 h 64"/>
                <a:gd name="T8" fmla="*/ 123 w 155"/>
                <a:gd name="T9" fmla="*/ 64 h 64"/>
                <a:gd name="T10" fmla="*/ 155 w 155"/>
                <a:gd name="T11" fmla="*/ 32 h 64"/>
                <a:gd name="T12" fmla="*/ 123 w 155"/>
                <a:gd name="T13" fmla="*/ 0 h 64"/>
                <a:gd name="T14" fmla="*/ 123 w 155"/>
                <a:gd name="T15" fmla="*/ 0 h 64"/>
                <a:gd name="T16" fmla="*/ 123 w 15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64">
                  <a:moveTo>
                    <a:pt x="123" y="0"/>
                  </a:moveTo>
                  <a:cubicBezTo>
                    <a:pt x="32" y="0"/>
                    <a:pt x="32" y="0"/>
                    <a:pt x="32" y="0"/>
                  </a:cubicBezTo>
                  <a:cubicBezTo>
                    <a:pt x="15" y="0"/>
                    <a:pt x="0" y="15"/>
                    <a:pt x="0" y="32"/>
                  </a:cubicBezTo>
                  <a:cubicBezTo>
                    <a:pt x="0" y="50"/>
                    <a:pt x="15" y="64"/>
                    <a:pt x="32" y="64"/>
                  </a:cubicBezTo>
                  <a:cubicBezTo>
                    <a:pt x="123" y="64"/>
                    <a:pt x="123" y="64"/>
                    <a:pt x="123" y="64"/>
                  </a:cubicBezTo>
                  <a:cubicBezTo>
                    <a:pt x="141" y="64"/>
                    <a:pt x="155" y="50"/>
                    <a:pt x="155" y="32"/>
                  </a:cubicBezTo>
                  <a:cubicBezTo>
                    <a:pt x="155" y="15"/>
                    <a:pt x="141" y="0"/>
                    <a:pt x="123" y="0"/>
                  </a:cubicBezTo>
                  <a:close/>
                  <a:moveTo>
                    <a:pt x="123" y="0"/>
                  </a:moveTo>
                  <a:cubicBezTo>
                    <a:pt x="123" y="0"/>
                    <a:pt x="123" y="0"/>
                    <a:pt x="1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567"/>
            <p:cNvSpPr>
              <a:spLocks noEditPoints="1"/>
            </p:cNvSpPr>
            <p:nvPr/>
          </p:nvSpPr>
          <p:spPr bwMode="auto">
            <a:xfrm>
              <a:off x="1386" y="2355"/>
              <a:ext cx="1819" cy="742"/>
            </a:xfrm>
            <a:custGeom>
              <a:avLst/>
              <a:gdLst>
                <a:gd name="T0" fmla="*/ 953 w 960"/>
                <a:gd name="T1" fmla="*/ 16 h 392"/>
                <a:gd name="T2" fmla="*/ 926 w 960"/>
                <a:gd name="T3" fmla="*/ 0 h 392"/>
                <a:gd name="T4" fmla="*/ 845 w 960"/>
                <a:gd name="T5" fmla="*/ 0 h 392"/>
                <a:gd name="T6" fmla="*/ 813 w 960"/>
                <a:gd name="T7" fmla="*/ 32 h 392"/>
                <a:gd name="T8" fmla="*/ 825 w 960"/>
                <a:gd name="T9" fmla="*/ 58 h 392"/>
                <a:gd name="T10" fmla="*/ 412 w 960"/>
                <a:gd name="T11" fmla="*/ 268 h 392"/>
                <a:gd name="T12" fmla="*/ 339 w 960"/>
                <a:gd name="T13" fmla="*/ 195 h 392"/>
                <a:gd name="T14" fmla="*/ 302 w 960"/>
                <a:gd name="T15" fmla="*/ 189 h 392"/>
                <a:gd name="T16" fmla="*/ 22 w 960"/>
                <a:gd name="T17" fmla="*/ 332 h 392"/>
                <a:gd name="T18" fmla="*/ 8 w 960"/>
                <a:gd name="T19" fmla="*/ 375 h 392"/>
                <a:gd name="T20" fmla="*/ 37 w 960"/>
                <a:gd name="T21" fmla="*/ 392 h 392"/>
                <a:gd name="T22" fmla="*/ 51 w 960"/>
                <a:gd name="T23" fmla="*/ 389 h 392"/>
                <a:gd name="T24" fmla="*/ 310 w 960"/>
                <a:gd name="T25" fmla="*/ 257 h 392"/>
                <a:gd name="T26" fmla="*/ 384 w 960"/>
                <a:gd name="T27" fmla="*/ 330 h 392"/>
                <a:gd name="T28" fmla="*/ 421 w 960"/>
                <a:gd name="T29" fmla="*/ 336 h 392"/>
                <a:gd name="T30" fmla="*/ 859 w 960"/>
                <a:gd name="T31" fmla="*/ 112 h 392"/>
                <a:gd name="T32" fmla="*/ 876 w 960"/>
                <a:gd name="T33" fmla="*/ 132 h 392"/>
                <a:gd name="T34" fmla="*/ 890 w 960"/>
                <a:gd name="T35" fmla="*/ 136 h 392"/>
                <a:gd name="T36" fmla="*/ 919 w 960"/>
                <a:gd name="T37" fmla="*/ 118 h 392"/>
                <a:gd name="T38" fmla="*/ 948 w 960"/>
                <a:gd name="T39" fmla="*/ 61 h 392"/>
                <a:gd name="T40" fmla="*/ 949 w 960"/>
                <a:gd name="T41" fmla="*/ 58 h 392"/>
                <a:gd name="T42" fmla="*/ 955 w 960"/>
                <a:gd name="T43" fmla="*/ 47 h 392"/>
                <a:gd name="T44" fmla="*/ 953 w 960"/>
                <a:gd name="T45" fmla="*/ 16 h 392"/>
                <a:gd name="T46" fmla="*/ 953 w 960"/>
                <a:gd name="T47" fmla="*/ 16 h 392"/>
                <a:gd name="T48" fmla="*/ 953 w 960"/>
                <a:gd name="T49" fmla="*/ 1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0" h="392">
                  <a:moveTo>
                    <a:pt x="953" y="16"/>
                  </a:moveTo>
                  <a:cubicBezTo>
                    <a:pt x="948" y="6"/>
                    <a:pt x="937" y="0"/>
                    <a:pt x="926" y="0"/>
                  </a:cubicBezTo>
                  <a:cubicBezTo>
                    <a:pt x="845" y="0"/>
                    <a:pt x="845" y="0"/>
                    <a:pt x="845" y="0"/>
                  </a:cubicBezTo>
                  <a:cubicBezTo>
                    <a:pt x="827" y="0"/>
                    <a:pt x="813" y="15"/>
                    <a:pt x="813" y="32"/>
                  </a:cubicBezTo>
                  <a:cubicBezTo>
                    <a:pt x="813" y="43"/>
                    <a:pt x="818" y="52"/>
                    <a:pt x="825" y="58"/>
                  </a:cubicBezTo>
                  <a:cubicBezTo>
                    <a:pt x="412" y="268"/>
                    <a:pt x="412" y="268"/>
                    <a:pt x="412" y="268"/>
                  </a:cubicBezTo>
                  <a:cubicBezTo>
                    <a:pt x="339" y="195"/>
                    <a:pt x="339" y="195"/>
                    <a:pt x="339" y="195"/>
                  </a:cubicBezTo>
                  <a:cubicBezTo>
                    <a:pt x="329" y="185"/>
                    <a:pt x="314" y="183"/>
                    <a:pt x="302" y="189"/>
                  </a:cubicBezTo>
                  <a:cubicBezTo>
                    <a:pt x="22" y="332"/>
                    <a:pt x="22" y="332"/>
                    <a:pt x="22" y="332"/>
                  </a:cubicBezTo>
                  <a:cubicBezTo>
                    <a:pt x="6" y="340"/>
                    <a:pt x="0" y="359"/>
                    <a:pt x="8" y="375"/>
                  </a:cubicBezTo>
                  <a:cubicBezTo>
                    <a:pt x="14" y="386"/>
                    <a:pt x="25" y="392"/>
                    <a:pt x="37" y="392"/>
                  </a:cubicBezTo>
                  <a:cubicBezTo>
                    <a:pt x="42" y="392"/>
                    <a:pt x="46" y="391"/>
                    <a:pt x="51" y="389"/>
                  </a:cubicBezTo>
                  <a:cubicBezTo>
                    <a:pt x="310" y="257"/>
                    <a:pt x="310" y="257"/>
                    <a:pt x="310" y="257"/>
                  </a:cubicBezTo>
                  <a:cubicBezTo>
                    <a:pt x="384" y="330"/>
                    <a:pt x="384" y="330"/>
                    <a:pt x="384" y="330"/>
                  </a:cubicBezTo>
                  <a:cubicBezTo>
                    <a:pt x="393" y="340"/>
                    <a:pt x="408" y="342"/>
                    <a:pt x="421" y="336"/>
                  </a:cubicBezTo>
                  <a:cubicBezTo>
                    <a:pt x="859" y="112"/>
                    <a:pt x="859" y="112"/>
                    <a:pt x="859" y="112"/>
                  </a:cubicBezTo>
                  <a:cubicBezTo>
                    <a:pt x="862" y="121"/>
                    <a:pt x="867" y="128"/>
                    <a:pt x="876" y="132"/>
                  </a:cubicBezTo>
                  <a:cubicBezTo>
                    <a:pt x="880" y="135"/>
                    <a:pt x="885" y="136"/>
                    <a:pt x="890" y="136"/>
                  </a:cubicBezTo>
                  <a:cubicBezTo>
                    <a:pt x="902" y="136"/>
                    <a:pt x="913" y="129"/>
                    <a:pt x="919" y="118"/>
                  </a:cubicBezTo>
                  <a:cubicBezTo>
                    <a:pt x="948" y="61"/>
                    <a:pt x="948" y="61"/>
                    <a:pt x="948" y="61"/>
                  </a:cubicBezTo>
                  <a:cubicBezTo>
                    <a:pt x="948" y="60"/>
                    <a:pt x="949" y="59"/>
                    <a:pt x="949" y="58"/>
                  </a:cubicBezTo>
                  <a:cubicBezTo>
                    <a:pt x="955" y="47"/>
                    <a:pt x="955" y="47"/>
                    <a:pt x="955" y="47"/>
                  </a:cubicBezTo>
                  <a:cubicBezTo>
                    <a:pt x="960" y="37"/>
                    <a:pt x="959" y="25"/>
                    <a:pt x="953" y="16"/>
                  </a:cubicBezTo>
                  <a:close/>
                  <a:moveTo>
                    <a:pt x="953" y="16"/>
                  </a:moveTo>
                  <a:cubicBezTo>
                    <a:pt x="953" y="16"/>
                    <a:pt x="953" y="16"/>
                    <a:pt x="95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1" name="Group 4"/>
          <p:cNvGrpSpPr>
            <a:grpSpLocks noChangeAspect="1"/>
          </p:cNvGrpSpPr>
          <p:nvPr/>
        </p:nvGrpSpPr>
        <p:grpSpPr bwMode="auto">
          <a:xfrm>
            <a:off x="329676" y="1860791"/>
            <a:ext cx="457347" cy="457200"/>
            <a:chOff x="1503" y="728"/>
            <a:chExt cx="3102" cy="3101"/>
          </a:xfrm>
          <a:solidFill>
            <a:schemeClr val="accent1"/>
          </a:solidFill>
        </p:grpSpPr>
        <p:sp>
          <p:nvSpPr>
            <p:cNvPr id="572" name="Freeform 5"/>
            <p:cNvSpPr>
              <a:spLocks noEditPoints="1"/>
            </p:cNvSpPr>
            <p:nvPr/>
          </p:nvSpPr>
          <p:spPr bwMode="auto">
            <a:xfrm>
              <a:off x="4194" y="2324"/>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4"/>
                    <a:pt x="40" y="0"/>
                    <a:pt x="32" y="0"/>
                  </a:cubicBezTo>
                  <a:cubicBezTo>
                    <a:pt x="23" y="0"/>
                    <a:pt x="15" y="4"/>
                    <a:pt x="9" y="9"/>
                  </a:cubicBezTo>
                  <a:cubicBezTo>
                    <a:pt x="3" y="15"/>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6"/>
            <p:cNvSpPr>
              <a:spLocks noEditPoints="1"/>
            </p:cNvSpPr>
            <p:nvPr/>
          </p:nvSpPr>
          <p:spPr bwMode="auto">
            <a:xfrm>
              <a:off x="1503" y="728"/>
              <a:ext cx="2812" cy="2423"/>
            </a:xfrm>
            <a:custGeom>
              <a:avLst/>
              <a:gdLst>
                <a:gd name="T0" fmla="*/ 1312 w 1485"/>
                <a:gd name="T1" fmla="*/ 128 h 1280"/>
                <a:gd name="T2" fmla="*/ 1203 w 1485"/>
                <a:gd name="T3" fmla="*/ 0 h 1280"/>
                <a:gd name="T4" fmla="*/ 1094 w 1485"/>
                <a:gd name="T5" fmla="*/ 128 h 1280"/>
                <a:gd name="T6" fmla="*/ 851 w 1485"/>
                <a:gd name="T7" fmla="*/ 109 h 1280"/>
                <a:gd name="T8" fmla="*/ 634 w 1485"/>
                <a:gd name="T9" fmla="*/ 109 h 1280"/>
                <a:gd name="T10" fmla="*/ 390 w 1485"/>
                <a:gd name="T11" fmla="*/ 128 h 1280"/>
                <a:gd name="T12" fmla="*/ 282 w 1485"/>
                <a:gd name="T13" fmla="*/ 0 h 1280"/>
                <a:gd name="T14" fmla="*/ 173 w 1485"/>
                <a:gd name="T15" fmla="*/ 128 h 1280"/>
                <a:gd name="T16" fmla="*/ 0 w 1485"/>
                <a:gd name="T17" fmla="*/ 288 h 1280"/>
                <a:gd name="T18" fmla="*/ 96 w 1485"/>
                <a:gd name="T19" fmla="*/ 1280 h 1280"/>
                <a:gd name="T20" fmla="*/ 834 w 1485"/>
                <a:gd name="T21" fmla="*/ 1248 h 1280"/>
                <a:gd name="T22" fmla="*/ 96 w 1485"/>
                <a:gd name="T23" fmla="*/ 1216 h 1280"/>
                <a:gd name="T24" fmla="*/ 64 w 1485"/>
                <a:gd name="T25" fmla="*/ 288 h 1280"/>
                <a:gd name="T26" fmla="*/ 326 w 1485"/>
                <a:gd name="T27" fmla="*/ 192 h 1280"/>
                <a:gd name="T28" fmla="*/ 282 w 1485"/>
                <a:gd name="T29" fmla="*/ 260 h 1280"/>
                <a:gd name="T30" fmla="*/ 282 w 1485"/>
                <a:gd name="T31" fmla="*/ 324 h 1280"/>
                <a:gd name="T32" fmla="*/ 390 w 1485"/>
                <a:gd name="T33" fmla="*/ 192 h 1280"/>
                <a:gd name="T34" fmla="*/ 787 w 1485"/>
                <a:gd name="T35" fmla="*/ 215 h 1280"/>
                <a:gd name="T36" fmla="*/ 710 w 1485"/>
                <a:gd name="T37" fmla="*/ 292 h 1280"/>
                <a:gd name="T38" fmla="*/ 851 w 1485"/>
                <a:gd name="T39" fmla="*/ 215 h 1280"/>
                <a:gd name="T40" fmla="*/ 1248 w 1485"/>
                <a:gd name="T41" fmla="*/ 192 h 1280"/>
                <a:gd name="T42" fmla="*/ 1203 w 1485"/>
                <a:gd name="T43" fmla="*/ 260 h 1280"/>
                <a:gd name="T44" fmla="*/ 1203 w 1485"/>
                <a:gd name="T45" fmla="*/ 324 h 1280"/>
                <a:gd name="T46" fmla="*/ 1312 w 1485"/>
                <a:gd name="T47" fmla="*/ 192 h 1280"/>
                <a:gd name="T48" fmla="*/ 1421 w 1485"/>
                <a:gd name="T49" fmla="*/ 288 h 1280"/>
                <a:gd name="T50" fmla="*/ 301 w 1485"/>
                <a:gd name="T51" fmla="*/ 378 h 1280"/>
                <a:gd name="T52" fmla="*/ 301 w 1485"/>
                <a:gd name="T53" fmla="*/ 442 h 1280"/>
                <a:gd name="T54" fmla="*/ 1421 w 1485"/>
                <a:gd name="T55" fmla="*/ 738 h 1280"/>
                <a:gd name="T56" fmla="*/ 1485 w 1485"/>
                <a:gd name="T57" fmla="*/ 738 h 1280"/>
                <a:gd name="T58" fmla="*/ 1325 w 1485"/>
                <a:gd name="T59" fmla="*/ 128 h 1280"/>
                <a:gd name="T60" fmla="*/ 237 w 1485"/>
                <a:gd name="T61" fmla="*/ 128 h 1280"/>
                <a:gd name="T62" fmla="*/ 282 w 1485"/>
                <a:gd name="T63" fmla="*/ 64 h 1280"/>
                <a:gd name="T64" fmla="*/ 326 w 1485"/>
                <a:gd name="T65" fmla="*/ 128 h 1280"/>
                <a:gd name="T66" fmla="*/ 698 w 1485"/>
                <a:gd name="T67" fmla="*/ 128 h 1280"/>
                <a:gd name="T68" fmla="*/ 742 w 1485"/>
                <a:gd name="T69" fmla="*/ 64 h 1280"/>
                <a:gd name="T70" fmla="*/ 787 w 1485"/>
                <a:gd name="T71" fmla="*/ 128 h 1280"/>
                <a:gd name="T72" fmla="*/ 1158 w 1485"/>
                <a:gd name="T73" fmla="*/ 128 h 1280"/>
                <a:gd name="T74" fmla="*/ 1203 w 1485"/>
                <a:gd name="T75" fmla="*/ 64 h 1280"/>
                <a:gd name="T76" fmla="*/ 1248 w 1485"/>
                <a:gd name="T77" fmla="*/ 128 h 1280"/>
                <a:gd name="T78" fmla="*/ 1248 w 1485"/>
                <a:gd name="T79" fmla="*/ 12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5" h="1280">
                  <a:moveTo>
                    <a:pt x="1325" y="128"/>
                  </a:moveTo>
                  <a:cubicBezTo>
                    <a:pt x="1312" y="128"/>
                    <a:pt x="1312" y="128"/>
                    <a:pt x="1312" y="128"/>
                  </a:cubicBezTo>
                  <a:cubicBezTo>
                    <a:pt x="1312" y="109"/>
                    <a:pt x="1312" y="109"/>
                    <a:pt x="1312" y="109"/>
                  </a:cubicBezTo>
                  <a:cubicBezTo>
                    <a:pt x="1312" y="49"/>
                    <a:pt x="1263" y="0"/>
                    <a:pt x="1203" y="0"/>
                  </a:cubicBezTo>
                  <a:cubicBezTo>
                    <a:pt x="1143" y="0"/>
                    <a:pt x="1094" y="49"/>
                    <a:pt x="1094" y="109"/>
                  </a:cubicBezTo>
                  <a:cubicBezTo>
                    <a:pt x="1094" y="128"/>
                    <a:pt x="1094" y="128"/>
                    <a:pt x="1094" y="128"/>
                  </a:cubicBezTo>
                  <a:cubicBezTo>
                    <a:pt x="851" y="128"/>
                    <a:pt x="851" y="128"/>
                    <a:pt x="851" y="128"/>
                  </a:cubicBezTo>
                  <a:cubicBezTo>
                    <a:pt x="851" y="109"/>
                    <a:pt x="851" y="109"/>
                    <a:pt x="851" y="109"/>
                  </a:cubicBezTo>
                  <a:cubicBezTo>
                    <a:pt x="851" y="49"/>
                    <a:pt x="802" y="0"/>
                    <a:pt x="742" y="0"/>
                  </a:cubicBezTo>
                  <a:cubicBezTo>
                    <a:pt x="682" y="0"/>
                    <a:pt x="634" y="49"/>
                    <a:pt x="634" y="109"/>
                  </a:cubicBezTo>
                  <a:cubicBezTo>
                    <a:pt x="634" y="128"/>
                    <a:pt x="634" y="128"/>
                    <a:pt x="634" y="128"/>
                  </a:cubicBezTo>
                  <a:cubicBezTo>
                    <a:pt x="390" y="128"/>
                    <a:pt x="390" y="128"/>
                    <a:pt x="390" y="128"/>
                  </a:cubicBezTo>
                  <a:cubicBezTo>
                    <a:pt x="390" y="109"/>
                    <a:pt x="390" y="109"/>
                    <a:pt x="390" y="109"/>
                  </a:cubicBezTo>
                  <a:cubicBezTo>
                    <a:pt x="390" y="49"/>
                    <a:pt x="342" y="0"/>
                    <a:pt x="282" y="0"/>
                  </a:cubicBezTo>
                  <a:cubicBezTo>
                    <a:pt x="222" y="0"/>
                    <a:pt x="173" y="49"/>
                    <a:pt x="173" y="109"/>
                  </a:cubicBezTo>
                  <a:cubicBezTo>
                    <a:pt x="173" y="128"/>
                    <a:pt x="173" y="128"/>
                    <a:pt x="173" y="128"/>
                  </a:cubicBezTo>
                  <a:cubicBezTo>
                    <a:pt x="160" y="128"/>
                    <a:pt x="160" y="128"/>
                    <a:pt x="160" y="128"/>
                  </a:cubicBezTo>
                  <a:cubicBezTo>
                    <a:pt x="72" y="128"/>
                    <a:pt x="0" y="200"/>
                    <a:pt x="0" y="288"/>
                  </a:cubicBezTo>
                  <a:cubicBezTo>
                    <a:pt x="0" y="1184"/>
                    <a:pt x="0" y="1184"/>
                    <a:pt x="0" y="1184"/>
                  </a:cubicBezTo>
                  <a:cubicBezTo>
                    <a:pt x="0" y="1237"/>
                    <a:pt x="43" y="1280"/>
                    <a:pt x="96" y="1280"/>
                  </a:cubicBezTo>
                  <a:cubicBezTo>
                    <a:pt x="802" y="1280"/>
                    <a:pt x="802" y="1280"/>
                    <a:pt x="802" y="1280"/>
                  </a:cubicBezTo>
                  <a:cubicBezTo>
                    <a:pt x="820" y="1280"/>
                    <a:pt x="834" y="1266"/>
                    <a:pt x="834" y="1248"/>
                  </a:cubicBezTo>
                  <a:cubicBezTo>
                    <a:pt x="834" y="1230"/>
                    <a:pt x="820" y="1216"/>
                    <a:pt x="802" y="1216"/>
                  </a:cubicBezTo>
                  <a:cubicBezTo>
                    <a:pt x="96" y="1216"/>
                    <a:pt x="96" y="1216"/>
                    <a:pt x="96" y="1216"/>
                  </a:cubicBezTo>
                  <a:cubicBezTo>
                    <a:pt x="78" y="1216"/>
                    <a:pt x="64" y="1202"/>
                    <a:pt x="64" y="1184"/>
                  </a:cubicBezTo>
                  <a:cubicBezTo>
                    <a:pt x="64" y="288"/>
                    <a:pt x="64" y="288"/>
                    <a:pt x="64" y="288"/>
                  </a:cubicBezTo>
                  <a:cubicBezTo>
                    <a:pt x="64" y="235"/>
                    <a:pt x="107" y="192"/>
                    <a:pt x="160" y="192"/>
                  </a:cubicBezTo>
                  <a:cubicBezTo>
                    <a:pt x="326" y="192"/>
                    <a:pt x="326" y="192"/>
                    <a:pt x="326" y="192"/>
                  </a:cubicBezTo>
                  <a:cubicBezTo>
                    <a:pt x="326" y="215"/>
                    <a:pt x="326" y="215"/>
                    <a:pt x="326" y="215"/>
                  </a:cubicBezTo>
                  <a:cubicBezTo>
                    <a:pt x="326" y="240"/>
                    <a:pt x="306" y="260"/>
                    <a:pt x="282" y="260"/>
                  </a:cubicBezTo>
                  <a:cubicBezTo>
                    <a:pt x="264" y="260"/>
                    <a:pt x="250" y="274"/>
                    <a:pt x="250" y="292"/>
                  </a:cubicBezTo>
                  <a:cubicBezTo>
                    <a:pt x="250" y="309"/>
                    <a:pt x="264" y="324"/>
                    <a:pt x="282" y="324"/>
                  </a:cubicBezTo>
                  <a:cubicBezTo>
                    <a:pt x="342" y="324"/>
                    <a:pt x="390" y="275"/>
                    <a:pt x="390" y="215"/>
                  </a:cubicBezTo>
                  <a:cubicBezTo>
                    <a:pt x="390" y="192"/>
                    <a:pt x="390" y="192"/>
                    <a:pt x="390" y="192"/>
                  </a:cubicBezTo>
                  <a:cubicBezTo>
                    <a:pt x="787" y="192"/>
                    <a:pt x="787" y="192"/>
                    <a:pt x="787" y="192"/>
                  </a:cubicBezTo>
                  <a:cubicBezTo>
                    <a:pt x="787" y="215"/>
                    <a:pt x="787" y="215"/>
                    <a:pt x="787" y="215"/>
                  </a:cubicBezTo>
                  <a:cubicBezTo>
                    <a:pt x="787" y="240"/>
                    <a:pt x="767" y="260"/>
                    <a:pt x="742" y="260"/>
                  </a:cubicBezTo>
                  <a:cubicBezTo>
                    <a:pt x="725" y="260"/>
                    <a:pt x="710" y="274"/>
                    <a:pt x="710" y="292"/>
                  </a:cubicBezTo>
                  <a:cubicBezTo>
                    <a:pt x="710" y="309"/>
                    <a:pt x="725" y="324"/>
                    <a:pt x="742" y="324"/>
                  </a:cubicBezTo>
                  <a:cubicBezTo>
                    <a:pt x="802" y="324"/>
                    <a:pt x="851" y="275"/>
                    <a:pt x="851" y="215"/>
                  </a:cubicBezTo>
                  <a:cubicBezTo>
                    <a:pt x="851" y="192"/>
                    <a:pt x="851" y="192"/>
                    <a:pt x="851" y="192"/>
                  </a:cubicBezTo>
                  <a:cubicBezTo>
                    <a:pt x="1248" y="192"/>
                    <a:pt x="1248" y="192"/>
                    <a:pt x="1248" y="192"/>
                  </a:cubicBezTo>
                  <a:cubicBezTo>
                    <a:pt x="1248" y="215"/>
                    <a:pt x="1248" y="215"/>
                    <a:pt x="1248" y="215"/>
                  </a:cubicBezTo>
                  <a:cubicBezTo>
                    <a:pt x="1248" y="240"/>
                    <a:pt x="1228" y="260"/>
                    <a:pt x="1203" y="260"/>
                  </a:cubicBezTo>
                  <a:cubicBezTo>
                    <a:pt x="1185" y="260"/>
                    <a:pt x="1171" y="274"/>
                    <a:pt x="1171" y="292"/>
                  </a:cubicBezTo>
                  <a:cubicBezTo>
                    <a:pt x="1171" y="309"/>
                    <a:pt x="1185" y="324"/>
                    <a:pt x="1203" y="324"/>
                  </a:cubicBezTo>
                  <a:cubicBezTo>
                    <a:pt x="1263" y="324"/>
                    <a:pt x="1312" y="275"/>
                    <a:pt x="1312" y="215"/>
                  </a:cubicBezTo>
                  <a:cubicBezTo>
                    <a:pt x="1312" y="192"/>
                    <a:pt x="1312" y="192"/>
                    <a:pt x="1312" y="192"/>
                  </a:cubicBezTo>
                  <a:cubicBezTo>
                    <a:pt x="1325" y="192"/>
                    <a:pt x="1325" y="192"/>
                    <a:pt x="1325" y="192"/>
                  </a:cubicBezTo>
                  <a:cubicBezTo>
                    <a:pt x="1378" y="192"/>
                    <a:pt x="1421" y="235"/>
                    <a:pt x="1421" y="288"/>
                  </a:cubicBezTo>
                  <a:cubicBezTo>
                    <a:pt x="1421" y="378"/>
                    <a:pt x="1421" y="378"/>
                    <a:pt x="1421" y="378"/>
                  </a:cubicBezTo>
                  <a:cubicBezTo>
                    <a:pt x="301" y="378"/>
                    <a:pt x="301" y="378"/>
                    <a:pt x="301" y="378"/>
                  </a:cubicBezTo>
                  <a:cubicBezTo>
                    <a:pt x="283" y="378"/>
                    <a:pt x="269" y="392"/>
                    <a:pt x="269" y="410"/>
                  </a:cubicBezTo>
                  <a:cubicBezTo>
                    <a:pt x="269" y="427"/>
                    <a:pt x="283" y="442"/>
                    <a:pt x="301" y="442"/>
                  </a:cubicBezTo>
                  <a:cubicBezTo>
                    <a:pt x="1421" y="442"/>
                    <a:pt x="1421" y="442"/>
                    <a:pt x="1421" y="442"/>
                  </a:cubicBezTo>
                  <a:cubicBezTo>
                    <a:pt x="1421" y="738"/>
                    <a:pt x="1421" y="738"/>
                    <a:pt x="1421" y="738"/>
                  </a:cubicBezTo>
                  <a:cubicBezTo>
                    <a:pt x="1421" y="755"/>
                    <a:pt x="1435" y="770"/>
                    <a:pt x="1453" y="770"/>
                  </a:cubicBezTo>
                  <a:cubicBezTo>
                    <a:pt x="1470" y="770"/>
                    <a:pt x="1485" y="755"/>
                    <a:pt x="1485" y="738"/>
                  </a:cubicBezTo>
                  <a:cubicBezTo>
                    <a:pt x="1485" y="288"/>
                    <a:pt x="1485" y="288"/>
                    <a:pt x="1485" y="288"/>
                  </a:cubicBezTo>
                  <a:cubicBezTo>
                    <a:pt x="1485" y="200"/>
                    <a:pt x="1413" y="128"/>
                    <a:pt x="1325" y="128"/>
                  </a:cubicBezTo>
                  <a:close/>
                  <a:moveTo>
                    <a:pt x="326" y="128"/>
                  </a:moveTo>
                  <a:cubicBezTo>
                    <a:pt x="237" y="128"/>
                    <a:pt x="237" y="128"/>
                    <a:pt x="237" y="128"/>
                  </a:cubicBezTo>
                  <a:cubicBezTo>
                    <a:pt x="237" y="109"/>
                    <a:pt x="237" y="109"/>
                    <a:pt x="237" y="109"/>
                  </a:cubicBezTo>
                  <a:cubicBezTo>
                    <a:pt x="237" y="84"/>
                    <a:pt x="257" y="64"/>
                    <a:pt x="282" y="64"/>
                  </a:cubicBezTo>
                  <a:cubicBezTo>
                    <a:pt x="306" y="64"/>
                    <a:pt x="326" y="84"/>
                    <a:pt x="326" y="109"/>
                  </a:cubicBezTo>
                  <a:lnTo>
                    <a:pt x="326" y="128"/>
                  </a:lnTo>
                  <a:close/>
                  <a:moveTo>
                    <a:pt x="787" y="128"/>
                  </a:moveTo>
                  <a:cubicBezTo>
                    <a:pt x="698" y="128"/>
                    <a:pt x="698" y="128"/>
                    <a:pt x="698" y="128"/>
                  </a:cubicBezTo>
                  <a:cubicBezTo>
                    <a:pt x="698" y="109"/>
                    <a:pt x="698" y="109"/>
                    <a:pt x="698" y="109"/>
                  </a:cubicBezTo>
                  <a:cubicBezTo>
                    <a:pt x="698" y="84"/>
                    <a:pt x="718" y="64"/>
                    <a:pt x="742" y="64"/>
                  </a:cubicBezTo>
                  <a:cubicBezTo>
                    <a:pt x="767" y="64"/>
                    <a:pt x="787" y="84"/>
                    <a:pt x="787" y="109"/>
                  </a:cubicBezTo>
                  <a:lnTo>
                    <a:pt x="787" y="128"/>
                  </a:lnTo>
                  <a:close/>
                  <a:moveTo>
                    <a:pt x="1248" y="128"/>
                  </a:moveTo>
                  <a:cubicBezTo>
                    <a:pt x="1158" y="128"/>
                    <a:pt x="1158" y="128"/>
                    <a:pt x="1158" y="128"/>
                  </a:cubicBezTo>
                  <a:cubicBezTo>
                    <a:pt x="1158" y="109"/>
                    <a:pt x="1158" y="109"/>
                    <a:pt x="1158" y="109"/>
                  </a:cubicBezTo>
                  <a:cubicBezTo>
                    <a:pt x="1158" y="84"/>
                    <a:pt x="1178" y="64"/>
                    <a:pt x="1203" y="64"/>
                  </a:cubicBezTo>
                  <a:cubicBezTo>
                    <a:pt x="1228" y="64"/>
                    <a:pt x="1248" y="84"/>
                    <a:pt x="1248" y="109"/>
                  </a:cubicBezTo>
                  <a:lnTo>
                    <a:pt x="1248" y="128"/>
                  </a:lnTo>
                  <a:close/>
                  <a:moveTo>
                    <a:pt x="1248" y="128"/>
                  </a:moveTo>
                  <a:cubicBezTo>
                    <a:pt x="1248" y="128"/>
                    <a:pt x="1248" y="128"/>
                    <a:pt x="1248"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7"/>
            <p:cNvSpPr>
              <a:spLocks noEditPoints="1"/>
            </p:cNvSpPr>
            <p:nvPr/>
          </p:nvSpPr>
          <p:spPr bwMode="auto">
            <a:xfrm>
              <a:off x="1831" y="2400"/>
              <a:ext cx="460" cy="460"/>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79 h 243"/>
                <a:gd name="T12" fmla="*/ 64 w 243"/>
                <a:gd name="T13" fmla="*/ 122 h 243"/>
                <a:gd name="T14" fmla="*/ 121 w 243"/>
                <a:gd name="T15" fmla="*/ 64 h 243"/>
                <a:gd name="T16" fmla="*/ 179 w 243"/>
                <a:gd name="T17" fmla="*/ 122 h 243"/>
                <a:gd name="T18" fmla="*/ 121 w 243"/>
                <a:gd name="T19" fmla="*/ 179 h 243"/>
                <a:gd name="T20" fmla="*/ 121 w 243"/>
                <a:gd name="T21" fmla="*/ 179 h 243"/>
                <a:gd name="T22" fmla="*/ 121 w 243"/>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79"/>
                  </a:moveTo>
                  <a:cubicBezTo>
                    <a:pt x="90" y="179"/>
                    <a:pt x="64" y="153"/>
                    <a:pt x="64" y="122"/>
                  </a:cubicBezTo>
                  <a:cubicBezTo>
                    <a:pt x="64" y="90"/>
                    <a:pt x="90" y="64"/>
                    <a:pt x="121" y="64"/>
                  </a:cubicBezTo>
                  <a:cubicBezTo>
                    <a:pt x="153" y="64"/>
                    <a:pt x="179" y="90"/>
                    <a:pt x="179" y="122"/>
                  </a:cubicBezTo>
                  <a:cubicBezTo>
                    <a:pt x="179" y="153"/>
                    <a:pt x="153" y="179"/>
                    <a:pt x="121" y="179"/>
                  </a:cubicBezTo>
                  <a:close/>
                  <a:moveTo>
                    <a:pt x="121" y="179"/>
                  </a:moveTo>
                  <a:cubicBezTo>
                    <a:pt x="121" y="179"/>
                    <a:pt x="121" y="179"/>
                    <a:pt x="121"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8"/>
            <p:cNvSpPr>
              <a:spLocks noEditPoints="1"/>
            </p:cNvSpPr>
            <p:nvPr/>
          </p:nvSpPr>
          <p:spPr bwMode="auto">
            <a:xfrm>
              <a:off x="2395" y="2400"/>
              <a:ext cx="462" cy="460"/>
            </a:xfrm>
            <a:custGeom>
              <a:avLst/>
              <a:gdLst>
                <a:gd name="T0" fmla="*/ 122 w 244"/>
                <a:gd name="T1" fmla="*/ 0 h 243"/>
                <a:gd name="T2" fmla="*/ 0 w 244"/>
                <a:gd name="T3" fmla="*/ 122 h 243"/>
                <a:gd name="T4" fmla="*/ 122 w 244"/>
                <a:gd name="T5" fmla="*/ 243 h 243"/>
                <a:gd name="T6" fmla="*/ 244 w 244"/>
                <a:gd name="T7" fmla="*/ 122 h 243"/>
                <a:gd name="T8" fmla="*/ 122 w 244"/>
                <a:gd name="T9" fmla="*/ 0 h 243"/>
                <a:gd name="T10" fmla="*/ 122 w 244"/>
                <a:gd name="T11" fmla="*/ 179 h 243"/>
                <a:gd name="T12" fmla="*/ 64 w 244"/>
                <a:gd name="T13" fmla="*/ 122 h 243"/>
                <a:gd name="T14" fmla="*/ 122 w 244"/>
                <a:gd name="T15" fmla="*/ 64 h 243"/>
                <a:gd name="T16" fmla="*/ 180 w 244"/>
                <a:gd name="T17" fmla="*/ 122 h 243"/>
                <a:gd name="T18" fmla="*/ 122 w 244"/>
                <a:gd name="T19" fmla="*/ 179 h 243"/>
                <a:gd name="T20" fmla="*/ 122 w 244"/>
                <a:gd name="T21" fmla="*/ 179 h 243"/>
                <a:gd name="T22" fmla="*/ 122 w 244"/>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43">
                  <a:moveTo>
                    <a:pt x="122" y="0"/>
                  </a:moveTo>
                  <a:cubicBezTo>
                    <a:pt x="55" y="0"/>
                    <a:pt x="0" y="55"/>
                    <a:pt x="0" y="122"/>
                  </a:cubicBezTo>
                  <a:cubicBezTo>
                    <a:pt x="0" y="189"/>
                    <a:pt x="55" y="243"/>
                    <a:pt x="122" y="243"/>
                  </a:cubicBezTo>
                  <a:cubicBezTo>
                    <a:pt x="189" y="243"/>
                    <a:pt x="244" y="189"/>
                    <a:pt x="244" y="122"/>
                  </a:cubicBezTo>
                  <a:cubicBezTo>
                    <a:pt x="244" y="55"/>
                    <a:pt x="189" y="0"/>
                    <a:pt x="122" y="0"/>
                  </a:cubicBezTo>
                  <a:close/>
                  <a:moveTo>
                    <a:pt x="122" y="179"/>
                  </a:moveTo>
                  <a:cubicBezTo>
                    <a:pt x="90" y="179"/>
                    <a:pt x="64" y="153"/>
                    <a:pt x="64" y="122"/>
                  </a:cubicBezTo>
                  <a:cubicBezTo>
                    <a:pt x="64" y="90"/>
                    <a:pt x="90" y="64"/>
                    <a:pt x="122" y="64"/>
                  </a:cubicBezTo>
                  <a:cubicBezTo>
                    <a:pt x="154" y="64"/>
                    <a:pt x="180" y="90"/>
                    <a:pt x="180" y="122"/>
                  </a:cubicBezTo>
                  <a:cubicBezTo>
                    <a:pt x="180" y="153"/>
                    <a:pt x="154" y="179"/>
                    <a:pt x="122" y="179"/>
                  </a:cubicBezTo>
                  <a:close/>
                  <a:moveTo>
                    <a:pt x="122" y="179"/>
                  </a:moveTo>
                  <a:cubicBezTo>
                    <a:pt x="122" y="179"/>
                    <a:pt x="122" y="179"/>
                    <a:pt x="12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9"/>
            <p:cNvSpPr>
              <a:spLocks noEditPoints="1"/>
            </p:cNvSpPr>
            <p:nvPr/>
          </p:nvSpPr>
          <p:spPr bwMode="auto">
            <a:xfrm>
              <a:off x="2961" y="2400"/>
              <a:ext cx="460" cy="460"/>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122 w 243"/>
                <a:gd name="T11" fmla="*/ 179 h 243"/>
                <a:gd name="T12" fmla="*/ 64 w 243"/>
                <a:gd name="T13" fmla="*/ 122 h 243"/>
                <a:gd name="T14" fmla="*/ 122 w 243"/>
                <a:gd name="T15" fmla="*/ 64 h 243"/>
                <a:gd name="T16" fmla="*/ 179 w 243"/>
                <a:gd name="T17" fmla="*/ 122 h 243"/>
                <a:gd name="T18" fmla="*/ 122 w 243"/>
                <a:gd name="T19" fmla="*/ 179 h 243"/>
                <a:gd name="T20" fmla="*/ 122 w 243"/>
                <a:gd name="T21" fmla="*/ 179 h 243"/>
                <a:gd name="T22" fmla="*/ 122 w 243"/>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122" y="179"/>
                  </a:moveTo>
                  <a:cubicBezTo>
                    <a:pt x="90" y="179"/>
                    <a:pt x="64" y="153"/>
                    <a:pt x="64" y="122"/>
                  </a:cubicBezTo>
                  <a:cubicBezTo>
                    <a:pt x="64" y="90"/>
                    <a:pt x="90" y="64"/>
                    <a:pt x="122" y="64"/>
                  </a:cubicBezTo>
                  <a:cubicBezTo>
                    <a:pt x="153" y="64"/>
                    <a:pt x="179" y="90"/>
                    <a:pt x="179" y="122"/>
                  </a:cubicBezTo>
                  <a:cubicBezTo>
                    <a:pt x="179" y="153"/>
                    <a:pt x="153" y="179"/>
                    <a:pt x="122" y="179"/>
                  </a:cubicBezTo>
                  <a:close/>
                  <a:moveTo>
                    <a:pt x="122" y="179"/>
                  </a:moveTo>
                  <a:cubicBezTo>
                    <a:pt x="122" y="179"/>
                    <a:pt x="122" y="179"/>
                    <a:pt x="12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0"/>
            <p:cNvSpPr>
              <a:spLocks noEditPoints="1"/>
            </p:cNvSpPr>
            <p:nvPr/>
          </p:nvSpPr>
          <p:spPr bwMode="auto">
            <a:xfrm>
              <a:off x="1831" y="1769"/>
              <a:ext cx="460" cy="462"/>
            </a:xfrm>
            <a:custGeom>
              <a:avLst/>
              <a:gdLst>
                <a:gd name="T0" fmla="*/ 121 w 243"/>
                <a:gd name="T1" fmla="*/ 0 h 244"/>
                <a:gd name="T2" fmla="*/ 0 w 243"/>
                <a:gd name="T3" fmla="*/ 122 h 244"/>
                <a:gd name="T4" fmla="*/ 121 w 243"/>
                <a:gd name="T5" fmla="*/ 244 h 244"/>
                <a:gd name="T6" fmla="*/ 243 w 243"/>
                <a:gd name="T7" fmla="*/ 122 h 244"/>
                <a:gd name="T8" fmla="*/ 121 w 243"/>
                <a:gd name="T9" fmla="*/ 0 h 244"/>
                <a:gd name="T10" fmla="*/ 121 w 243"/>
                <a:gd name="T11" fmla="*/ 180 h 244"/>
                <a:gd name="T12" fmla="*/ 64 w 243"/>
                <a:gd name="T13" fmla="*/ 122 h 244"/>
                <a:gd name="T14" fmla="*/ 121 w 243"/>
                <a:gd name="T15" fmla="*/ 64 h 244"/>
                <a:gd name="T16" fmla="*/ 179 w 243"/>
                <a:gd name="T17" fmla="*/ 122 h 244"/>
                <a:gd name="T18" fmla="*/ 121 w 243"/>
                <a:gd name="T19" fmla="*/ 180 h 244"/>
                <a:gd name="T20" fmla="*/ 121 w 243"/>
                <a:gd name="T21" fmla="*/ 180 h 244"/>
                <a:gd name="T22" fmla="*/ 121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moveTo>
                    <a:pt x="121" y="180"/>
                  </a:moveTo>
                  <a:cubicBezTo>
                    <a:pt x="90" y="180"/>
                    <a:pt x="64" y="154"/>
                    <a:pt x="64" y="122"/>
                  </a:cubicBezTo>
                  <a:cubicBezTo>
                    <a:pt x="64" y="90"/>
                    <a:pt x="90" y="64"/>
                    <a:pt x="121" y="64"/>
                  </a:cubicBezTo>
                  <a:cubicBezTo>
                    <a:pt x="153" y="64"/>
                    <a:pt x="179" y="90"/>
                    <a:pt x="179" y="122"/>
                  </a:cubicBezTo>
                  <a:cubicBezTo>
                    <a:pt x="179" y="154"/>
                    <a:pt x="153" y="180"/>
                    <a:pt x="121" y="180"/>
                  </a:cubicBezTo>
                  <a:close/>
                  <a:moveTo>
                    <a:pt x="121" y="180"/>
                  </a:moveTo>
                  <a:cubicBezTo>
                    <a:pt x="121" y="180"/>
                    <a:pt x="121" y="180"/>
                    <a:pt x="121"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1"/>
            <p:cNvSpPr>
              <a:spLocks noEditPoints="1"/>
            </p:cNvSpPr>
            <p:nvPr/>
          </p:nvSpPr>
          <p:spPr bwMode="auto">
            <a:xfrm>
              <a:off x="2961" y="1769"/>
              <a:ext cx="460" cy="462"/>
            </a:xfrm>
            <a:custGeom>
              <a:avLst/>
              <a:gdLst>
                <a:gd name="T0" fmla="*/ 122 w 243"/>
                <a:gd name="T1" fmla="*/ 0 h 244"/>
                <a:gd name="T2" fmla="*/ 0 w 243"/>
                <a:gd name="T3" fmla="*/ 122 h 244"/>
                <a:gd name="T4" fmla="*/ 122 w 243"/>
                <a:gd name="T5" fmla="*/ 244 h 244"/>
                <a:gd name="T6" fmla="*/ 243 w 243"/>
                <a:gd name="T7" fmla="*/ 122 h 244"/>
                <a:gd name="T8" fmla="*/ 122 w 243"/>
                <a:gd name="T9" fmla="*/ 0 h 244"/>
                <a:gd name="T10" fmla="*/ 122 w 243"/>
                <a:gd name="T11" fmla="*/ 180 h 244"/>
                <a:gd name="T12" fmla="*/ 64 w 243"/>
                <a:gd name="T13" fmla="*/ 122 h 244"/>
                <a:gd name="T14" fmla="*/ 122 w 243"/>
                <a:gd name="T15" fmla="*/ 64 h 244"/>
                <a:gd name="T16" fmla="*/ 179 w 243"/>
                <a:gd name="T17" fmla="*/ 122 h 244"/>
                <a:gd name="T18" fmla="*/ 122 w 243"/>
                <a:gd name="T19" fmla="*/ 180 h 244"/>
                <a:gd name="T20" fmla="*/ 122 w 243"/>
                <a:gd name="T21" fmla="*/ 180 h 244"/>
                <a:gd name="T22" fmla="*/ 122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2" y="0"/>
                  </a:moveTo>
                  <a:cubicBezTo>
                    <a:pt x="55" y="0"/>
                    <a:pt x="0" y="55"/>
                    <a:pt x="0" y="122"/>
                  </a:cubicBezTo>
                  <a:cubicBezTo>
                    <a:pt x="0" y="189"/>
                    <a:pt x="55" y="244"/>
                    <a:pt x="122" y="244"/>
                  </a:cubicBezTo>
                  <a:cubicBezTo>
                    <a:pt x="189" y="244"/>
                    <a:pt x="243" y="189"/>
                    <a:pt x="243" y="122"/>
                  </a:cubicBezTo>
                  <a:cubicBezTo>
                    <a:pt x="243" y="55"/>
                    <a:pt x="189" y="0"/>
                    <a:pt x="122" y="0"/>
                  </a:cubicBezTo>
                  <a:close/>
                  <a:moveTo>
                    <a:pt x="122" y="180"/>
                  </a:moveTo>
                  <a:cubicBezTo>
                    <a:pt x="90" y="180"/>
                    <a:pt x="64" y="154"/>
                    <a:pt x="64" y="122"/>
                  </a:cubicBezTo>
                  <a:cubicBezTo>
                    <a:pt x="64" y="90"/>
                    <a:pt x="90" y="64"/>
                    <a:pt x="122" y="64"/>
                  </a:cubicBezTo>
                  <a:cubicBezTo>
                    <a:pt x="153" y="64"/>
                    <a:pt x="179" y="90"/>
                    <a:pt x="179" y="122"/>
                  </a:cubicBezTo>
                  <a:cubicBezTo>
                    <a:pt x="179" y="154"/>
                    <a:pt x="153" y="180"/>
                    <a:pt x="122" y="180"/>
                  </a:cubicBezTo>
                  <a:close/>
                  <a:moveTo>
                    <a:pt x="122" y="180"/>
                  </a:moveTo>
                  <a:cubicBezTo>
                    <a:pt x="122" y="180"/>
                    <a:pt x="122" y="180"/>
                    <a:pt x="122"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2"/>
            <p:cNvSpPr>
              <a:spLocks noEditPoints="1"/>
            </p:cNvSpPr>
            <p:nvPr/>
          </p:nvSpPr>
          <p:spPr bwMode="auto">
            <a:xfrm>
              <a:off x="3527" y="1769"/>
              <a:ext cx="461" cy="462"/>
            </a:xfrm>
            <a:custGeom>
              <a:avLst/>
              <a:gdLst>
                <a:gd name="T0" fmla="*/ 121 w 243"/>
                <a:gd name="T1" fmla="*/ 0 h 244"/>
                <a:gd name="T2" fmla="*/ 0 w 243"/>
                <a:gd name="T3" fmla="*/ 122 h 244"/>
                <a:gd name="T4" fmla="*/ 121 w 243"/>
                <a:gd name="T5" fmla="*/ 244 h 244"/>
                <a:gd name="T6" fmla="*/ 243 w 243"/>
                <a:gd name="T7" fmla="*/ 122 h 244"/>
                <a:gd name="T8" fmla="*/ 121 w 243"/>
                <a:gd name="T9" fmla="*/ 0 h 244"/>
                <a:gd name="T10" fmla="*/ 121 w 243"/>
                <a:gd name="T11" fmla="*/ 180 h 244"/>
                <a:gd name="T12" fmla="*/ 64 w 243"/>
                <a:gd name="T13" fmla="*/ 122 h 244"/>
                <a:gd name="T14" fmla="*/ 121 w 243"/>
                <a:gd name="T15" fmla="*/ 64 h 244"/>
                <a:gd name="T16" fmla="*/ 179 w 243"/>
                <a:gd name="T17" fmla="*/ 122 h 244"/>
                <a:gd name="T18" fmla="*/ 121 w 243"/>
                <a:gd name="T19" fmla="*/ 180 h 244"/>
                <a:gd name="T20" fmla="*/ 121 w 243"/>
                <a:gd name="T21" fmla="*/ 180 h 244"/>
                <a:gd name="T22" fmla="*/ 121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moveTo>
                    <a:pt x="121" y="180"/>
                  </a:moveTo>
                  <a:cubicBezTo>
                    <a:pt x="90" y="180"/>
                    <a:pt x="64" y="154"/>
                    <a:pt x="64" y="122"/>
                  </a:cubicBezTo>
                  <a:cubicBezTo>
                    <a:pt x="64" y="90"/>
                    <a:pt x="90" y="64"/>
                    <a:pt x="121" y="64"/>
                  </a:cubicBezTo>
                  <a:cubicBezTo>
                    <a:pt x="153" y="64"/>
                    <a:pt x="179" y="90"/>
                    <a:pt x="179" y="122"/>
                  </a:cubicBezTo>
                  <a:cubicBezTo>
                    <a:pt x="179" y="154"/>
                    <a:pt x="153" y="180"/>
                    <a:pt x="121" y="180"/>
                  </a:cubicBezTo>
                  <a:close/>
                  <a:moveTo>
                    <a:pt x="121" y="180"/>
                  </a:moveTo>
                  <a:cubicBezTo>
                    <a:pt x="121" y="180"/>
                    <a:pt x="121" y="180"/>
                    <a:pt x="121"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3"/>
            <p:cNvSpPr>
              <a:spLocks noEditPoints="1"/>
            </p:cNvSpPr>
            <p:nvPr/>
          </p:nvSpPr>
          <p:spPr bwMode="auto">
            <a:xfrm>
              <a:off x="2395" y="1769"/>
              <a:ext cx="462" cy="462"/>
            </a:xfrm>
            <a:custGeom>
              <a:avLst/>
              <a:gdLst>
                <a:gd name="T0" fmla="*/ 122 w 244"/>
                <a:gd name="T1" fmla="*/ 0 h 244"/>
                <a:gd name="T2" fmla="*/ 0 w 244"/>
                <a:gd name="T3" fmla="*/ 122 h 244"/>
                <a:gd name="T4" fmla="*/ 122 w 244"/>
                <a:gd name="T5" fmla="*/ 244 h 244"/>
                <a:gd name="T6" fmla="*/ 244 w 244"/>
                <a:gd name="T7" fmla="*/ 122 h 244"/>
                <a:gd name="T8" fmla="*/ 122 w 244"/>
                <a:gd name="T9" fmla="*/ 0 h 244"/>
                <a:gd name="T10" fmla="*/ 122 w 244"/>
                <a:gd name="T11" fmla="*/ 180 h 244"/>
                <a:gd name="T12" fmla="*/ 64 w 244"/>
                <a:gd name="T13" fmla="*/ 122 h 244"/>
                <a:gd name="T14" fmla="*/ 122 w 244"/>
                <a:gd name="T15" fmla="*/ 64 h 244"/>
                <a:gd name="T16" fmla="*/ 180 w 244"/>
                <a:gd name="T17" fmla="*/ 122 h 244"/>
                <a:gd name="T18" fmla="*/ 122 w 244"/>
                <a:gd name="T19" fmla="*/ 180 h 244"/>
                <a:gd name="T20" fmla="*/ 122 w 244"/>
                <a:gd name="T21" fmla="*/ 180 h 244"/>
                <a:gd name="T22" fmla="*/ 122 w 244"/>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44">
                  <a:moveTo>
                    <a:pt x="122" y="0"/>
                  </a:moveTo>
                  <a:cubicBezTo>
                    <a:pt x="55" y="0"/>
                    <a:pt x="0" y="55"/>
                    <a:pt x="0" y="122"/>
                  </a:cubicBezTo>
                  <a:cubicBezTo>
                    <a:pt x="0" y="189"/>
                    <a:pt x="55" y="244"/>
                    <a:pt x="122" y="244"/>
                  </a:cubicBezTo>
                  <a:cubicBezTo>
                    <a:pt x="189" y="244"/>
                    <a:pt x="244" y="189"/>
                    <a:pt x="244" y="122"/>
                  </a:cubicBezTo>
                  <a:cubicBezTo>
                    <a:pt x="244" y="55"/>
                    <a:pt x="189" y="0"/>
                    <a:pt x="122" y="0"/>
                  </a:cubicBezTo>
                  <a:close/>
                  <a:moveTo>
                    <a:pt x="122" y="180"/>
                  </a:moveTo>
                  <a:cubicBezTo>
                    <a:pt x="90" y="180"/>
                    <a:pt x="64" y="154"/>
                    <a:pt x="64" y="122"/>
                  </a:cubicBezTo>
                  <a:cubicBezTo>
                    <a:pt x="64" y="90"/>
                    <a:pt x="90" y="64"/>
                    <a:pt x="122" y="64"/>
                  </a:cubicBezTo>
                  <a:cubicBezTo>
                    <a:pt x="154" y="64"/>
                    <a:pt x="180" y="90"/>
                    <a:pt x="180" y="122"/>
                  </a:cubicBezTo>
                  <a:cubicBezTo>
                    <a:pt x="180" y="154"/>
                    <a:pt x="154" y="180"/>
                    <a:pt x="122" y="180"/>
                  </a:cubicBezTo>
                  <a:close/>
                  <a:moveTo>
                    <a:pt x="122" y="180"/>
                  </a:moveTo>
                  <a:cubicBezTo>
                    <a:pt x="122" y="180"/>
                    <a:pt x="122" y="180"/>
                    <a:pt x="122"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4"/>
            <p:cNvSpPr>
              <a:spLocks noEditPoints="1"/>
            </p:cNvSpPr>
            <p:nvPr/>
          </p:nvSpPr>
          <p:spPr bwMode="auto">
            <a:xfrm>
              <a:off x="1776" y="1444"/>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5"/>
            <p:cNvSpPr>
              <a:spLocks noEditPoints="1"/>
            </p:cNvSpPr>
            <p:nvPr/>
          </p:nvSpPr>
          <p:spPr bwMode="auto">
            <a:xfrm>
              <a:off x="3272" y="2496"/>
              <a:ext cx="1333" cy="1333"/>
            </a:xfrm>
            <a:custGeom>
              <a:avLst/>
              <a:gdLst>
                <a:gd name="T0" fmla="*/ 352 w 704"/>
                <a:gd name="T1" fmla="*/ 0 h 704"/>
                <a:gd name="T2" fmla="*/ 0 w 704"/>
                <a:gd name="T3" fmla="*/ 352 h 704"/>
                <a:gd name="T4" fmla="*/ 352 w 704"/>
                <a:gd name="T5" fmla="*/ 704 h 704"/>
                <a:gd name="T6" fmla="*/ 704 w 704"/>
                <a:gd name="T7" fmla="*/ 352 h 704"/>
                <a:gd name="T8" fmla="*/ 352 w 704"/>
                <a:gd name="T9" fmla="*/ 0 h 704"/>
                <a:gd name="T10" fmla="*/ 352 w 704"/>
                <a:gd name="T11" fmla="*/ 640 h 704"/>
                <a:gd name="T12" fmla="*/ 64 w 704"/>
                <a:gd name="T13" fmla="*/ 352 h 704"/>
                <a:gd name="T14" fmla="*/ 352 w 704"/>
                <a:gd name="T15" fmla="*/ 64 h 704"/>
                <a:gd name="T16" fmla="*/ 640 w 704"/>
                <a:gd name="T17" fmla="*/ 352 h 704"/>
                <a:gd name="T18" fmla="*/ 352 w 704"/>
                <a:gd name="T19" fmla="*/ 640 h 704"/>
                <a:gd name="T20" fmla="*/ 352 w 704"/>
                <a:gd name="T21" fmla="*/ 640 h 704"/>
                <a:gd name="T22" fmla="*/ 352 w 704"/>
                <a:gd name="T2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4" h="704">
                  <a:moveTo>
                    <a:pt x="352" y="0"/>
                  </a:moveTo>
                  <a:cubicBezTo>
                    <a:pt x="158" y="0"/>
                    <a:pt x="0" y="158"/>
                    <a:pt x="0" y="352"/>
                  </a:cubicBezTo>
                  <a:cubicBezTo>
                    <a:pt x="0" y="547"/>
                    <a:pt x="158" y="704"/>
                    <a:pt x="352" y="704"/>
                  </a:cubicBezTo>
                  <a:cubicBezTo>
                    <a:pt x="546" y="704"/>
                    <a:pt x="704" y="547"/>
                    <a:pt x="704" y="352"/>
                  </a:cubicBezTo>
                  <a:cubicBezTo>
                    <a:pt x="704" y="158"/>
                    <a:pt x="546" y="0"/>
                    <a:pt x="352" y="0"/>
                  </a:cubicBezTo>
                  <a:close/>
                  <a:moveTo>
                    <a:pt x="352" y="640"/>
                  </a:moveTo>
                  <a:cubicBezTo>
                    <a:pt x="194" y="640"/>
                    <a:pt x="64" y="511"/>
                    <a:pt x="64" y="352"/>
                  </a:cubicBezTo>
                  <a:cubicBezTo>
                    <a:pt x="64" y="194"/>
                    <a:pt x="194" y="64"/>
                    <a:pt x="352" y="64"/>
                  </a:cubicBezTo>
                  <a:cubicBezTo>
                    <a:pt x="511" y="64"/>
                    <a:pt x="640" y="194"/>
                    <a:pt x="640" y="352"/>
                  </a:cubicBezTo>
                  <a:cubicBezTo>
                    <a:pt x="640" y="511"/>
                    <a:pt x="511" y="640"/>
                    <a:pt x="352" y="640"/>
                  </a:cubicBezTo>
                  <a:close/>
                  <a:moveTo>
                    <a:pt x="352" y="640"/>
                  </a:moveTo>
                  <a:cubicBezTo>
                    <a:pt x="352" y="640"/>
                    <a:pt x="352" y="640"/>
                    <a:pt x="352" y="6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16"/>
            <p:cNvSpPr>
              <a:spLocks noEditPoints="1"/>
            </p:cNvSpPr>
            <p:nvPr/>
          </p:nvSpPr>
          <p:spPr bwMode="auto">
            <a:xfrm>
              <a:off x="3522" y="2928"/>
              <a:ext cx="823" cy="456"/>
            </a:xfrm>
            <a:custGeom>
              <a:avLst/>
              <a:gdLst>
                <a:gd name="T0" fmla="*/ 403 w 435"/>
                <a:gd name="T1" fmla="*/ 0 h 241"/>
                <a:gd name="T2" fmla="*/ 332 w 435"/>
                <a:gd name="T3" fmla="*/ 0 h 241"/>
                <a:gd name="T4" fmla="*/ 300 w 435"/>
                <a:gd name="T5" fmla="*/ 32 h 241"/>
                <a:gd name="T6" fmla="*/ 323 w 435"/>
                <a:gd name="T7" fmla="*/ 62 h 241"/>
                <a:gd name="T8" fmla="*/ 235 w 435"/>
                <a:gd name="T9" fmla="*/ 149 h 241"/>
                <a:gd name="T10" fmla="*/ 165 w 435"/>
                <a:gd name="T11" fmla="*/ 79 h 241"/>
                <a:gd name="T12" fmla="*/ 119 w 435"/>
                <a:gd name="T13" fmla="*/ 79 h 241"/>
                <a:gd name="T14" fmla="*/ 12 w 435"/>
                <a:gd name="T15" fmla="*/ 186 h 241"/>
                <a:gd name="T16" fmla="*/ 12 w 435"/>
                <a:gd name="T17" fmla="*/ 231 h 241"/>
                <a:gd name="T18" fmla="*/ 35 w 435"/>
                <a:gd name="T19" fmla="*/ 241 h 241"/>
                <a:gd name="T20" fmla="*/ 57 w 435"/>
                <a:gd name="T21" fmla="*/ 231 h 241"/>
                <a:gd name="T22" fmla="*/ 142 w 435"/>
                <a:gd name="T23" fmla="*/ 147 h 241"/>
                <a:gd name="T24" fmla="*/ 213 w 435"/>
                <a:gd name="T25" fmla="*/ 217 h 241"/>
                <a:gd name="T26" fmla="*/ 258 w 435"/>
                <a:gd name="T27" fmla="*/ 217 h 241"/>
                <a:gd name="T28" fmla="*/ 371 w 435"/>
                <a:gd name="T29" fmla="*/ 104 h 241"/>
                <a:gd name="T30" fmla="*/ 403 w 435"/>
                <a:gd name="T31" fmla="*/ 134 h 241"/>
                <a:gd name="T32" fmla="*/ 435 w 435"/>
                <a:gd name="T33" fmla="*/ 102 h 241"/>
                <a:gd name="T34" fmla="*/ 435 w 435"/>
                <a:gd name="T35" fmla="*/ 32 h 241"/>
                <a:gd name="T36" fmla="*/ 403 w 435"/>
                <a:gd name="T37" fmla="*/ 0 h 241"/>
                <a:gd name="T38" fmla="*/ 403 w 435"/>
                <a:gd name="T39" fmla="*/ 0 h 241"/>
                <a:gd name="T40" fmla="*/ 403 w 435"/>
                <a:gd name="T41"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5" h="241">
                  <a:moveTo>
                    <a:pt x="403" y="0"/>
                  </a:moveTo>
                  <a:cubicBezTo>
                    <a:pt x="332" y="0"/>
                    <a:pt x="332" y="0"/>
                    <a:pt x="332" y="0"/>
                  </a:cubicBezTo>
                  <a:cubicBezTo>
                    <a:pt x="315" y="0"/>
                    <a:pt x="300" y="14"/>
                    <a:pt x="300" y="32"/>
                  </a:cubicBezTo>
                  <a:cubicBezTo>
                    <a:pt x="300" y="46"/>
                    <a:pt x="310" y="58"/>
                    <a:pt x="323" y="62"/>
                  </a:cubicBezTo>
                  <a:cubicBezTo>
                    <a:pt x="235" y="149"/>
                    <a:pt x="235" y="149"/>
                    <a:pt x="235" y="149"/>
                  </a:cubicBezTo>
                  <a:cubicBezTo>
                    <a:pt x="165" y="79"/>
                    <a:pt x="165" y="79"/>
                    <a:pt x="165" y="79"/>
                  </a:cubicBezTo>
                  <a:cubicBezTo>
                    <a:pt x="152" y="66"/>
                    <a:pt x="132" y="66"/>
                    <a:pt x="119" y="79"/>
                  </a:cubicBezTo>
                  <a:cubicBezTo>
                    <a:pt x="12" y="186"/>
                    <a:pt x="12" y="186"/>
                    <a:pt x="12" y="186"/>
                  </a:cubicBezTo>
                  <a:cubicBezTo>
                    <a:pt x="0" y="198"/>
                    <a:pt x="0" y="219"/>
                    <a:pt x="12" y="231"/>
                  </a:cubicBezTo>
                  <a:cubicBezTo>
                    <a:pt x="18" y="237"/>
                    <a:pt x="27" y="241"/>
                    <a:pt x="35" y="241"/>
                  </a:cubicBezTo>
                  <a:cubicBezTo>
                    <a:pt x="43" y="241"/>
                    <a:pt x="51" y="237"/>
                    <a:pt x="57" y="231"/>
                  </a:cubicBezTo>
                  <a:cubicBezTo>
                    <a:pt x="142" y="147"/>
                    <a:pt x="142" y="147"/>
                    <a:pt x="142" y="147"/>
                  </a:cubicBezTo>
                  <a:cubicBezTo>
                    <a:pt x="213" y="217"/>
                    <a:pt x="213" y="217"/>
                    <a:pt x="213" y="217"/>
                  </a:cubicBezTo>
                  <a:cubicBezTo>
                    <a:pt x="225" y="230"/>
                    <a:pt x="245" y="230"/>
                    <a:pt x="258" y="217"/>
                  </a:cubicBezTo>
                  <a:cubicBezTo>
                    <a:pt x="371" y="104"/>
                    <a:pt x="371" y="104"/>
                    <a:pt x="371" y="104"/>
                  </a:cubicBezTo>
                  <a:cubicBezTo>
                    <a:pt x="372" y="121"/>
                    <a:pt x="386" y="134"/>
                    <a:pt x="403" y="134"/>
                  </a:cubicBezTo>
                  <a:cubicBezTo>
                    <a:pt x="420" y="134"/>
                    <a:pt x="435" y="120"/>
                    <a:pt x="435" y="102"/>
                  </a:cubicBezTo>
                  <a:cubicBezTo>
                    <a:pt x="435" y="32"/>
                    <a:pt x="435" y="32"/>
                    <a:pt x="435" y="32"/>
                  </a:cubicBezTo>
                  <a:cubicBezTo>
                    <a:pt x="435" y="14"/>
                    <a:pt x="420" y="0"/>
                    <a:pt x="403" y="0"/>
                  </a:cubicBezTo>
                  <a:close/>
                  <a:moveTo>
                    <a:pt x="403" y="0"/>
                  </a:moveTo>
                  <a:cubicBezTo>
                    <a:pt x="403" y="0"/>
                    <a:pt x="403" y="0"/>
                    <a:pt x="4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19"/>
          <p:cNvGrpSpPr>
            <a:grpSpLocks noChangeAspect="1"/>
          </p:cNvGrpSpPr>
          <p:nvPr/>
        </p:nvGrpSpPr>
        <p:grpSpPr bwMode="auto">
          <a:xfrm>
            <a:off x="1633911" y="1860791"/>
            <a:ext cx="489057" cy="457200"/>
            <a:chOff x="3213" y="583"/>
            <a:chExt cx="3101" cy="2899"/>
          </a:xfrm>
          <a:solidFill>
            <a:schemeClr val="accent1"/>
          </a:solidFill>
        </p:grpSpPr>
        <p:sp>
          <p:nvSpPr>
            <p:cNvPr id="585" name="Freeform 20"/>
            <p:cNvSpPr>
              <a:spLocks noEditPoints="1"/>
            </p:cNvSpPr>
            <p:nvPr/>
          </p:nvSpPr>
          <p:spPr bwMode="auto">
            <a:xfrm>
              <a:off x="3529" y="1462"/>
              <a:ext cx="2471" cy="2020"/>
            </a:xfrm>
            <a:custGeom>
              <a:avLst/>
              <a:gdLst>
                <a:gd name="T0" fmla="*/ 1287 w 1305"/>
                <a:gd name="T1" fmla="*/ 310 h 1067"/>
                <a:gd name="T2" fmla="*/ 1108 w 1305"/>
                <a:gd name="T3" fmla="*/ 35 h 1067"/>
                <a:gd name="T4" fmla="*/ 1046 w 1305"/>
                <a:gd name="T5" fmla="*/ 0 h 1067"/>
                <a:gd name="T6" fmla="*/ 259 w 1305"/>
                <a:gd name="T7" fmla="*/ 0 h 1067"/>
                <a:gd name="T8" fmla="*/ 197 w 1305"/>
                <a:gd name="T9" fmla="*/ 34 h 1067"/>
                <a:gd name="T10" fmla="*/ 18 w 1305"/>
                <a:gd name="T11" fmla="*/ 310 h 1067"/>
                <a:gd name="T12" fmla="*/ 25 w 1305"/>
                <a:gd name="T13" fmla="*/ 400 h 1067"/>
                <a:gd name="T14" fmla="*/ 596 w 1305"/>
                <a:gd name="T15" fmla="*/ 1042 h 1067"/>
                <a:gd name="T16" fmla="*/ 652 w 1305"/>
                <a:gd name="T17" fmla="*/ 1067 h 1067"/>
                <a:gd name="T18" fmla="*/ 708 w 1305"/>
                <a:gd name="T19" fmla="*/ 1042 h 1067"/>
                <a:gd name="T20" fmla="*/ 1280 w 1305"/>
                <a:gd name="T21" fmla="*/ 400 h 1067"/>
                <a:gd name="T22" fmla="*/ 1287 w 1305"/>
                <a:gd name="T23" fmla="*/ 310 h 1067"/>
                <a:gd name="T24" fmla="*/ 1010 w 1305"/>
                <a:gd name="T25" fmla="*/ 64 h 1067"/>
                <a:gd name="T26" fmla="*/ 860 w 1305"/>
                <a:gd name="T27" fmla="*/ 296 h 1067"/>
                <a:gd name="T28" fmla="*/ 710 w 1305"/>
                <a:gd name="T29" fmla="*/ 64 h 1067"/>
                <a:gd name="T30" fmla="*/ 1010 w 1305"/>
                <a:gd name="T31" fmla="*/ 64 h 1067"/>
                <a:gd name="T32" fmla="*/ 801 w 1305"/>
                <a:gd name="T33" fmla="*/ 323 h 1067"/>
                <a:gd name="T34" fmla="*/ 503 w 1305"/>
                <a:gd name="T35" fmla="*/ 323 h 1067"/>
                <a:gd name="T36" fmla="*/ 652 w 1305"/>
                <a:gd name="T37" fmla="*/ 93 h 1067"/>
                <a:gd name="T38" fmla="*/ 801 w 1305"/>
                <a:gd name="T39" fmla="*/ 323 h 1067"/>
                <a:gd name="T40" fmla="*/ 595 w 1305"/>
                <a:gd name="T41" fmla="*/ 64 h 1067"/>
                <a:gd name="T42" fmla="*/ 445 w 1305"/>
                <a:gd name="T43" fmla="*/ 296 h 1067"/>
                <a:gd name="T44" fmla="*/ 296 w 1305"/>
                <a:gd name="T45" fmla="*/ 64 h 1067"/>
                <a:gd name="T46" fmla="*/ 595 w 1305"/>
                <a:gd name="T47" fmla="*/ 64 h 1067"/>
                <a:gd name="T48" fmla="*/ 236 w 1305"/>
                <a:gd name="T49" fmla="*/ 91 h 1067"/>
                <a:gd name="T50" fmla="*/ 387 w 1305"/>
                <a:gd name="T51" fmla="*/ 323 h 1067"/>
                <a:gd name="T52" fmla="*/ 85 w 1305"/>
                <a:gd name="T53" fmla="*/ 323 h 1067"/>
                <a:gd name="T54" fmla="*/ 236 w 1305"/>
                <a:gd name="T55" fmla="*/ 91 h 1067"/>
                <a:gd name="T56" fmla="*/ 99 w 1305"/>
                <a:gd name="T57" fmla="*/ 387 h 1067"/>
                <a:gd name="T58" fmla="*/ 421 w 1305"/>
                <a:gd name="T59" fmla="*/ 387 h 1067"/>
                <a:gd name="T60" fmla="*/ 591 w 1305"/>
                <a:gd name="T61" fmla="*/ 940 h 1067"/>
                <a:gd name="T62" fmla="*/ 99 w 1305"/>
                <a:gd name="T63" fmla="*/ 387 h 1067"/>
                <a:gd name="T64" fmla="*/ 652 w 1305"/>
                <a:gd name="T65" fmla="*/ 920 h 1067"/>
                <a:gd name="T66" fmla="*/ 488 w 1305"/>
                <a:gd name="T67" fmla="*/ 387 h 1067"/>
                <a:gd name="T68" fmla="*/ 816 w 1305"/>
                <a:gd name="T69" fmla="*/ 387 h 1067"/>
                <a:gd name="T70" fmla="*/ 652 w 1305"/>
                <a:gd name="T71" fmla="*/ 920 h 1067"/>
                <a:gd name="T72" fmla="*/ 713 w 1305"/>
                <a:gd name="T73" fmla="*/ 940 h 1067"/>
                <a:gd name="T74" fmla="*/ 883 w 1305"/>
                <a:gd name="T75" fmla="*/ 387 h 1067"/>
                <a:gd name="T76" fmla="*/ 1205 w 1305"/>
                <a:gd name="T77" fmla="*/ 387 h 1067"/>
                <a:gd name="T78" fmla="*/ 713 w 1305"/>
                <a:gd name="T79" fmla="*/ 940 h 1067"/>
                <a:gd name="T80" fmla="*/ 919 w 1305"/>
                <a:gd name="T81" fmla="*/ 323 h 1067"/>
                <a:gd name="T82" fmla="*/ 1069 w 1305"/>
                <a:gd name="T83" fmla="*/ 91 h 1067"/>
                <a:gd name="T84" fmla="*/ 1219 w 1305"/>
                <a:gd name="T85" fmla="*/ 323 h 1067"/>
                <a:gd name="T86" fmla="*/ 919 w 1305"/>
                <a:gd name="T87" fmla="*/ 323 h 1067"/>
                <a:gd name="T88" fmla="*/ 919 w 1305"/>
                <a:gd name="T89" fmla="*/ 323 h 1067"/>
                <a:gd name="T90" fmla="*/ 919 w 1305"/>
                <a:gd name="T91" fmla="*/ 323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5" h="1067">
                  <a:moveTo>
                    <a:pt x="1287" y="310"/>
                  </a:moveTo>
                  <a:cubicBezTo>
                    <a:pt x="1108" y="35"/>
                    <a:pt x="1108" y="35"/>
                    <a:pt x="1108" y="35"/>
                  </a:cubicBezTo>
                  <a:cubicBezTo>
                    <a:pt x="1095" y="13"/>
                    <a:pt x="1071" y="0"/>
                    <a:pt x="1046" y="0"/>
                  </a:cubicBezTo>
                  <a:cubicBezTo>
                    <a:pt x="259" y="0"/>
                    <a:pt x="259" y="0"/>
                    <a:pt x="259" y="0"/>
                  </a:cubicBezTo>
                  <a:cubicBezTo>
                    <a:pt x="234" y="0"/>
                    <a:pt x="210" y="13"/>
                    <a:pt x="197" y="34"/>
                  </a:cubicBezTo>
                  <a:cubicBezTo>
                    <a:pt x="18" y="310"/>
                    <a:pt x="18" y="310"/>
                    <a:pt x="18" y="310"/>
                  </a:cubicBezTo>
                  <a:cubicBezTo>
                    <a:pt x="0" y="338"/>
                    <a:pt x="2" y="375"/>
                    <a:pt x="25" y="400"/>
                  </a:cubicBezTo>
                  <a:cubicBezTo>
                    <a:pt x="596" y="1042"/>
                    <a:pt x="596" y="1042"/>
                    <a:pt x="596" y="1042"/>
                  </a:cubicBezTo>
                  <a:cubicBezTo>
                    <a:pt x="611" y="1058"/>
                    <a:pt x="631" y="1067"/>
                    <a:pt x="652" y="1067"/>
                  </a:cubicBezTo>
                  <a:cubicBezTo>
                    <a:pt x="673" y="1067"/>
                    <a:pt x="694" y="1058"/>
                    <a:pt x="708" y="1042"/>
                  </a:cubicBezTo>
                  <a:cubicBezTo>
                    <a:pt x="1280" y="400"/>
                    <a:pt x="1280" y="400"/>
                    <a:pt x="1280" y="400"/>
                  </a:cubicBezTo>
                  <a:cubicBezTo>
                    <a:pt x="1302" y="375"/>
                    <a:pt x="1305" y="338"/>
                    <a:pt x="1287" y="310"/>
                  </a:cubicBezTo>
                  <a:close/>
                  <a:moveTo>
                    <a:pt x="1010" y="64"/>
                  </a:moveTo>
                  <a:cubicBezTo>
                    <a:pt x="860" y="296"/>
                    <a:pt x="860" y="296"/>
                    <a:pt x="860" y="296"/>
                  </a:cubicBezTo>
                  <a:cubicBezTo>
                    <a:pt x="710" y="64"/>
                    <a:pt x="710" y="64"/>
                    <a:pt x="710" y="64"/>
                  </a:cubicBezTo>
                  <a:lnTo>
                    <a:pt x="1010" y="64"/>
                  </a:lnTo>
                  <a:close/>
                  <a:moveTo>
                    <a:pt x="801" y="323"/>
                  </a:moveTo>
                  <a:cubicBezTo>
                    <a:pt x="503" y="323"/>
                    <a:pt x="503" y="323"/>
                    <a:pt x="503" y="323"/>
                  </a:cubicBezTo>
                  <a:cubicBezTo>
                    <a:pt x="652" y="93"/>
                    <a:pt x="652" y="93"/>
                    <a:pt x="652" y="93"/>
                  </a:cubicBezTo>
                  <a:lnTo>
                    <a:pt x="801" y="323"/>
                  </a:lnTo>
                  <a:close/>
                  <a:moveTo>
                    <a:pt x="595" y="64"/>
                  </a:moveTo>
                  <a:cubicBezTo>
                    <a:pt x="445" y="296"/>
                    <a:pt x="445" y="296"/>
                    <a:pt x="445" y="296"/>
                  </a:cubicBezTo>
                  <a:cubicBezTo>
                    <a:pt x="296" y="64"/>
                    <a:pt x="296" y="64"/>
                    <a:pt x="296" y="64"/>
                  </a:cubicBezTo>
                  <a:lnTo>
                    <a:pt x="595" y="64"/>
                  </a:lnTo>
                  <a:close/>
                  <a:moveTo>
                    <a:pt x="236" y="91"/>
                  </a:moveTo>
                  <a:cubicBezTo>
                    <a:pt x="387" y="323"/>
                    <a:pt x="387" y="323"/>
                    <a:pt x="387" y="323"/>
                  </a:cubicBezTo>
                  <a:cubicBezTo>
                    <a:pt x="85" y="323"/>
                    <a:pt x="85" y="323"/>
                    <a:pt x="85" y="323"/>
                  </a:cubicBezTo>
                  <a:lnTo>
                    <a:pt x="236" y="91"/>
                  </a:lnTo>
                  <a:close/>
                  <a:moveTo>
                    <a:pt x="99" y="387"/>
                  </a:moveTo>
                  <a:cubicBezTo>
                    <a:pt x="421" y="387"/>
                    <a:pt x="421" y="387"/>
                    <a:pt x="421" y="387"/>
                  </a:cubicBezTo>
                  <a:cubicBezTo>
                    <a:pt x="591" y="940"/>
                    <a:pt x="591" y="940"/>
                    <a:pt x="591" y="940"/>
                  </a:cubicBezTo>
                  <a:lnTo>
                    <a:pt x="99" y="387"/>
                  </a:lnTo>
                  <a:close/>
                  <a:moveTo>
                    <a:pt x="652" y="920"/>
                  </a:moveTo>
                  <a:cubicBezTo>
                    <a:pt x="488" y="387"/>
                    <a:pt x="488" y="387"/>
                    <a:pt x="488" y="387"/>
                  </a:cubicBezTo>
                  <a:cubicBezTo>
                    <a:pt x="816" y="387"/>
                    <a:pt x="816" y="387"/>
                    <a:pt x="816" y="387"/>
                  </a:cubicBezTo>
                  <a:lnTo>
                    <a:pt x="652" y="920"/>
                  </a:lnTo>
                  <a:close/>
                  <a:moveTo>
                    <a:pt x="713" y="940"/>
                  </a:moveTo>
                  <a:cubicBezTo>
                    <a:pt x="883" y="387"/>
                    <a:pt x="883" y="387"/>
                    <a:pt x="883" y="387"/>
                  </a:cubicBezTo>
                  <a:cubicBezTo>
                    <a:pt x="1205" y="387"/>
                    <a:pt x="1205" y="387"/>
                    <a:pt x="1205" y="387"/>
                  </a:cubicBezTo>
                  <a:lnTo>
                    <a:pt x="713" y="940"/>
                  </a:lnTo>
                  <a:close/>
                  <a:moveTo>
                    <a:pt x="919" y="323"/>
                  </a:moveTo>
                  <a:cubicBezTo>
                    <a:pt x="1069" y="91"/>
                    <a:pt x="1069" y="91"/>
                    <a:pt x="1069" y="91"/>
                  </a:cubicBezTo>
                  <a:cubicBezTo>
                    <a:pt x="1219" y="323"/>
                    <a:pt x="1219" y="323"/>
                    <a:pt x="1219" y="323"/>
                  </a:cubicBezTo>
                  <a:lnTo>
                    <a:pt x="919" y="323"/>
                  </a:lnTo>
                  <a:close/>
                  <a:moveTo>
                    <a:pt x="919" y="323"/>
                  </a:moveTo>
                  <a:cubicBezTo>
                    <a:pt x="919" y="323"/>
                    <a:pt x="919" y="323"/>
                    <a:pt x="919" y="3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21"/>
            <p:cNvSpPr>
              <a:spLocks noEditPoints="1"/>
            </p:cNvSpPr>
            <p:nvPr/>
          </p:nvSpPr>
          <p:spPr bwMode="auto">
            <a:xfrm>
              <a:off x="3213" y="2073"/>
              <a:ext cx="244" cy="121"/>
            </a:xfrm>
            <a:custGeom>
              <a:avLst/>
              <a:gdLst>
                <a:gd name="T0" fmla="*/ 97 w 129"/>
                <a:gd name="T1" fmla="*/ 0 h 64"/>
                <a:gd name="T2" fmla="*/ 32 w 129"/>
                <a:gd name="T3" fmla="*/ 0 h 64"/>
                <a:gd name="T4" fmla="*/ 0 w 129"/>
                <a:gd name="T5" fmla="*/ 32 h 64"/>
                <a:gd name="T6" fmla="*/ 32 w 129"/>
                <a:gd name="T7" fmla="*/ 64 h 64"/>
                <a:gd name="T8" fmla="*/ 97 w 129"/>
                <a:gd name="T9" fmla="*/ 64 h 64"/>
                <a:gd name="T10" fmla="*/ 129 w 129"/>
                <a:gd name="T11" fmla="*/ 32 h 64"/>
                <a:gd name="T12" fmla="*/ 97 w 129"/>
                <a:gd name="T13" fmla="*/ 0 h 64"/>
                <a:gd name="T14" fmla="*/ 97 w 129"/>
                <a:gd name="T15" fmla="*/ 0 h 64"/>
                <a:gd name="T16" fmla="*/ 97 w 129"/>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64">
                  <a:moveTo>
                    <a:pt x="97" y="0"/>
                  </a:moveTo>
                  <a:cubicBezTo>
                    <a:pt x="32" y="0"/>
                    <a:pt x="32" y="0"/>
                    <a:pt x="32" y="0"/>
                  </a:cubicBezTo>
                  <a:cubicBezTo>
                    <a:pt x="14" y="0"/>
                    <a:pt x="0" y="15"/>
                    <a:pt x="0" y="32"/>
                  </a:cubicBezTo>
                  <a:cubicBezTo>
                    <a:pt x="0" y="50"/>
                    <a:pt x="14" y="64"/>
                    <a:pt x="32" y="64"/>
                  </a:cubicBezTo>
                  <a:cubicBezTo>
                    <a:pt x="97" y="64"/>
                    <a:pt x="97" y="64"/>
                    <a:pt x="97" y="64"/>
                  </a:cubicBezTo>
                  <a:cubicBezTo>
                    <a:pt x="115" y="64"/>
                    <a:pt x="129" y="50"/>
                    <a:pt x="129" y="32"/>
                  </a:cubicBezTo>
                  <a:cubicBezTo>
                    <a:pt x="129" y="15"/>
                    <a:pt x="115" y="0"/>
                    <a:pt x="97" y="0"/>
                  </a:cubicBezTo>
                  <a:close/>
                  <a:moveTo>
                    <a:pt x="97" y="0"/>
                  </a:move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22"/>
            <p:cNvSpPr>
              <a:spLocks noEditPoints="1"/>
            </p:cNvSpPr>
            <p:nvPr/>
          </p:nvSpPr>
          <p:spPr bwMode="auto">
            <a:xfrm>
              <a:off x="6070" y="2073"/>
              <a:ext cx="244" cy="121"/>
            </a:xfrm>
            <a:custGeom>
              <a:avLst/>
              <a:gdLst>
                <a:gd name="T0" fmla="*/ 97 w 129"/>
                <a:gd name="T1" fmla="*/ 0 h 64"/>
                <a:gd name="T2" fmla="*/ 32 w 129"/>
                <a:gd name="T3" fmla="*/ 0 h 64"/>
                <a:gd name="T4" fmla="*/ 0 w 129"/>
                <a:gd name="T5" fmla="*/ 32 h 64"/>
                <a:gd name="T6" fmla="*/ 32 w 129"/>
                <a:gd name="T7" fmla="*/ 64 h 64"/>
                <a:gd name="T8" fmla="*/ 97 w 129"/>
                <a:gd name="T9" fmla="*/ 64 h 64"/>
                <a:gd name="T10" fmla="*/ 129 w 129"/>
                <a:gd name="T11" fmla="*/ 32 h 64"/>
                <a:gd name="T12" fmla="*/ 97 w 129"/>
                <a:gd name="T13" fmla="*/ 0 h 64"/>
                <a:gd name="T14" fmla="*/ 97 w 129"/>
                <a:gd name="T15" fmla="*/ 0 h 64"/>
                <a:gd name="T16" fmla="*/ 97 w 129"/>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64">
                  <a:moveTo>
                    <a:pt x="97" y="0"/>
                  </a:moveTo>
                  <a:cubicBezTo>
                    <a:pt x="32" y="0"/>
                    <a:pt x="32" y="0"/>
                    <a:pt x="32" y="0"/>
                  </a:cubicBezTo>
                  <a:cubicBezTo>
                    <a:pt x="15" y="0"/>
                    <a:pt x="0" y="15"/>
                    <a:pt x="0" y="32"/>
                  </a:cubicBezTo>
                  <a:cubicBezTo>
                    <a:pt x="0" y="50"/>
                    <a:pt x="15" y="64"/>
                    <a:pt x="32" y="64"/>
                  </a:cubicBezTo>
                  <a:cubicBezTo>
                    <a:pt x="97" y="64"/>
                    <a:pt x="97" y="64"/>
                    <a:pt x="97" y="64"/>
                  </a:cubicBezTo>
                  <a:cubicBezTo>
                    <a:pt x="115" y="64"/>
                    <a:pt x="129" y="50"/>
                    <a:pt x="129" y="32"/>
                  </a:cubicBezTo>
                  <a:cubicBezTo>
                    <a:pt x="129" y="15"/>
                    <a:pt x="115" y="0"/>
                    <a:pt x="97" y="0"/>
                  </a:cubicBezTo>
                  <a:close/>
                  <a:moveTo>
                    <a:pt x="97" y="0"/>
                  </a:move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23"/>
            <p:cNvSpPr>
              <a:spLocks noEditPoints="1"/>
            </p:cNvSpPr>
            <p:nvPr/>
          </p:nvSpPr>
          <p:spPr bwMode="auto">
            <a:xfrm>
              <a:off x="5551" y="1015"/>
              <a:ext cx="333" cy="327"/>
            </a:xfrm>
            <a:custGeom>
              <a:avLst/>
              <a:gdLst>
                <a:gd name="T0" fmla="*/ 164 w 176"/>
                <a:gd name="T1" fmla="*/ 12 h 173"/>
                <a:gd name="T2" fmla="*/ 119 w 176"/>
                <a:gd name="T3" fmla="*/ 12 h 173"/>
                <a:gd name="T4" fmla="*/ 12 w 176"/>
                <a:gd name="T5" fmla="*/ 118 h 173"/>
                <a:gd name="T6" fmla="*/ 12 w 176"/>
                <a:gd name="T7" fmla="*/ 164 h 173"/>
                <a:gd name="T8" fmla="*/ 35 w 176"/>
                <a:gd name="T9" fmla="*/ 173 h 173"/>
                <a:gd name="T10" fmla="*/ 58 w 176"/>
                <a:gd name="T11" fmla="*/ 164 h 173"/>
                <a:gd name="T12" fmla="*/ 164 w 176"/>
                <a:gd name="T13" fmla="*/ 57 h 173"/>
                <a:gd name="T14" fmla="*/ 164 w 176"/>
                <a:gd name="T15" fmla="*/ 12 h 173"/>
                <a:gd name="T16" fmla="*/ 164 w 176"/>
                <a:gd name="T17" fmla="*/ 12 h 173"/>
                <a:gd name="T18" fmla="*/ 164 w 176"/>
                <a:gd name="T19"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3">
                  <a:moveTo>
                    <a:pt x="164" y="12"/>
                  </a:moveTo>
                  <a:cubicBezTo>
                    <a:pt x="151" y="0"/>
                    <a:pt x="131" y="0"/>
                    <a:pt x="119" y="12"/>
                  </a:cubicBezTo>
                  <a:cubicBezTo>
                    <a:pt x="12" y="118"/>
                    <a:pt x="12" y="118"/>
                    <a:pt x="12" y="118"/>
                  </a:cubicBezTo>
                  <a:cubicBezTo>
                    <a:pt x="0" y="131"/>
                    <a:pt x="0" y="151"/>
                    <a:pt x="12" y="164"/>
                  </a:cubicBezTo>
                  <a:cubicBezTo>
                    <a:pt x="19" y="170"/>
                    <a:pt x="27" y="173"/>
                    <a:pt x="35" y="173"/>
                  </a:cubicBezTo>
                  <a:cubicBezTo>
                    <a:pt x="43" y="173"/>
                    <a:pt x="51" y="170"/>
                    <a:pt x="58" y="164"/>
                  </a:cubicBezTo>
                  <a:cubicBezTo>
                    <a:pt x="164" y="57"/>
                    <a:pt x="164" y="57"/>
                    <a:pt x="164" y="57"/>
                  </a:cubicBezTo>
                  <a:cubicBezTo>
                    <a:pt x="176" y="45"/>
                    <a:pt x="176" y="25"/>
                    <a:pt x="164" y="12"/>
                  </a:cubicBezTo>
                  <a:close/>
                  <a:moveTo>
                    <a:pt x="164" y="12"/>
                  </a:moveTo>
                  <a:cubicBezTo>
                    <a:pt x="164" y="12"/>
                    <a:pt x="164" y="12"/>
                    <a:pt x="164"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24"/>
            <p:cNvSpPr>
              <a:spLocks noEditPoints="1"/>
            </p:cNvSpPr>
            <p:nvPr/>
          </p:nvSpPr>
          <p:spPr bwMode="auto">
            <a:xfrm>
              <a:off x="3645" y="1013"/>
              <a:ext cx="335" cy="327"/>
            </a:xfrm>
            <a:custGeom>
              <a:avLst/>
              <a:gdLst>
                <a:gd name="T0" fmla="*/ 164 w 177"/>
                <a:gd name="T1" fmla="*/ 119 h 173"/>
                <a:gd name="T2" fmla="*/ 58 w 177"/>
                <a:gd name="T3" fmla="*/ 13 h 173"/>
                <a:gd name="T4" fmla="*/ 13 w 177"/>
                <a:gd name="T5" fmla="*/ 13 h 173"/>
                <a:gd name="T6" fmla="*/ 13 w 177"/>
                <a:gd name="T7" fmla="*/ 58 h 173"/>
                <a:gd name="T8" fmla="*/ 119 w 177"/>
                <a:gd name="T9" fmla="*/ 164 h 173"/>
                <a:gd name="T10" fmla="*/ 142 w 177"/>
                <a:gd name="T11" fmla="*/ 173 h 173"/>
                <a:gd name="T12" fmla="*/ 164 w 177"/>
                <a:gd name="T13" fmla="*/ 164 h 173"/>
                <a:gd name="T14" fmla="*/ 164 w 177"/>
                <a:gd name="T15" fmla="*/ 119 h 173"/>
                <a:gd name="T16" fmla="*/ 164 w 177"/>
                <a:gd name="T17" fmla="*/ 119 h 173"/>
                <a:gd name="T18" fmla="*/ 164 w 177"/>
                <a:gd name="T19" fmla="*/ 11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3">
                  <a:moveTo>
                    <a:pt x="164" y="119"/>
                  </a:moveTo>
                  <a:cubicBezTo>
                    <a:pt x="58" y="13"/>
                    <a:pt x="58" y="13"/>
                    <a:pt x="58" y="13"/>
                  </a:cubicBezTo>
                  <a:cubicBezTo>
                    <a:pt x="46" y="0"/>
                    <a:pt x="25" y="0"/>
                    <a:pt x="13" y="13"/>
                  </a:cubicBezTo>
                  <a:cubicBezTo>
                    <a:pt x="0" y="25"/>
                    <a:pt x="0" y="45"/>
                    <a:pt x="13" y="58"/>
                  </a:cubicBezTo>
                  <a:cubicBezTo>
                    <a:pt x="119" y="164"/>
                    <a:pt x="119" y="164"/>
                    <a:pt x="119" y="164"/>
                  </a:cubicBezTo>
                  <a:cubicBezTo>
                    <a:pt x="125" y="170"/>
                    <a:pt x="134" y="173"/>
                    <a:pt x="142" y="173"/>
                  </a:cubicBezTo>
                  <a:cubicBezTo>
                    <a:pt x="150" y="173"/>
                    <a:pt x="158" y="170"/>
                    <a:pt x="164" y="164"/>
                  </a:cubicBezTo>
                  <a:cubicBezTo>
                    <a:pt x="177" y="152"/>
                    <a:pt x="177" y="131"/>
                    <a:pt x="164" y="119"/>
                  </a:cubicBezTo>
                  <a:close/>
                  <a:moveTo>
                    <a:pt x="164" y="119"/>
                  </a:moveTo>
                  <a:cubicBezTo>
                    <a:pt x="164" y="119"/>
                    <a:pt x="164" y="119"/>
                    <a:pt x="164" y="1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25"/>
            <p:cNvSpPr>
              <a:spLocks noEditPoints="1"/>
            </p:cNvSpPr>
            <p:nvPr/>
          </p:nvSpPr>
          <p:spPr bwMode="auto">
            <a:xfrm>
              <a:off x="4705" y="583"/>
              <a:ext cx="121" cy="517"/>
            </a:xfrm>
            <a:custGeom>
              <a:avLst/>
              <a:gdLst>
                <a:gd name="T0" fmla="*/ 32 w 64"/>
                <a:gd name="T1" fmla="*/ 0 h 273"/>
                <a:gd name="T2" fmla="*/ 0 w 64"/>
                <a:gd name="T3" fmla="*/ 32 h 273"/>
                <a:gd name="T4" fmla="*/ 0 w 64"/>
                <a:gd name="T5" fmla="*/ 241 h 273"/>
                <a:gd name="T6" fmla="*/ 32 w 64"/>
                <a:gd name="T7" fmla="*/ 273 h 273"/>
                <a:gd name="T8" fmla="*/ 64 w 64"/>
                <a:gd name="T9" fmla="*/ 241 h 273"/>
                <a:gd name="T10" fmla="*/ 64 w 64"/>
                <a:gd name="T11" fmla="*/ 32 h 273"/>
                <a:gd name="T12" fmla="*/ 32 w 64"/>
                <a:gd name="T13" fmla="*/ 0 h 273"/>
                <a:gd name="T14" fmla="*/ 32 w 64"/>
                <a:gd name="T15" fmla="*/ 0 h 273"/>
                <a:gd name="T16" fmla="*/ 32 w 64"/>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273">
                  <a:moveTo>
                    <a:pt x="32" y="0"/>
                  </a:moveTo>
                  <a:cubicBezTo>
                    <a:pt x="14" y="0"/>
                    <a:pt x="0" y="14"/>
                    <a:pt x="0" y="32"/>
                  </a:cubicBezTo>
                  <a:cubicBezTo>
                    <a:pt x="0" y="241"/>
                    <a:pt x="0" y="241"/>
                    <a:pt x="0" y="241"/>
                  </a:cubicBezTo>
                  <a:cubicBezTo>
                    <a:pt x="0" y="258"/>
                    <a:pt x="14" y="273"/>
                    <a:pt x="32" y="273"/>
                  </a:cubicBezTo>
                  <a:cubicBezTo>
                    <a:pt x="50" y="273"/>
                    <a:pt x="64" y="258"/>
                    <a:pt x="64" y="241"/>
                  </a:cubicBezTo>
                  <a:cubicBezTo>
                    <a:pt x="64" y="32"/>
                    <a:pt x="64" y="32"/>
                    <a:pt x="64" y="32"/>
                  </a:cubicBezTo>
                  <a:cubicBezTo>
                    <a:pt x="64" y="14"/>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26"/>
            <p:cNvSpPr>
              <a:spLocks noEditPoints="1"/>
            </p:cNvSpPr>
            <p:nvPr/>
          </p:nvSpPr>
          <p:spPr bwMode="auto">
            <a:xfrm>
              <a:off x="4705" y="1183"/>
              <a:ext cx="121" cy="122"/>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4"/>
          <p:cNvGrpSpPr>
            <a:grpSpLocks noChangeAspect="1"/>
          </p:cNvGrpSpPr>
          <p:nvPr/>
        </p:nvGrpSpPr>
        <p:grpSpPr bwMode="auto">
          <a:xfrm>
            <a:off x="8169063" y="2984382"/>
            <a:ext cx="457082" cy="457200"/>
            <a:chOff x="3093" y="2262"/>
            <a:chExt cx="3875" cy="3876"/>
          </a:xfrm>
          <a:solidFill>
            <a:schemeClr val="accent1"/>
          </a:solidFill>
        </p:grpSpPr>
        <p:sp>
          <p:nvSpPr>
            <p:cNvPr id="10" name="Freeform 5"/>
            <p:cNvSpPr>
              <a:spLocks/>
            </p:cNvSpPr>
            <p:nvPr/>
          </p:nvSpPr>
          <p:spPr bwMode="auto">
            <a:xfrm>
              <a:off x="3093" y="2671"/>
              <a:ext cx="757" cy="2755"/>
            </a:xfrm>
            <a:custGeom>
              <a:avLst/>
              <a:gdLst>
                <a:gd name="T0" fmla="*/ 240 w 400"/>
                <a:gd name="T1" fmla="*/ 1376 h 1456"/>
                <a:gd name="T2" fmla="*/ 120 w 400"/>
                <a:gd name="T3" fmla="*/ 1376 h 1456"/>
                <a:gd name="T4" fmla="*/ 80 w 400"/>
                <a:gd name="T5" fmla="*/ 1336 h 1456"/>
                <a:gd name="T6" fmla="*/ 80 w 400"/>
                <a:gd name="T7" fmla="*/ 120 h 1456"/>
                <a:gd name="T8" fmla="*/ 120 w 400"/>
                <a:gd name="T9" fmla="*/ 80 h 1456"/>
                <a:gd name="T10" fmla="*/ 360 w 400"/>
                <a:gd name="T11" fmla="*/ 80 h 1456"/>
                <a:gd name="T12" fmla="*/ 400 w 400"/>
                <a:gd name="T13" fmla="*/ 40 h 1456"/>
                <a:gd name="T14" fmla="*/ 360 w 400"/>
                <a:gd name="T15" fmla="*/ 0 h 1456"/>
                <a:gd name="T16" fmla="*/ 120 w 400"/>
                <a:gd name="T17" fmla="*/ 0 h 1456"/>
                <a:gd name="T18" fmla="*/ 0 w 400"/>
                <a:gd name="T19" fmla="*/ 120 h 1456"/>
                <a:gd name="T20" fmla="*/ 0 w 400"/>
                <a:gd name="T21" fmla="*/ 1336 h 1456"/>
                <a:gd name="T22" fmla="*/ 120 w 400"/>
                <a:gd name="T23" fmla="*/ 1456 h 1456"/>
                <a:gd name="T24" fmla="*/ 240 w 400"/>
                <a:gd name="T25" fmla="*/ 1456 h 1456"/>
                <a:gd name="T26" fmla="*/ 280 w 400"/>
                <a:gd name="T27" fmla="*/ 1416 h 1456"/>
                <a:gd name="T28" fmla="*/ 240 w 400"/>
                <a:gd name="T29" fmla="*/ 1376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1456">
                  <a:moveTo>
                    <a:pt x="240" y="1376"/>
                  </a:moveTo>
                  <a:cubicBezTo>
                    <a:pt x="120" y="1376"/>
                    <a:pt x="120" y="1376"/>
                    <a:pt x="120" y="1376"/>
                  </a:cubicBezTo>
                  <a:cubicBezTo>
                    <a:pt x="98" y="1376"/>
                    <a:pt x="80" y="1358"/>
                    <a:pt x="80" y="1336"/>
                  </a:cubicBezTo>
                  <a:cubicBezTo>
                    <a:pt x="80" y="120"/>
                    <a:pt x="80" y="120"/>
                    <a:pt x="80" y="120"/>
                  </a:cubicBezTo>
                  <a:cubicBezTo>
                    <a:pt x="80" y="98"/>
                    <a:pt x="98" y="80"/>
                    <a:pt x="120" y="80"/>
                  </a:cubicBezTo>
                  <a:cubicBezTo>
                    <a:pt x="360" y="80"/>
                    <a:pt x="360" y="80"/>
                    <a:pt x="360" y="80"/>
                  </a:cubicBezTo>
                  <a:cubicBezTo>
                    <a:pt x="382" y="80"/>
                    <a:pt x="400" y="62"/>
                    <a:pt x="400" y="40"/>
                  </a:cubicBezTo>
                  <a:cubicBezTo>
                    <a:pt x="400" y="18"/>
                    <a:pt x="382" y="0"/>
                    <a:pt x="360" y="0"/>
                  </a:cubicBezTo>
                  <a:cubicBezTo>
                    <a:pt x="120" y="0"/>
                    <a:pt x="120" y="0"/>
                    <a:pt x="120" y="0"/>
                  </a:cubicBezTo>
                  <a:cubicBezTo>
                    <a:pt x="54" y="0"/>
                    <a:pt x="0" y="54"/>
                    <a:pt x="0" y="120"/>
                  </a:cubicBezTo>
                  <a:cubicBezTo>
                    <a:pt x="0" y="1336"/>
                    <a:pt x="0" y="1336"/>
                    <a:pt x="0" y="1336"/>
                  </a:cubicBezTo>
                  <a:cubicBezTo>
                    <a:pt x="0" y="1402"/>
                    <a:pt x="54" y="1456"/>
                    <a:pt x="120" y="1456"/>
                  </a:cubicBezTo>
                  <a:cubicBezTo>
                    <a:pt x="240" y="1456"/>
                    <a:pt x="240" y="1456"/>
                    <a:pt x="240" y="1456"/>
                  </a:cubicBezTo>
                  <a:cubicBezTo>
                    <a:pt x="262" y="1456"/>
                    <a:pt x="280" y="1438"/>
                    <a:pt x="280" y="1416"/>
                  </a:cubicBezTo>
                  <a:cubicBezTo>
                    <a:pt x="280" y="1394"/>
                    <a:pt x="262" y="1376"/>
                    <a:pt x="240" y="13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p:nvSpPr>
          <p:spPr bwMode="auto">
            <a:xfrm>
              <a:off x="3789" y="5275"/>
              <a:ext cx="152" cy="151"/>
            </a:xfrm>
            <a:custGeom>
              <a:avLst/>
              <a:gdLst>
                <a:gd name="T0" fmla="*/ 40 w 80"/>
                <a:gd name="T1" fmla="*/ 0 h 80"/>
                <a:gd name="T2" fmla="*/ 12 w 80"/>
                <a:gd name="T3" fmla="*/ 12 h 80"/>
                <a:gd name="T4" fmla="*/ 0 w 80"/>
                <a:gd name="T5" fmla="*/ 40 h 80"/>
                <a:gd name="T6" fmla="*/ 12 w 80"/>
                <a:gd name="T7" fmla="*/ 68 h 80"/>
                <a:gd name="T8" fmla="*/ 40 w 80"/>
                <a:gd name="T9" fmla="*/ 80 h 80"/>
                <a:gd name="T10" fmla="*/ 68 w 80"/>
                <a:gd name="T11" fmla="*/ 68 h 80"/>
                <a:gd name="T12" fmla="*/ 80 w 80"/>
                <a:gd name="T13" fmla="*/ 40 h 80"/>
                <a:gd name="T14" fmla="*/ 68 w 80"/>
                <a:gd name="T15" fmla="*/ 12 h 80"/>
                <a:gd name="T16" fmla="*/ 40 w 8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0"/>
                  </a:moveTo>
                  <a:cubicBezTo>
                    <a:pt x="29" y="0"/>
                    <a:pt x="19" y="4"/>
                    <a:pt x="12" y="12"/>
                  </a:cubicBezTo>
                  <a:cubicBezTo>
                    <a:pt x="4" y="19"/>
                    <a:pt x="0" y="29"/>
                    <a:pt x="0" y="40"/>
                  </a:cubicBezTo>
                  <a:cubicBezTo>
                    <a:pt x="0" y="51"/>
                    <a:pt x="4" y="61"/>
                    <a:pt x="12" y="68"/>
                  </a:cubicBezTo>
                  <a:cubicBezTo>
                    <a:pt x="19" y="76"/>
                    <a:pt x="29" y="80"/>
                    <a:pt x="40" y="80"/>
                  </a:cubicBezTo>
                  <a:cubicBezTo>
                    <a:pt x="51" y="80"/>
                    <a:pt x="61" y="76"/>
                    <a:pt x="68" y="68"/>
                  </a:cubicBezTo>
                  <a:cubicBezTo>
                    <a:pt x="76" y="61"/>
                    <a:pt x="80" y="51"/>
                    <a:pt x="80" y="40"/>
                  </a:cubicBezTo>
                  <a:cubicBezTo>
                    <a:pt x="80" y="29"/>
                    <a:pt x="76" y="19"/>
                    <a:pt x="68" y="12"/>
                  </a:cubicBezTo>
                  <a:cubicBezTo>
                    <a:pt x="61" y="4"/>
                    <a:pt x="51"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noEditPoints="1"/>
            </p:cNvSpPr>
            <p:nvPr/>
          </p:nvSpPr>
          <p:spPr bwMode="auto">
            <a:xfrm>
              <a:off x="4092" y="2671"/>
              <a:ext cx="2876" cy="3467"/>
            </a:xfrm>
            <a:custGeom>
              <a:avLst/>
              <a:gdLst>
                <a:gd name="T0" fmla="*/ 1400 w 1520"/>
                <a:gd name="T1" fmla="*/ 0 h 1832"/>
                <a:gd name="T2" fmla="*/ 1377 w 1520"/>
                <a:gd name="T3" fmla="*/ 0 h 1832"/>
                <a:gd name="T4" fmla="*/ 1337 w 1520"/>
                <a:gd name="T5" fmla="*/ 40 h 1832"/>
                <a:gd name="T6" fmla="*/ 1377 w 1520"/>
                <a:gd name="T7" fmla="*/ 80 h 1832"/>
                <a:gd name="T8" fmla="*/ 1400 w 1520"/>
                <a:gd name="T9" fmla="*/ 80 h 1832"/>
                <a:gd name="T10" fmla="*/ 1440 w 1520"/>
                <a:gd name="T11" fmla="*/ 120 h 1832"/>
                <a:gd name="T12" fmla="*/ 1440 w 1520"/>
                <a:gd name="T13" fmla="*/ 1336 h 1832"/>
                <a:gd name="T14" fmla="*/ 1400 w 1520"/>
                <a:gd name="T15" fmla="*/ 1376 h 1832"/>
                <a:gd name="T16" fmla="*/ 40 w 1520"/>
                <a:gd name="T17" fmla="*/ 1376 h 1832"/>
                <a:gd name="T18" fmla="*/ 0 w 1520"/>
                <a:gd name="T19" fmla="*/ 1416 h 1832"/>
                <a:gd name="T20" fmla="*/ 40 w 1520"/>
                <a:gd name="T21" fmla="*/ 1456 h 1832"/>
                <a:gd name="T22" fmla="*/ 344 w 1520"/>
                <a:gd name="T23" fmla="*/ 1456 h 1832"/>
                <a:gd name="T24" fmla="*/ 344 w 1520"/>
                <a:gd name="T25" fmla="*/ 1528 h 1832"/>
                <a:gd name="T26" fmla="*/ 240 w 1520"/>
                <a:gd name="T27" fmla="*/ 1528 h 1832"/>
                <a:gd name="T28" fmla="*/ 88 w 1520"/>
                <a:gd name="T29" fmla="*/ 1680 h 1832"/>
                <a:gd name="T30" fmla="*/ 240 w 1520"/>
                <a:gd name="T31" fmla="*/ 1832 h 1832"/>
                <a:gd name="T32" fmla="*/ 752 w 1520"/>
                <a:gd name="T33" fmla="*/ 1832 h 1832"/>
                <a:gd name="T34" fmla="*/ 904 w 1520"/>
                <a:gd name="T35" fmla="*/ 1680 h 1832"/>
                <a:gd name="T36" fmla="*/ 752 w 1520"/>
                <a:gd name="T37" fmla="*/ 1528 h 1832"/>
                <a:gd name="T38" fmla="*/ 648 w 1520"/>
                <a:gd name="T39" fmla="*/ 1528 h 1832"/>
                <a:gd name="T40" fmla="*/ 648 w 1520"/>
                <a:gd name="T41" fmla="*/ 1456 h 1832"/>
                <a:gd name="T42" fmla="*/ 1400 w 1520"/>
                <a:gd name="T43" fmla="*/ 1456 h 1832"/>
                <a:gd name="T44" fmla="*/ 1520 w 1520"/>
                <a:gd name="T45" fmla="*/ 1336 h 1832"/>
                <a:gd name="T46" fmla="*/ 1520 w 1520"/>
                <a:gd name="T47" fmla="*/ 120 h 1832"/>
                <a:gd name="T48" fmla="*/ 1400 w 1520"/>
                <a:gd name="T49" fmla="*/ 0 h 1832"/>
                <a:gd name="T50" fmla="*/ 752 w 1520"/>
                <a:gd name="T51" fmla="*/ 1608 h 1832"/>
                <a:gd name="T52" fmla="*/ 824 w 1520"/>
                <a:gd name="T53" fmla="*/ 1680 h 1832"/>
                <a:gd name="T54" fmla="*/ 752 w 1520"/>
                <a:gd name="T55" fmla="*/ 1752 h 1832"/>
                <a:gd name="T56" fmla="*/ 240 w 1520"/>
                <a:gd name="T57" fmla="*/ 1752 h 1832"/>
                <a:gd name="T58" fmla="*/ 168 w 1520"/>
                <a:gd name="T59" fmla="*/ 1680 h 1832"/>
                <a:gd name="T60" fmla="*/ 240 w 1520"/>
                <a:gd name="T61" fmla="*/ 1608 h 1832"/>
                <a:gd name="T62" fmla="*/ 344 w 1520"/>
                <a:gd name="T63" fmla="*/ 1608 h 1832"/>
                <a:gd name="T64" fmla="*/ 344 w 1520"/>
                <a:gd name="T65" fmla="*/ 1647 h 1832"/>
                <a:gd name="T66" fmla="*/ 384 w 1520"/>
                <a:gd name="T67" fmla="*/ 1687 h 1832"/>
                <a:gd name="T68" fmla="*/ 608 w 1520"/>
                <a:gd name="T69" fmla="*/ 1687 h 1832"/>
                <a:gd name="T70" fmla="*/ 648 w 1520"/>
                <a:gd name="T71" fmla="*/ 1647 h 1832"/>
                <a:gd name="T72" fmla="*/ 648 w 1520"/>
                <a:gd name="T73" fmla="*/ 1608 h 1832"/>
                <a:gd name="T74" fmla="*/ 752 w 1520"/>
                <a:gd name="T75" fmla="*/ 1608 h 1832"/>
                <a:gd name="T76" fmla="*/ 568 w 1520"/>
                <a:gd name="T77" fmla="*/ 1607 h 1832"/>
                <a:gd name="T78" fmla="*/ 424 w 1520"/>
                <a:gd name="T79" fmla="*/ 1607 h 1832"/>
                <a:gd name="T80" fmla="*/ 424 w 1520"/>
                <a:gd name="T81" fmla="*/ 1456 h 1832"/>
                <a:gd name="T82" fmla="*/ 568 w 1520"/>
                <a:gd name="T83" fmla="*/ 1456 h 1832"/>
                <a:gd name="T84" fmla="*/ 568 w 1520"/>
                <a:gd name="T85" fmla="*/ 1607 h 1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20" h="1832">
                  <a:moveTo>
                    <a:pt x="1400" y="0"/>
                  </a:moveTo>
                  <a:cubicBezTo>
                    <a:pt x="1377" y="0"/>
                    <a:pt x="1377" y="0"/>
                    <a:pt x="1377" y="0"/>
                  </a:cubicBezTo>
                  <a:cubicBezTo>
                    <a:pt x="1355" y="0"/>
                    <a:pt x="1337" y="18"/>
                    <a:pt x="1337" y="40"/>
                  </a:cubicBezTo>
                  <a:cubicBezTo>
                    <a:pt x="1337" y="62"/>
                    <a:pt x="1355" y="80"/>
                    <a:pt x="1377" y="80"/>
                  </a:cubicBezTo>
                  <a:cubicBezTo>
                    <a:pt x="1400" y="80"/>
                    <a:pt x="1400" y="80"/>
                    <a:pt x="1400" y="80"/>
                  </a:cubicBezTo>
                  <a:cubicBezTo>
                    <a:pt x="1422" y="80"/>
                    <a:pt x="1440" y="98"/>
                    <a:pt x="1440" y="120"/>
                  </a:cubicBezTo>
                  <a:cubicBezTo>
                    <a:pt x="1440" y="1336"/>
                    <a:pt x="1440" y="1336"/>
                    <a:pt x="1440" y="1336"/>
                  </a:cubicBezTo>
                  <a:cubicBezTo>
                    <a:pt x="1440" y="1358"/>
                    <a:pt x="1422" y="1376"/>
                    <a:pt x="1400" y="1376"/>
                  </a:cubicBezTo>
                  <a:cubicBezTo>
                    <a:pt x="40" y="1376"/>
                    <a:pt x="40" y="1376"/>
                    <a:pt x="40" y="1376"/>
                  </a:cubicBezTo>
                  <a:cubicBezTo>
                    <a:pt x="18" y="1376"/>
                    <a:pt x="0" y="1394"/>
                    <a:pt x="0" y="1416"/>
                  </a:cubicBezTo>
                  <a:cubicBezTo>
                    <a:pt x="0" y="1438"/>
                    <a:pt x="18" y="1456"/>
                    <a:pt x="40" y="1456"/>
                  </a:cubicBezTo>
                  <a:cubicBezTo>
                    <a:pt x="344" y="1456"/>
                    <a:pt x="344" y="1456"/>
                    <a:pt x="344" y="1456"/>
                  </a:cubicBezTo>
                  <a:cubicBezTo>
                    <a:pt x="344" y="1528"/>
                    <a:pt x="344" y="1528"/>
                    <a:pt x="344" y="1528"/>
                  </a:cubicBezTo>
                  <a:cubicBezTo>
                    <a:pt x="240" y="1528"/>
                    <a:pt x="240" y="1528"/>
                    <a:pt x="240" y="1528"/>
                  </a:cubicBezTo>
                  <a:cubicBezTo>
                    <a:pt x="156" y="1528"/>
                    <a:pt x="88" y="1596"/>
                    <a:pt x="88" y="1680"/>
                  </a:cubicBezTo>
                  <a:cubicBezTo>
                    <a:pt x="88" y="1764"/>
                    <a:pt x="156" y="1832"/>
                    <a:pt x="240" y="1832"/>
                  </a:cubicBezTo>
                  <a:cubicBezTo>
                    <a:pt x="752" y="1832"/>
                    <a:pt x="752" y="1832"/>
                    <a:pt x="752" y="1832"/>
                  </a:cubicBezTo>
                  <a:cubicBezTo>
                    <a:pt x="836" y="1832"/>
                    <a:pt x="904" y="1764"/>
                    <a:pt x="904" y="1680"/>
                  </a:cubicBezTo>
                  <a:cubicBezTo>
                    <a:pt x="904" y="1596"/>
                    <a:pt x="836" y="1528"/>
                    <a:pt x="752" y="1528"/>
                  </a:cubicBezTo>
                  <a:cubicBezTo>
                    <a:pt x="648" y="1528"/>
                    <a:pt x="648" y="1528"/>
                    <a:pt x="648" y="1528"/>
                  </a:cubicBezTo>
                  <a:cubicBezTo>
                    <a:pt x="648" y="1456"/>
                    <a:pt x="648" y="1456"/>
                    <a:pt x="648" y="1456"/>
                  </a:cubicBezTo>
                  <a:cubicBezTo>
                    <a:pt x="1400" y="1456"/>
                    <a:pt x="1400" y="1456"/>
                    <a:pt x="1400" y="1456"/>
                  </a:cubicBezTo>
                  <a:cubicBezTo>
                    <a:pt x="1466" y="1456"/>
                    <a:pt x="1520" y="1402"/>
                    <a:pt x="1520" y="1336"/>
                  </a:cubicBezTo>
                  <a:cubicBezTo>
                    <a:pt x="1520" y="120"/>
                    <a:pt x="1520" y="120"/>
                    <a:pt x="1520" y="120"/>
                  </a:cubicBezTo>
                  <a:cubicBezTo>
                    <a:pt x="1520" y="54"/>
                    <a:pt x="1466" y="0"/>
                    <a:pt x="1400" y="0"/>
                  </a:cubicBezTo>
                  <a:close/>
                  <a:moveTo>
                    <a:pt x="752" y="1608"/>
                  </a:moveTo>
                  <a:cubicBezTo>
                    <a:pt x="792" y="1608"/>
                    <a:pt x="824" y="1640"/>
                    <a:pt x="824" y="1680"/>
                  </a:cubicBezTo>
                  <a:cubicBezTo>
                    <a:pt x="824" y="1720"/>
                    <a:pt x="792" y="1752"/>
                    <a:pt x="752" y="1752"/>
                  </a:cubicBezTo>
                  <a:cubicBezTo>
                    <a:pt x="240" y="1752"/>
                    <a:pt x="240" y="1752"/>
                    <a:pt x="240" y="1752"/>
                  </a:cubicBezTo>
                  <a:cubicBezTo>
                    <a:pt x="200" y="1752"/>
                    <a:pt x="168" y="1720"/>
                    <a:pt x="168" y="1680"/>
                  </a:cubicBezTo>
                  <a:cubicBezTo>
                    <a:pt x="168" y="1640"/>
                    <a:pt x="200" y="1608"/>
                    <a:pt x="240" y="1608"/>
                  </a:cubicBezTo>
                  <a:cubicBezTo>
                    <a:pt x="344" y="1608"/>
                    <a:pt x="344" y="1608"/>
                    <a:pt x="344" y="1608"/>
                  </a:cubicBezTo>
                  <a:cubicBezTo>
                    <a:pt x="344" y="1647"/>
                    <a:pt x="344" y="1647"/>
                    <a:pt x="344" y="1647"/>
                  </a:cubicBezTo>
                  <a:cubicBezTo>
                    <a:pt x="344" y="1669"/>
                    <a:pt x="362" y="1687"/>
                    <a:pt x="384" y="1687"/>
                  </a:cubicBezTo>
                  <a:cubicBezTo>
                    <a:pt x="608" y="1687"/>
                    <a:pt x="608" y="1687"/>
                    <a:pt x="608" y="1687"/>
                  </a:cubicBezTo>
                  <a:cubicBezTo>
                    <a:pt x="630" y="1687"/>
                    <a:pt x="648" y="1669"/>
                    <a:pt x="648" y="1647"/>
                  </a:cubicBezTo>
                  <a:cubicBezTo>
                    <a:pt x="648" y="1608"/>
                    <a:pt x="648" y="1608"/>
                    <a:pt x="648" y="1608"/>
                  </a:cubicBezTo>
                  <a:lnTo>
                    <a:pt x="752" y="1608"/>
                  </a:lnTo>
                  <a:close/>
                  <a:moveTo>
                    <a:pt x="568" y="1607"/>
                  </a:moveTo>
                  <a:cubicBezTo>
                    <a:pt x="424" y="1607"/>
                    <a:pt x="424" y="1607"/>
                    <a:pt x="424" y="1607"/>
                  </a:cubicBezTo>
                  <a:cubicBezTo>
                    <a:pt x="424" y="1456"/>
                    <a:pt x="424" y="1456"/>
                    <a:pt x="424" y="1456"/>
                  </a:cubicBezTo>
                  <a:cubicBezTo>
                    <a:pt x="568" y="1456"/>
                    <a:pt x="568" y="1456"/>
                    <a:pt x="568" y="1456"/>
                  </a:cubicBezTo>
                  <a:lnTo>
                    <a:pt x="568" y="16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4955" y="5063"/>
              <a:ext cx="151" cy="151"/>
            </a:xfrm>
            <a:custGeom>
              <a:avLst/>
              <a:gdLst>
                <a:gd name="T0" fmla="*/ 12 w 80"/>
                <a:gd name="T1" fmla="*/ 12 h 80"/>
                <a:gd name="T2" fmla="*/ 0 w 80"/>
                <a:gd name="T3" fmla="*/ 40 h 80"/>
                <a:gd name="T4" fmla="*/ 12 w 80"/>
                <a:gd name="T5" fmla="*/ 68 h 80"/>
                <a:gd name="T6" fmla="*/ 40 w 80"/>
                <a:gd name="T7" fmla="*/ 80 h 80"/>
                <a:gd name="T8" fmla="*/ 68 w 80"/>
                <a:gd name="T9" fmla="*/ 68 h 80"/>
                <a:gd name="T10" fmla="*/ 80 w 80"/>
                <a:gd name="T11" fmla="*/ 40 h 80"/>
                <a:gd name="T12" fmla="*/ 68 w 80"/>
                <a:gd name="T13" fmla="*/ 12 h 80"/>
                <a:gd name="T14" fmla="*/ 40 w 80"/>
                <a:gd name="T15" fmla="*/ 0 h 80"/>
                <a:gd name="T16" fmla="*/ 12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12" y="12"/>
                  </a:moveTo>
                  <a:cubicBezTo>
                    <a:pt x="4" y="19"/>
                    <a:pt x="0" y="29"/>
                    <a:pt x="0" y="40"/>
                  </a:cubicBezTo>
                  <a:cubicBezTo>
                    <a:pt x="0" y="51"/>
                    <a:pt x="4" y="61"/>
                    <a:pt x="12" y="68"/>
                  </a:cubicBezTo>
                  <a:cubicBezTo>
                    <a:pt x="19" y="76"/>
                    <a:pt x="29" y="80"/>
                    <a:pt x="40" y="80"/>
                  </a:cubicBezTo>
                  <a:cubicBezTo>
                    <a:pt x="51" y="80"/>
                    <a:pt x="61" y="76"/>
                    <a:pt x="68" y="68"/>
                  </a:cubicBezTo>
                  <a:cubicBezTo>
                    <a:pt x="76" y="61"/>
                    <a:pt x="80" y="51"/>
                    <a:pt x="80" y="40"/>
                  </a:cubicBezTo>
                  <a:cubicBezTo>
                    <a:pt x="80" y="29"/>
                    <a:pt x="76" y="19"/>
                    <a:pt x="68" y="12"/>
                  </a:cubicBezTo>
                  <a:cubicBezTo>
                    <a:pt x="61" y="4"/>
                    <a:pt x="51" y="0"/>
                    <a:pt x="40" y="0"/>
                  </a:cubicBezTo>
                  <a:cubicBezTo>
                    <a:pt x="29" y="0"/>
                    <a:pt x="19" y="4"/>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p:nvSpPr>
          <p:spPr bwMode="auto">
            <a:xfrm>
              <a:off x="3396" y="2671"/>
              <a:ext cx="3269" cy="2331"/>
            </a:xfrm>
            <a:custGeom>
              <a:avLst/>
              <a:gdLst>
                <a:gd name="T0" fmla="*/ 0 w 1728"/>
                <a:gd name="T1" fmla="*/ 200 h 1232"/>
                <a:gd name="T2" fmla="*/ 40 w 1728"/>
                <a:gd name="T3" fmla="*/ 1232 h 1232"/>
                <a:gd name="T4" fmla="*/ 1728 w 1728"/>
                <a:gd name="T5" fmla="*/ 1192 h 1232"/>
                <a:gd name="T6" fmla="*/ 1688 w 1728"/>
                <a:gd name="T7" fmla="*/ 329 h 1232"/>
                <a:gd name="T8" fmla="*/ 1648 w 1728"/>
                <a:gd name="T9" fmla="*/ 631 h 1232"/>
                <a:gd name="T10" fmla="*/ 80 w 1728"/>
                <a:gd name="T11" fmla="*/ 1152 h 1232"/>
                <a:gd name="T12" fmla="*/ 237 w 1728"/>
                <a:gd name="T13" fmla="*/ 240 h 1232"/>
                <a:gd name="T14" fmla="*/ 286 w 1728"/>
                <a:gd name="T15" fmla="*/ 296 h 1232"/>
                <a:gd name="T16" fmla="*/ 200 w 1728"/>
                <a:gd name="T17" fmla="*/ 368 h 1232"/>
                <a:gd name="T18" fmla="*/ 160 w 1728"/>
                <a:gd name="T19" fmla="*/ 568 h 1232"/>
                <a:gd name="T20" fmla="*/ 257 w 1728"/>
                <a:gd name="T21" fmla="*/ 608 h 1232"/>
                <a:gd name="T22" fmla="*/ 247 w 1728"/>
                <a:gd name="T23" fmla="*/ 720 h 1232"/>
                <a:gd name="T24" fmla="*/ 360 w 1728"/>
                <a:gd name="T25" fmla="*/ 890 h 1232"/>
                <a:gd name="T26" fmla="*/ 456 w 1728"/>
                <a:gd name="T27" fmla="*/ 850 h 1232"/>
                <a:gd name="T28" fmla="*/ 528 w 1728"/>
                <a:gd name="T29" fmla="*/ 936 h 1232"/>
                <a:gd name="T30" fmla="*/ 729 w 1728"/>
                <a:gd name="T31" fmla="*/ 976 h 1232"/>
                <a:gd name="T32" fmla="*/ 769 w 1728"/>
                <a:gd name="T33" fmla="*/ 880 h 1232"/>
                <a:gd name="T34" fmla="*/ 880 w 1728"/>
                <a:gd name="T35" fmla="*/ 890 h 1232"/>
                <a:gd name="T36" fmla="*/ 937 w 1728"/>
                <a:gd name="T37" fmla="*/ 890 h 1232"/>
                <a:gd name="T38" fmla="*/ 1062 w 1728"/>
                <a:gd name="T39" fmla="*/ 748 h 1232"/>
                <a:gd name="T40" fmla="*/ 1011 w 1728"/>
                <a:gd name="T41" fmla="*/ 680 h 1232"/>
                <a:gd name="T42" fmla="*/ 1096 w 1728"/>
                <a:gd name="T43" fmla="*/ 608 h 1232"/>
                <a:gd name="T44" fmla="*/ 1136 w 1728"/>
                <a:gd name="T45" fmla="*/ 408 h 1232"/>
                <a:gd name="T46" fmla="*/ 1041 w 1728"/>
                <a:gd name="T47" fmla="*/ 368 h 1232"/>
                <a:gd name="T48" fmla="*/ 1050 w 1728"/>
                <a:gd name="T49" fmla="*/ 256 h 1232"/>
                <a:gd name="T50" fmla="*/ 1050 w 1728"/>
                <a:gd name="T51" fmla="*/ 200 h 1232"/>
                <a:gd name="T52" fmla="*/ 909 w 1728"/>
                <a:gd name="T53" fmla="*/ 75 h 1232"/>
                <a:gd name="T54" fmla="*/ 841 w 1728"/>
                <a:gd name="T55" fmla="*/ 126 h 1232"/>
                <a:gd name="T56" fmla="*/ 769 w 1728"/>
                <a:gd name="T57" fmla="*/ 40 h 1232"/>
                <a:gd name="T58" fmla="*/ 568 w 1728"/>
                <a:gd name="T59" fmla="*/ 0 h 1232"/>
                <a:gd name="T60" fmla="*/ 528 w 1728"/>
                <a:gd name="T61" fmla="*/ 96 h 1232"/>
                <a:gd name="T62" fmla="*/ 417 w 1728"/>
                <a:gd name="T63" fmla="*/ 86 h 1232"/>
                <a:gd name="T64" fmla="*/ 286 w 1728"/>
                <a:gd name="T65" fmla="*/ 160 h 1232"/>
                <a:gd name="T66" fmla="*/ 1648 w 1728"/>
                <a:gd name="T67" fmla="*/ 744 h 1232"/>
                <a:gd name="T68" fmla="*/ 1240 w 1728"/>
                <a:gd name="T69" fmla="*/ 1152 h 1232"/>
                <a:gd name="T70" fmla="*/ 388 w 1728"/>
                <a:gd name="T71" fmla="*/ 171 h 1232"/>
                <a:gd name="T72" fmla="*/ 449 w 1728"/>
                <a:gd name="T73" fmla="*/ 216 h 1232"/>
                <a:gd name="T74" fmla="*/ 577 w 1728"/>
                <a:gd name="T75" fmla="*/ 166 h 1232"/>
                <a:gd name="T76" fmla="*/ 608 w 1728"/>
                <a:gd name="T77" fmla="*/ 80 h 1232"/>
                <a:gd name="T78" fmla="*/ 689 w 1728"/>
                <a:gd name="T79" fmla="*/ 126 h 1232"/>
                <a:gd name="T80" fmla="*/ 826 w 1728"/>
                <a:gd name="T81" fmla="*/ 209 h 1232"/>
                <a:gd name="T82" fmla="*/ 876 w 1728"/>
                <a:gd name="T83" fmla="*/ 204 h 1232"/>
                <a:gd name="T84" fmla="*/ 965 w 1728"/>
                <a:gd name="T85" fmla="*/ 228 h 1232"/>
                <a:gd name="T86" fmla="*/ 921 w 1728"/>
                <a:gd name="T87" fmla="*/ 289 h 1232"/>
                <a:gd name="T88" fmla="*/ 971 w 1728"/>
                <a:gd name="T89" fmla="*/ 416 h 1232"/>
                <a:gd name="T90" fmla="*/ 1056 w 1728"/>
                <a:gd name="T91" fmla="*/ 448 h 1232"/>
                <a:gd name="T92" fmla="*/ 1010 w 1728"/>
                <a:gd name="T93" fmla="*/ 528 h 1232"/>
                <a:gd name="T94" fmla="*/ 927 w 1728"/>
                <a:gd name="T95" fmla="*/ 665 h 1232"/>
                <a:gd name="T96" fmla="*/ 932 w 1728"/>
                <a:gd name="T97" fmla="*/ 715 h 1232"/>
                <a:gd name="T98" fmla="*/ 909 w 1728"/>
                <a:gd name="T99" fmla="*/ 805 h 1232"/>
                <a:gd name="T100" fmla="*/ 829 w 1728"/>
                <a:gd name="T101" fmla="*/ 764 h 1232"/>
                <a:gd name="T102" fmla="*/ 720 w 1728"/>
                <a:gd name="T103" fmla="*/ 810 h 1232"/>
                <a:gd name="T104" fmla="*/ 689 w 1728"/>
                <a:gd name="T105" fmla="*/ 896 h 1232"/>
                <a:gd name="T106" fmla="*/ 608 w 1728"/>
                <a:gd name="T107" fmla="*/ 849 h 1232"/>
                <a:gd name="T108" fmla="*/ 471 w 1728"/>
                <a:gd name="T109" fmla="*/ 766 h 1232"/>
                <a:gd name="T110" fmla="*/ 421 w 1728"/>
                <a:gd name="T111" fmla="*/ 772 h 1232"/>
                <a:gd name="T112" fmla="*/ 332 w 1728"/>
                <a:gd name="T113" fmla="*/ 748 h 1232"/>
                <a:gd name="T114" fmla="*/ 370 w 1728"/>
                <a:gd name="T115" fmla="*/ 664 h 1232"/>
                <a:gd name="T116" fmla="*/ 287 w 1728"/>
                <a:gd name="T117" fmla="*/ 528 h 1232"/>
                <a:gd name="T118" fmla="*/ 240 w 1728"/>
                <a:gd name="T119" fmla="*/ 448 h 1232"/>
                <a:gd name="T120" fmla="*/ 326 w 1728"/>
                <a:gd name="T121" fmla="*/ 416 h 1232"/>
                <a:gd name="T122" fmla="*/ 376 w 1728"/>
                <a:gd name="T123" fmla="*/ 289 h 1232"/>
                <a:gd name="T124" fmla="*/ 332 w 1728"/>
                <a:gd name="T125" fmla="*/ 228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8" h="1232">
                  <a:moveTo>
                    <a:pt x="40" y="160"/>
                  </a:moveTo>
                  <a:cubicBezTo>
                    <a:pt x="18" y="160"/>
                    <a:pt x="0" y="178"/>
                    <a:pt x="0" y="200"/>
                  </a:cubicBezTo>
                  <a:cubicBezTo>
                    <a:pt x="0" y="1192"/>
                    <a:pt x="0" y="1192"/>
                    <a:pt x="0" y="1192"/>
                  </a:cubicBezTo>
                  <a:cubicBezTo>
                    <a:pt x="0" y="1214"/>
                    <a:pt x="18" y="1232"/>
                    <a:pt x="40" y="1232"/>
                  </a:cubicBezTo>
                  <a:cubicBezTo>
                    <a:pt x="1688" y="1232"/>
                    <a:pt x="1688" y="1232"/>
                    <a:pt x="1688" y="1232"/>
                  </a:cubicBezTo>
                  <a:cubicBezTo>
                    <a:pt x="1710" y="1232"/>
                    <a:pt x="1728" y="1214"/>
                    <a:pt x="1728" y="1192"/>
                  </a:cubicBezTo>
                  <a:cubicBezTo>
                    <a:pt x="1728" y="369"/>
                    <a:pt x="1728" y="369"/>
                    <a:pt x="1728" y="369"/>
                  </a:cubicBezTo>
                  <a:cubicBezTo>
                    <a:pt x="1728" y="347"/>
                    <a:pt x="1710" y="329"/>
                    <a:pt x="1688" y="329"/>
                  </a:cubicBezTo>
                  <a:cubicBezTo>
                    <a:pt x="1666" y="329"/>
                    <a:pt x="1648" y="347"/>
                    <a:pt x="1648" y="369"/>
                  </a:cubicBezTo>
                  <a:cubicBezTo>
                    <a:pt x="1648" y="631"/>
                    <a:pt x="1648" y="631"/>
                    <a:pt x="1648" y="631"/>
                  </a:cubicBezTo>
                  <a:cubicBezTo>
                    <a:pt x="1127" y="1152"/>
                    <a:pt x="1127" y="1152"/>
                    <a:pt x="1127" y="1152"/>
                  </a:cubicBezTo>
                  <a:cubicBezTo>
                    <a:pt x="80" y="1152"/>
                    <a:pt x="80" y="1152"/>
                    <a:pt x="80" y="1152"/>
                  </a:cubicBezTo>
                  <a:cubicBezTo>
                    <a:pt x="80" y="240"/>
                    <a:pt x="80" y="240"/>
                    <a:pt x="80" y="240"/>
                  </a:cubicBezTo>
                  <a:cubicBezTo>
                    <a:pt x="237" y="240"/>
                    <a:pt x="237" y="240"/>
                    <a:pt x="237" y="240"/>
                  </a:cubicBezTo>
                  <a:cubicBezTo>
                    <a:pt x="239" y="246"/>
                    <a:pt x="242" y="251"/>
                    <a:pt x="247" y="256"/>
                  </a:cubicBezTo>
                  <a:cubicBezTo>
                    <a:pt x="286" y="296"/>
                    <a:pt x="286" y="296"/>
                    <a:pt x="286" y="296"/>
                  </a:cubicBezTo>
                  <a:cubicBezTo>
                    <a:pt x="274" y="319"/>
                    <a:pt x="264" y="343"/>
                    <a:pt x="256" y="368"/>
                  </a:cubicBezTo>
                  <a:cubicBezTo>
                    <a:pt x="200" y="368"/>
                    <a:pt x="200" y="368"/>
                    <a:pt x="200" y="368"/>
                  </a:cubicBezTo>
                  <a:cubicBezTo>
                    <a:pt x="178" y="368"/>
                    <a:pt x="160" y="386"/>
                    <a:pt x="160" y="408"/>
                  </a:cubicBezTo>
                  <a:cubicBezTo>
                    <a:pt x="160" y="568"/>
                    <a:pt x="160" y="568"/>
                    <a:pt x="160" y="568"/>
                  </a:cubicBezTo>
                  <a:cubicBezTo>
                    <a:pt x="160" y="590"/>
                    <a:pt x="178" y="608"/>
                    <a:pt x="200" y="608"/>
                  </a:cubicBezTo>
                  <a:cubicBezTo>
                    <a:pt x="257" y="608"/>
                    <a:pt x="257" y="608"/>
                    <a:pt x="257" y="608"/>
                  </a:cubicBezTo>
                  <a:cubicBezTo>
                    <a:pt x="264" y="633"/>
                    <a:pt x="274" y="657"/>
                    <a:pt x="286" y="680"/>
                  </a:cubicBezTo>
                  <a:cubicBezTo>
                    <a:pt x="247" y="720"/>
                    <a:pt x="247" y="720"/>
                    <a:pt x="247" y="720"/>
                  </a:cubicBezTo>
                  <a:cubicBezTo>
                    <a:pt x="231" y="735"/>
                    <a:pt x="231" y="761"/>
                    <a:pt x="247" y="776"/>
                  </a:cubicBezTo>
                  <a:cubicBezTo>
                    <a:pt x="360" y="890"/>
                    <a:pt x="360" y="890"/>
                    <a:pt x="360" y="890"/>
                  </a:cubicBezTo>
                  <a:cubicBezTo>
                    <a:pt x="376" y="905"/>
                    <a:pt x="401" y="905"/>
                    <a:pt x="417" y="890"/>
                  </a:cubicBezTo>
                  <a:cubicBezTo>
                    <a:pt x="456" y="850"/>
                    <a:pt x="456" y="850"/>
                    <a:pt x="456" y="850"/>
                  </a:cubicBezTo>
                  <a:cubicBezTo>
                    <a:pt x="479" y="862"/>
                    <a:pt x="503" y="872"/>
                    <a:pt x="528" y="880"/>
                  </a:cubicBezTo>
                  <a:cubicBezTo>
                    <a:pt x="528" y="936"/>
                    <a:pt x="528" y="936"/>
                    <a:pt x="528" y="936"/>
                  </a:cubicBezTo>
                  <a:cubicBezTo>
                    <a:pt x="528" y="958"/>
                    <a:pt x="546" y="976"/>
                    <a:pt x="568" y="976"/>
                  </a:cubicBezTo>
                  <a:cubicBezTo>
                    <a:pt x="729" y="976"/>
                    <a:pt x="729" y="976"/>
                    <a:pt x="729" y="976"/>
                  </a:cubicBezTo>
                  <a:cubicBezTo>
                    <a:pt x="751" y="976"/>
                    <a:pt x="769" y="958"/>
                    <a:pt x="769" y="936"/>
                  </a:cubicBezTo>
                  <a:cubicBezTo>
                    <a:pt x="769" y="880"/>
                    <a:pt x="769" y="880"/>
                    <a:pt x="769" y="880"/>
                  </a:cubicBezTo>
                  <a:cubicBezTo>
                    <a:pt x="793" y="872"/>
                    <a:pt x="818" y="862"/>
                    <a:pt x="841" y="850"/>
                  </a:cubicBezTo>
                  <a:cubicBezTo>
                    <a:pt x="880" y="890"/>
                    <a:pt x="880" y="890"/>
                    <a:pt x="880" y="890"/>
                  </a:cubicBezTo>
                  <a:cubicBezTo>
                    <a:pt x="888" y="897"/>
                    <a:pt x="898" y="901"/>
                    <a:pt x="909" y="901"/>
                  </a:cubicBezTo>
                  <a:cubicBezTo>
                    <a:pt x="919" y="901"/>
                    <a:pt x="929" y="897"/>
                    <a:pt x="937" y="890"/>
                  </a:cubicBezTo>
                  <a:cubicBezTo>
                    <a:pt x="1050" y="776"/>
                    <a:pt x="1050" y="776"/>
                    <a:pt x="1050" y="776"/>
                  </a:cubicBezTo>
                  <a:cubicBezTo>
                    <a:pt x="1058" y="769"/>
                    <a:pt x="1062" y="759"/>
                    <a:pt x="1062" y="748"/>
                  </a:cubicBezTo>
                  <a:cubicBezTo>
                    <a:pt x="1062" y="738"/>
                    <a:pt x="1058" y="727"/>
                    <a:pt x="1050" y="720"/>
                  </a:cubicBezTo>
                  <a:cubicBezTo>
                    <a:pt x="1011" y="680"/>
                    <a:pt x="1011" y="680"/>
                    <a:pt x="1011" y="680"/>
                  </a:cubicBezTo>
                  <a:cubicBezTo>
                    <a:pt x="1023" y="657"/>
                    <a:pt x="1033" y="633"/>
                    <a:pt x="1041" y="608"/>
                  </a:cubicBezTo>
                  <a:cubicBezTo>
                    <a:pt x="1096" y="608"/>
                    <a:pt x="1096" y="608"/>
                    <a:pt x="1096" y="608"/>
                  </a:cubicBezTo>
                  <a:cubicBezTo>
                    <a:pt x="1118" y="608"/>
                    <a:pt x="1136" y="590"/>
                    <a:pt x="1136" y="568"/>
                  </a:cubicBezTo>
                  <a:cubicBezTo>
                    <a:pt x="1136" y="408"/>
                    <a:pt x="1136" y="408"/>
                    <a:pt x="1136" y="408"/>
                  </a:cubicBezTo>
                  <a:cubicBezTo>
                    <a:pt x="1136" y="386"/>
                    <a:pt x="1118" y="368"/>
                    <a:pt x="1096" y="368"/>
                  </a:cubicBezTo>
                  <a:cubicBezTo>
                    <a:pt x="1041" y="368"/>
                    <a:pt x="1041" y="368"/>
                    <a:pt x="1041" y="368"/>
                  </a:cubicBezTo>
                  <a:cubicBezTo>
                    <a:pt x="1033" y="343"/>
                    <a:pt x="1023" y="319"/>
                    <a:pt x="1011" y="295"/>
                  </a:cubicBezTo>
                  <a:cubicBezTo>
                    <a:pt x="1050" y="256"/>
                    <a:pt x="1050" y="256"/>
                    <a:pt x="1050" y="256"/>
                  </a:cubicBezTo>
                  <a:cubicBezTo>
                    <a:pt x="1058" y="249"/>
                    <a:pt x="1062" y="238"/>
                    <a:pt x="1062" y="228"/>
                  </a:cubicBezTo>
                  <a:cubicBezTo>
                    <a:pt x="1062" y="217"/>
                    <a:pt x="1058" y="207"/>
                    <a:pt x="1050" y="200"/>
                  </a:cubicBezTo>
                  <a:cubicBezTo>
                    <a:pt x="937" y="86"/>
                    <a:pt x="937" y="86"/>
                    <a:pt x="937" y="86"/>
                  </a:cubicBezTo>
                  <a:cubicBezTo>
                    <a:pt x="929" y="79"/>
                    <a:pt x="919" y="75"/>
                    <a:pt x="909" y="75"/>
                  </a:cubicBezTo>
                  <a:cubicBezTo>
                    <a:pt x="898" y="75"/>
                    <a:pt x="888" y="79"/>
                    <a:pt x="880" y="86"/>
                  </a:cubicBezTo>
                  <a:cubicBezTo>
                    <a:pt x="841" y="126"/>
                    <a:pt x="841" y="126"/>
                    <a:pt x="841" y="126"/>
                  </a:cubicBezTo>
                  <a:cubicBezTo>
                    <a:pt x="818" y="113"/>
                    <a:pt x="794" y="103"/>
                    <a:pt x="769" y="96"/>
                  </a:cubicBezTo>
                  <a:cubicBezTo>
                    <a:pt x="769" y="40"/>
                    <a:pt x="769" y="40"/>
                    <a:pt x="769" y="40"/>
                  </a:cubicBezTo>
                  <a:cubicBezTo>
                    <a:pt x="769" y="18"/>
                    <a:pt x="751" y="0"/>
                    <a:pt x="729" y="0"/>
                  </a:cubicBezTo>
                  <a:cubicBezTo>
                    <a:pt x="568" y="0"/>
                    <a:pt x="568" y="0"/>
                    <a:pt x="568" y="0"/>
                  </a:cubicBezTo>
                  <a:cubicBezTo>
                    <a:pt x="546" y="0"/>
                    <a:pt x="528" y="18"/>
                    <a:pt x="528" y="40"/>
                  </a:cubicBezTo>
                  <a:cubicBezTo>
                    <a:pt x="528" y="96"/>
                    <a:pt x="528" y="96"/>
                    <a:pt x="528" y="96"/>
                  </a:cubicBezTo>
                  <a:cubicBezTo>
                    <a:pt x="503" y="103"/>
                    <a:pt x="479" y="113"/>
                    <a:pt x="456" y="126"/>
                  </a:cubicBezTo>
                  <a:cubicBezTo>
                    <a:pt x="417" y="86"/>
                    <a:pt x="417" y="86"/>
                    <a:pt x="417" y="86"/>
                  </a:cubicBezTo>
                  <a:cubicBezTo>
                    <a:pt x="401" y="71"/>
                    <a:pt x="376" y="71"/>
                    <a:pt x="360" y="86"/>
                  </a:cubicBezTo>
                  <a:cubicBezTo>
                    <a:pt x="286" y="160"/>
                    <a:pt x="286" y="160"/>
                    <a:pt x="286" y="160"/>
                  </a:cubicBezTo>
                  <a:lnTo>
                    <a:pt x="40" y="160"/>
                  </a:lnTo>
                  <a:close/>
                  <a:moveTo>
                    <a:pt x="1648" y="744"/>
                  </a:moveTo>
                  <a:cubicBezTo>
                    <a:pt x="1648" y="1152"/>
                    <a:pt x="1648" y="1152"/>
                    <a:pt x="1648" y="1152"/>
                  </a:cubicBezTo>
                  <a:cubicBezTo>
                    <a:pt x="1240" y="1152"/>
                    <a:pt x="1240" y="1152"/>
                    <a:pt x="1240" y="1152"/>
                  </a:cubicBezTo>
                  <a:lnTo>
                    <a:pt x="1648" y="744"/>
                  </a:lnTo>
                  <a:close/>
                  <a:moveTo>
                    <a:pt x="388" y="171"/>
                  </a:moveTo>
                  <a:cubicBezTo>
                    <a:pt x="421" y="204"/>
                    <a:pt x="421" y="204"/>
                    <a:pt x="421" y="204"/>
                  </a:cubicBezTo>
                  <a:cubicBezTo>
                    <a:pt x="429" y="212"/>
                    <a:pt x="439" y="216"/>
                    <a:pt x="449" y="216"/>
                  </a:cubicBezTo>
                  <a:cubicBezTo>
                    <a:pt x="457" y="216"/>
                    <a:pt x="465" y="214"/>
                    <a:pt x="471" y="209"/>
                  </a:cubicBezTo>
                  <a:cubicBezTo>
                    <a:pt x="504" y="189"/>
                    <a:pt x="539" y="174"/>
                    <a:pt x="577" y="166"/>
                  </a:cubicBezTo>
                  <a:cubicBezTo>
                    <a:pt x="595" y="161"/>
                    <a:pt x="608" y="145"/>
                    <a:pt x="608" y="126"/>
                  </a:cubicBezTo>
                  <a:cubicBezTo>
                    <a:pt x="608" y="80"/>
                    <a:pt x="608" y="80"/>
                    <a:pt x="608" y="80"/>
                  </a:cubicBezTo>
                  <a:cubicBezTo>
                    <a:pt x="689" y="80"/>
                    <a:pt x="689" y="80"/>
                    <a:pt x="689" y="80"/>
                  </a:cubicBezTo>
                  <a:cubicBezTo>
                    <a:pt x="689" y="126"/>
                    <a:pt x="689" y="126"/>
                    <a:pt x="689" y="126"/>
                  </a:cubicBezTo>
                  <a:cubicBezTo>
                    <a:pt x="689" y="145"/>
                    <a:pt x="702" y="161"/>
                    <a:pt x="720" y="165"/>
                  </a:cubicBezTo>
                  <a:cubicBezTo>
                    <a:pt x="758" y="174"/>
                    <a:pt x="793" y="188"/>
                    <a:pt x="826" y="209"/>
                  </a:cubicBezTo>
                  <a:cubicBezTo>
                    <a:pt x="832" y="213"/>
                    <a:pt x="840" y="216"/>
                    <a:pt x="847" y="216"/>
                  </a:cubicBezTo>
                  <a:cubicBezTo>
                    <a:pt x="858" y="216"/>
                    <a:pt x="868" y="211"/>
                    <a:pt x="876" y="204"/>
                  </a:cubicBezTo>
                  <a:cubicBezTo>
                    <a:pt x="909" y="171"/>
                    <a:pt x="909" y="171"/>
                    <a:pt x="909" y="171"/>
                  </a:cubicBezTo>
                  <a:cubicBezTo>
                    <a:pt x="965" y="228"/>
                    <a:pt x="965" y="228"/>
                    <a:pt x="965" y="228"/>
                  </a:cubicBezTo>
                  <a:cubicBezTo>
                    <a:pt x="933" y="261"/>
                    <a:pt x="933" y="261"/>
                    <a:pt x="933" y="261"/>
                  </a:cubicBezTo>
                  <a:cubicBezTo>
                    <a:pt x="925" y="268"/>
                    <a:pt x="921" y="278"/>
                    <a:pt x="921" y="289"/>
                  </a:cubicBezTo>
                  <a:cubicBezTo>
                    <a:pt x="921" y="297"/>
                    <a:pt x="923" y="304"/>
                    <a:pt x="927" y="310"/>
                  </a:cubicBezTo>
                  <a:cubicBezTo>
                    <a:pt x="948" y="343"/>
                    <a:pt x="963" y="379"/>
                    <a:pt x="971" y="416"/>
                  </a:cubicBezTo>
                  <a:cubicBezTo>
                    <a:pt x="975" y="435"/>
                    <a:pt x="991" y="448"/>
                    <a:pt x="1010" y="448"/>
                  </a:cubicBezTo>
                  <a:cubicBezTo>
                    <a:pt x="1056" y="448"/>
                    <a:pt x="1056" y="448"/>
                    <a:pt x="1056" y="448"/>
                  </a:cubicBezTo>
                  <a:cubicBezTo>
                    <a:pt x="1056" y="528"/>
                    <a:pt x="1056" y="528"/>
                    <a:pt x="1056" y="528"/>
                  </a:cubicBezTo>
                  <a:cubicBezTo>
                    <a:pt x="1010" y="528"/>
                    <a:pt x="1010" y="528"/>
                    <a:pt x="1010" y="528"/>
                  </a:cubicBezTo>
                  <a:cubicBezTo>
                    <a:pt x="991" y="528"/>
                    <a:pt x="975" y="541"/>
                    <a:pt x="971" y="559"/>
                  </a:cubicBezTo>
                  <a:cubicBezTo>
                    <a:pt x="963" y="597"/>
                    <a:pt x="948" y="633"/>
                    <a:pt x="927" y="665"/>
                  </a:cubicBezTo>
                  <a:cubicBezTo>
                    <a:pt x="919" y="677"/>
                    <a:pt x="918" y="692"/>
                    <a:pt x="925" y="705"/>
                  </a:cubicBezTo>
                  <a:cubicBezTo>
                    <a:pt x="927" y="709"/>
                    <a:pt x="929" y="712"/>
                    <a:pt x="932" y="715"/>
                  </a:cubicBezTo>
                  <a:cubicBezTo>
                    <a:pt x="965" y="748"/>
                    <a:pt x="965" y="748"/>
                    <a:pt x="965" y="748"/>
                  </a:cubicBezTo>
                  <a:cubicBezTo>
                    <a:pt x="909" y="805"/>
                    <a:pt x="909" y="805"/>
                    <a:pt x="909" y="805"/>
                  </a:cubicBezTo>
                  <a:cubicBezTo>
                    <a:pt x="875" y="772"/>
                    <a:pt x="875" y="772"/>
                    <a:pt x="875" y="772"/>
                  </a:cubicBezTo>
                  <a:cubicBezTo>
                    <a:pt x="863" y="760"/>
                    <a:pt x="845" y="757"/>
                    <a:pt x="829" y="764"/>
                  </a:cubicBezTo>
                  <a:cubicBezTo>
                    <a:pt x="828" y="765"/>
                    <a:pt x="827" y="766"/>
                    <a:pt x="826" y="766"/>
                  </a:cubicBezTo>
                  <a:cubicBezTo>
                    <a:pt x="793" y="787"/>
                    <a:pt x="758" y="802"/>
                    <a:pt x="720" y="810"/>
                  </a:cubicBezTo>
                  <a:cubicBezTo>
                    <a:pt x="702" y="814"/>
                    <a:pt x="689" y="830"/>
                    <a:pt x="689" y="849"/>
                  </a:cubicBezTo>
                  <a:cubicBezTo>
                    <a:pt x="689" y="896"/>
                    <a:pt x="689" y="896"/>
                    <a:pt x="689" y="896"/>
                  </a:cubicBezTo>
                  <a:cubicBezTo>
                    <a:pt x="608" y="896"/>
                    <a:pt x="608" y="896"/>
                    <a:pt x="608" y="896"/>
                  </a:cubicBezTo>
                  <a:cubicBezTo>
                    <a:pt x="608" y="849"/>
                    <a:pt x="608" y="849"/>
                    <a:pt x="608" y="849"/>
                  </a:cubicBezTo>
                  <a:cubicBezTo>
                    <a:pt x="608" y="830"/>
                    <a:pt x="595" y="814"/>
                    <a:pt x="577" y="810"/>
                  </a:cubicBezTo>
                  <a:cubicBezTo>
                    <a:pt x="539" y="802"/>
                    <a:pt x="504" y="787"/>
                    <a:pt x="471" y="766"/>
                  </a:cubicBezTo>
                  <a:cubicBezTo>
                    <a:pt x="465" y="762"/>
                    <a:pt x="457" y="760"/>
                    <a:pt x="450" y="760"/>
                  </a:cubicBezTo>
                  <a:cubicBezTo>
                    <a:pt x="439" y="760"/>
                    <a:pt x="429" y="764"/>
                    <a:pt x="421" y="772"/>
                  </a:cubicBezTo>
                  <a:cubicBezTo>
                    <a:pt x="388" y="805"/>
                    <a:pt x="388" y="805"/>
                    <a:pt x="388" y="805"/>
                  </a:cubicBezTo>
                  <a:cubicBezTo>
                    <a:pt x="332" y="748"/>
                    <a:pt x="332" y="748"/>
                    <a:pt x="332" y="748"/>
                  </a:cubicBezTo>
                  <a:cubicBezTo>
                    <a:pt x="365" y="715"/>
                    <a:pt x="365" y="715"/>
                    <a:pt x="365" y="715"/>
                  </a:cubicBezTo>
                  <a:cubicBezTo>
                    <a:pt x="378" y="701"/>
                    <a:pt x="380" y="680"/>
                    <a:pt x="370" y="664"/>
                  </a:cubicBezTo>
                  <a:cubicBezTo>
                    <a:pt x="349" y="632"/>
                    <a:pt x="335" y="597"/>
                    <a:pt x="326" y="559"/>
                  </a:cubicBezTo>
                  <a:cubicBezTo>
                    <a:pt x="322" y="541"/>
                    <a:pt x="306" y="528"/>
                    <a:pt x="287" y="528"/>
                  </a:cubicBezTo>
                  <a:cubicBezTo>
                    <a:pt x="240" y="528"/>
                    <a:pt x="240" y="528"/>
                    <a:pt x="240" y="528"/>
                  </a:cubicBezTo>
                  <a:cubicBezTo>
                    <a:pt x="240" y="448"/>
                    <a:pt x="240" y="448"/>
                    <a:pt x="240" y="448"/>
                  </a:cubicBezTo>
                  <a:cubicBezTo>
                    <a:pt x="287" y="448"/>
                    <a:pt x="287" y="448"/>
                    <a:pt x="287" y="448"/>
                  </a:cubicBezTo>
                  <a:cubicBezTo>
                    <a:pt x="306" y="448"/>
                    <a:pt x="322" y="435"/>
                    <a:pt x="326" y="416"/>
                  </a:cubicBezTo>
                  <a:cubicBezTo>
                    <a:pt x="335" y="379"/>
                    <a:pt x="349" y="343"/>
                    <a:pt x="370" y="311"/>
                  </a:cubicBezTo>
                  <a:cubicBezTo>
                    <a:pt x="374" y="304"/>
                    <a:pt x="376" y="297"/>
                    <a:pt x="376" y="289"/>
                  </a:cubicBezTo>
                  <a:cubicBezTo>
                    <a:pt x="376" y="279"/>
                    <a:pt x="372" y="268"/>
                    <a:pt x="365" y="261"/>
                  </a:cubicBezTo>
                  <a:cubicBezTo>
                    <a:pt x="332" y="228"/>
                    <a:pt x="332" y="228"/>
                    <a:pt x="332" y="228"/>
                  </a:cubicBezTo>
                  <a:lnTo>
                    <a:pt x="388"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
            <p:cNvSpPr>
              <a:spLocks noEditPoints="1"/>
            </p:cNvSpPr>
            <p:nvPr/>
          </p:nvSpPr>
          <p:spPr bwMode="auto">
            <a:xfrm>
              <a:off x="4183" y="3155"/>
              <a:ext cx="878" cy="878"/>
            </a:xfrm>
            <a:custGeom>
              <a:avLst/>
              <a:gdLst>
                <a:gd name="T0" fmla="*/ 232 w 464"/>
                <a:gd name="T1" fmla="*/ 464 h 464"/>
                <a:gd name="T2" fmla="*/ 464 w 464"/>
                <a:gd name="T3" fmla="*/ 232 h 464"/>
                <a:gd name="T4" fmla="*/ 232 w 464"/>
                <a:gd name="T5" fmla="*/ 0 h 464"/>
                <a:gd name="T6" fmla="*/ 0 w 464"/>
                <a:gd name="T7" fmla="*/ 232 h 464"/>
                <a:gd name="T8" fmla="*/ 232 w 464"/>
                <a:gd name="T9" fmla="*/ 464 h 464"/>
                <a:gd name="T10" fmla="*/ 232 w 464"/>
                <a:gd name="T11" fmla="*/ 80 h 464"/>
                <a:gd name="T12" fmla="*/ 384 w 464"/>
                <a:gd name="T13" fmla="*/ 232 h 464"/>
                <a:gd name="T14" fmla="*/ 232 w 464"/>
                <a:gd name="T15" fmla="*/ 384 h 464"/>
                <a:gd name="T16" fmla="*/ 80 w 464"/>
                <a:gd name="T17" fmla="*/ 232 h 464"/>
                <a:gd name="T18" fmla="*/ 232 w 464"/>
                <a:gd name="T19" fmla="*/ 8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 h="464">
                  <a:moveTo>
                    <a:pt x="232" y="464"/>
                  </a:moveTo>
                  <a:cubicBezTo>
                    <a:pt x="360" y="464"/>
                    <a:pt x="464" y="360"/>
                    <a:pt x="464" y="232"/>
                  </a:cubicBezTo>
                  <a:cubicBezTo>
                    <a:pt x="464" y="104"/>
                    <a:pt x="360" y="0"/>
                    <a:pt x="232" y="0"/>
                  </a:cubicBezTo>
                  <a:cubicBezTo>
                    <a:pt x="104" y="0"/>
                    <a:pt x="0" y="104"/>
                    <a:pt x="0" y="232"/>
                  </a:cubicBezTo>
                  <a:cubicBezTo>
                    <a:pt x="0" y="360"/>
                    <a:pt x="104" y="464"/>
                    <a:pt x="232" y="464"/>
                  </a:cubicBezTo>
                  <a:close/>
                  <a:moveTo>
                    <a:pt x="232" y="80"/>
                  </a:moveTo>
                  <a:cubicBezTo>
                    <a:pt x="316" y="80"/>
                    <a:pt x="384" y="148"/>
                    <a:pt x="384" y="232"/>
                  </a:cubicBezTo>
                  <a:cubicBezTo>
                    <a:pt x="384" y="316"/>
                    <a:pt x="316" y="384"/>
                    <a:pt x="232" y="384"/>
                  </a:cubicBezTo>
                  <a:cubicBezTo>
                    <a:pt x="149" y="384"/>
                    <a:pt x="80" y="316"/>
                    <a:pt x="80" y="232"/>
                  </a:cubicBezTo>
                  <a:cubicBezTo>
                    <a:pt x="80" y="148"/>
                    <a:pt x="149" y="80"/>
                    <a:pt x="232"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1"/>
            <p:cNvSpPr>
              <a:spLocks noEditPoints="1"/>
            </p:cNvSpPr>
            <p:nvPr/>
          </p:nvSpPr>
          <p:spPr bwMode="auto">
            <a:xfrm>
              <a:off x="5473" y="2262"/>
              <a:ext cx="1052" cy="1039"/>
            </a:xfrm>
            <a:custGeom>
              <a:avLst/>
              <a:gdLst>
                <a:gd name="T0" fmla="*/ 70 w 556"/>
                <a:gd name="T1" fmla="*/ 463 h 549"/>
                <a:gd name="T2" fmla="*/ 145 w 556"/>
                <a:gd name="T3" fmla="*/ 465 h 549"/>
                <a:gd name="T4" fmla="*/ 179 w 556"/>
                <a:gd name="T5" fmla="*/ 509 h 549"/>
                <a:gd name="T6" fmla="*/ 337 w 556"/>
                <a:gd name="T7" fmla="*/ 549 h 549"/>
                <a:gd name="T8" fmla="*/ 377 w 556"/>
                <a:gd name="T9" fmla="*/ 485 h 549"/>
                <a:gd name="T10" fmla="*/ 432 w 556"/>
                <a:gd name="T11" fmla="*/ 477 h 549"/>
                <a:gd name="T12" fmla="*/ 545 w 556"/>
                <a:gd name="T13" fmla="*/ 361 h 549"/>
                <a:gd name="T14" fmla="*/ 510 w 556"/>
                <a:gd name="T15" fmla="*/ 294 h 549"/>
                <a:gd name="T16" fmla="*/ 510 w 556"/>
                <a:gd name="T17" fmla="*/ 255 h 549"/>
                <a:gd name="T18" fmla="*/ 545 w 556"/>
                <a:gd name="T19" fmla="*/ 188 h 549"/>
                <a:gd name="T20" fmla="*/ 432 w 556"/>
                <a:gd name="T21" fmla="*/ 72 h 549"/>
                <a:gd name="T22" fmla="*/ 377 w 556"/>
                <a:gd name="T23" fmla="*/ 64 h 549"/>
                <a:gd name="T24" fmla="*/ 337 w 556"/>
                <a:gd name="T25" fmla="*/ 0 h 549"/>
                <a:gd name="T26" fmla="*/ 179 w 556"/>
                <a:gd name="T27" fmla="*/ 40 h 549"/>
                <a:gd name="T28" fmla="*/ 145 w 556"/>
                <a:gd name="T29" fmla="*/ 84 h 549"/>
                <a:gd name="T30" fmla="*/ 70 w 556"/>
                <a:gd name="T31" fmla="*/ 86 h 549"/>
                <a:gd name="T32" fmla="*/ 26 w 556"/>
                <a:gd name="T33" fmla="*/ 243 h 549"/>
                <a:gd name="T34" fmla="*/ 45 w 556"/>
                <a:gd name="T35" fmla="*/ 274 h 549"/>
                <a:gd name="T36" fmla="*/ 26 w 556"/>
                <a:gd name="T37" fmla="*/ 306 h 549"/>
                <a:gd name="T38" fmla="*/ 129 w 556"/>
                <a:gd name="T39" fmla="*/ 307 h 549"/>
                <a:gd name="T40" fmla="*/ 129 w 556"/>
                <a:gd name="T41" fmla="*/ 242 h 549"/>
                <a:gd name="T42" fmla="*/ 100 w 556"/>
                <a:gd name="T43" fmla="*/ 193 h 549"/>
                <a:gd name="T44" fmla="*/ 128 w 556"/>
                <a:gd name="T45" fmla="*/ 167 h 549"/>
                <a:gd name="T46" fmla="*/ 231 w 556"/>
                <a:gd name="T47" fmla="*/ 129 h 549"/>
                <a:gd name="T48" fmla="*/ 259 w 556"/>
                <a:gd name="T49" fmla="*/ 80 h 549"/>
                <a:gd name="T50" fmla="*/ 297 w 556"/>
                <a:gd name="T51" fmla="*/ 91 h 549"/>
                <a:gd name="T52" fmla="*/ 381 w 556"/>
                <a:gd name="T53" fmla="*/ 162 h 549"/>
                <a:gd name="T54" fmla="*/ 437 w 556"/>
                <a:gd name="T55" fmla="*/ 161 h 549"/>
                <a:gd name="T56" fmla="*/ 446 w 556"/>
                <a:gd name="T57" fmla="*/ 199 h 549"/>
                <a:gd name="T58" fmla="*/ 431 w 556"/>
                <a:gd name="T59" fmla="*/ 274 h 549"/>
                <a:gd name="T60" fmla="*/ 446 w 556"/>
                <a:gd name="T61" fmla="*/ 350 h 549"/>
                <a:gd name="T62" fmla="*/ 437 w 556"/>
                <a:gd name="T63" fmla="*/ 388 h 549"/>
                <a:gd name="T64" fmla="*/ 381 w 556"/>
                <a:gd name="T65" fmla="*/ 387 h 549"/>
                <a:gd name="T66" fmla="*/ 297 w 556"/>
                <a:gd name="T67" fmla="*/ 458 h 549"/>
                <a:gd name="T68" fmla="*/ 259 w 556"/>
                <a:gd name="T69" fmla="*/ 469 h 549"/>
                <a:gd name="T70" fmla="*/ 231 w 556"/>
                <a:gd name="T71" fmla="*/ 420 h 549"/>
                <a:gd name="T72" fmla="*/ 128 w 556"/>
                <a:gd name="T73" fmla="*/ 382 h 549"/>
                <a:gd name="T74" fmla="*/ 100 w 556"/>
                <a:gd name="T75" fmla="*/ 356 h 549"/>
                <a:gd name="T76" fmla="*/ 129 w 556"/>
                <a:gd name="T77" fmla="*/ 30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6" h="549">
                  <a:moveTo>
                    <a:pt x="11" y="361"/>
                  </a:moveTo>
                  <a:cubicBezTo>
                    <a:pt x="70" y="463"/>
                    <a:pt x="70" y="463"/>
                    <a:pt x="70" y="463"/>
                  </a:cubicBezTo>
                  <a:cubicBezTo>
                    <a:pt x="81" y="482"/>
                    <a:pt x="105" y="488"/>
                    <a:pt x="124" y="477"/>
                  </a:cubicBezTo>
                  <a:cubicBezTo>
                    <a:pt x="145" y="465"/>
                    <a:pt x="145" y="465"/>
                    <a:pt x="145" y="465"/>
                  </a:cubicBezTo>
                  <a:cubicBezTo>
                    <a:pt x="156" y="473"/>
                    <a:pt x="167" y="480"/>
                    <a:pt x="179" y="485"/>
                  </a:cubicBezTo>
                  <a:cubicBezTo>
                    <a:pt x="179" y="509"/>
                    <a:pt x="179" y="509"/>
                    <a:pt x="179" y="509"/>
                  </a:cubicBezTo>
                  <a:cubicBezTo>
                    <a:pt x="179" y="531"/>
                    <a:pt x="197" y="549"/>
                    <a:pt x="219" y="549"/>
                  </a:cubicBezTo>
                  <a:cubicBezTo>
                    <a:pt x="337" y="549"/>
                    <a:pt x="337" y="549"/>
                    <a:pt x="337" y="549"/>
                  </a:cubicBezTo>
                  <a:cubicBezTo>
                    <a:pt x="359" y="549"/>
                    <a:pt x="377" y="531"/>
                    <a:pt x="377" y="509"/>
                  </a:cubicBezTo>
                  <a:cubicBezTo>
                    <a:pt x="377" y="485"/>
                    <a:pt x="377" y="485"/>
                    <a:pt x="377" y="485"/>
                  </a:cubicBezTo>
                  <a:cubicBezTo>
                    <a:pt x="389" y="480"/>
                    <a:pt x="400" y="473"/>
                    <a:pt x="411" y="465"/>
                  </a:cubicBezTo>
                  <a:cubicBezTo>
                    <a:pt x="432" y="477"/>
                    <a:pt x="432" y="477"/>
                    <a:pt x="432" y="477"/>
                  </a:cubicBezTo>
                  <a:cubicBezTo>
                    <a:pt x="451" y="488"/>
                    <a:pt x="475" y="482"/>
                    <a:pt x="486" y="463"/>
                  </a:cubicBezTo>
                  <a:cubicBezTo>
                    <a:pt x="545" y="361"/>
                    <a:pt x="545" y="361"/>
                    <a:pt x="545" y="361"/>
                  </a:cubicBezTo>
                  <a:cubicBezTo>
                    <a:pt x="556" y="342"/>
                    <a:pt x="549" y="317"/>
                    <a:pt x="530" y="306"/>
                  </a:cubicBezTo>
                  <a:cubicBezTo>
                    <a:pt x="510" y="294"/>
                    <a:pt x="510" y="294"/>
                    <a:pt x="510" y="294"/>
                  </a:cubicBezTo>
                  <a:cubicBezTo>
                    <a:pt x="510" y="288"/>
                    <a:pt x="511" y="281"/>
                    <a:pt x="511" y="274"/>
                  </a:cubicBezTo>
                  <a:cubicBezTo>
                    <a:pt x="511" y="268"/>
                    <a:pt x="510" y="261"/>
                    <a:pt x="510" y="255"/>
                  </a:cubicBezTo>
                  <a:cubicBezTo>
                    <a:pt x="530" y="243"/>
                    <a:pt x="530" y="243"/>
                    <a:pt x="530" y="243"/>
                  </a:cubicBezTo>
                  <a:cubicBezTo>
                    <a:pt x="549" y="232"/>
                    <a:pt x="556" y="207"/>
                    <a:pt x="545" y="188"/>
                  </a:cubicBezTo>
                  <a:cubicBezTo>
                    <a:pt x="486" y="86"/>
                    <a:pt x="486" y="86"/>
                    <a:pt x="486" y="86"/>
                  </a:cubicBezTo>
                  <a:cubicBezTo>
                    <a:pt x="475" y="67"/>
                    <a:pt x="451" y="61"/>
                    <a:pt x="432" y="72"/>
                  </a:cubicBezTo>
                  <a:cubicBezTo>
                    <a:pt x="411" y="84"/>
                    <a:pt x="411" y="84"/>
                    <a:pt x="411" y="84"/>
                  </a:cubicBezTo>
                  <a:cubicBezTo>
                    <a:pt x="400" y="76"/>
                    <a:pt x="389" y="69"/>
                    <a:pt x="377" y="64"/>
                  </a:cubicBezTo>
                  <a:cubicBezTo>
                    <a:pt x="377" y="40"/>
                    <a:pt x="377" y="40"/>
                    <a:pt x="377" y="40"/>
                  </a:cubicBezTo>
                  <a:cubicBezTo>
                    <a:pt x="377" y="18"/>
                    <a:pt x="359" y="0"/>
                    <a:pt x="337" y="0"/>
                  </a:cubicBezTo>
                  <a:cubicBezTo>
                    <a:pt x="219" y="0"/>
                    <a:pt x="219" y="0"/>
                    <a:pt x="219" y="0"/>
                  </a:cubicBezTo>
                  <a:cubicBezTo>
                    <a:pt x="197" y="0"/>
                    <a:pt x="179" y="18"/>
                    <a:pt x="179" y="40"/>
                  </a:cubicBezTo>
                  <a:cubicBezTo>
                    <a:pt x="179" y="64"/>
                    <a:pt x="179" y="64"/>
                    <a:pt x="179" y="64"/>
                  </a:cubicBezTo>
                  <a:cubicBezTo>
                    <a:pt x="167" y="69"/>
                    <a:pt x="156" y="76"/>
                    <a:pt x="145" y="84"/>
                  </a:cubicBezTo>
                  <a:cubicBezTo>
                    <a:pt x="124" y="72"/>
                    <a:pt x="124" y="72"/>
                    <a:pt x="124" y="72"/>
                  </a:cubicBezTo>
                  <a:cubicBezTo>
                    <a:pt x="105" y="61"/>
                    <a:pt x="81" y="67"/>
                    <a:pt x="70" y="86"/>
                  </a:cubicBezTo>
                  <a:cubicBezTo>
                    <a:pt x="11" y="188"/>
                    <a:pt x="11" y="188"/>
                    <a:pt x="11" y="188"/>
                  </a:cubicBezTo>
                  <a:cubicBezTo>
                    <a:pt x="0" y="207"/>
                    <a:pt x="6" y="232"/>
                    <a:pt x="26" y="243"/>
                  </a:cubicBezTo>
                  <a:cubicBezTo>
                    <a:pt x="46" y="255"/>
                    <a:pt x="46" y="255"/>
                    <a:pt x="46" y="255"/>
                  </a:cubicBezTo>
                  <a:cubicBezTo>
                    <a:pt x="46" y="261"/>
                    <a:pt x="45" y="268"/>
                    <a:pt x="45" y="274"/>
                  </a:cubicBezTo>
                  <a:cubicBezTo>
                    <a:pt x="45" y="281"/>
                    <a:pt x="46" y="288"/>
                    <a:pt x="46" y="294"/>
                  </a:cubicBezTo>
                  <a:cubicBezTo>
                    <a:pt x="26" y="306"/>
                    <a:pt x="26" y="306"/>
                    <a:pt x="26" y="306"/>
                  </a:cubicBezTo>
                  <a:cubicBezTo>
                    <a:pt x="6" y="317"/>
                    <a:pt x="0" y="342"/>
                    <a:pt x="11" y="361"/>
                  </a:cubicBezTo>
                  <a:close/>
                  <a:moveTo>
                    <a:pt x="129" y="307"/>
                  </a:moveTo>
                  <a:cubicBezTo>
                    <a:pt x="126" y="296"/>
                    <a:pt x="125" y="285"/>
                    <a:pt x="125" y="274"/>
                  </a:cubicBezTo>
                  <a:cubicBezTo>
                    <a:pt x="125" y="264"/>
                    <a:pt x="126" y="253"/>
                    <a:pt x="129" y="242"/>
                  </a:cubicBezTo>
                  <a:cubicBezTo>
                    <a:pt x="132" y="225"/>
                    <a:pt x="125" y="208"/>
                    <a:pt x="110" y="199"/>
                  </a:cubicBezTo>
                  <a:cubicBezTo>
                    <a:pt x="100" y="193"/>
                    <a:pt x="100" y="193"/>
                    <a:pt x="100" y="193"/>
                  </a:cubicBezTo>
                  <a:cubicBezTo>
                    <a:pt x="119" y="161"/>
                    <a:pt x="119" y="161"/>
                    <a:pt x="119" y="161"/>
                  </a:cubicBezTo>
                  <a:cubicBezTo>
                    <a:pt x="128" y="167"/>
                    <a:pt x="128" y="167"/>
                    <a:pt x="128" y="167"/>
                  </a:cubicBezTo>
                  <a:cubicBezTo>
                    <a:pt x="143" y="175"/>
                    <a:pt x="162" y="173"/>
                    <a:pt x="175" y="162"/>
                  </a:cubicBezTo>
                  <a:cubicBezTo>
                    <a:pt x="192" y="147"/>
                    <a:pt x="211" y="136"/>
                    <a:pt x="231" y="129"/>
                  </a:cubicBezTo>
                  <a:cubicBezTo>
                    <a:pt x="248" y="124"/>
                    <a:pt x="259" y="108"/>
                    <a:pt x="259" y="91"/>
                  </a:cubicBezTo>
                  <a:cubicBezTo>
                    <a:pt x="259" y="80"/>
                    <a:pt x="259" y="80"/>
                    <a:pt x="259" y="80"/>
                  </a:cubicBezTo>
                  <a:cubicBezTo>
                    <a:pt x="297" y="80"/>
                    <a:pt x="297" y="80"/>
                    <a:pt x="297" y="80"/>
                  </a:cubicBezTo>
                  <a:cubicBezTo>
                    <a:pt x="297" y="91"/>
                    <a:pt x="297" y="91"/>
                    <a:pt x="297" y="91"/>
                  </a:cubicBezTo>
                  <a:cubicBezTo>
                    <a:pt x="297" y="108"/>
                    <a:pt x="308" y="124"/>
                    <a:pt x="324" y="129"/>
                  </a:cubicBezTo>
                  <a:cubicBezTo>
                    <a:pt x="345" y="136"/>
                    <a:pt x="364" y="147"/>
                    <a:pt x="381" y="162"/>
                  </a:cubicBezTo>
                  <a:cubicBezTo>
                    <a:pt x="394" y="173"/>
                    <a:pt x="412" y="175"/>
                    <a:pt x="428" y="167"/>
                  </a:cubicBezTo>
                  <a:cubicBezTo>
                    <a:pt x="437" y="161"/>
                    <a:pt x="437" y="161"/>
                    <a:pt x="437" y="161"/>
                  </a:cubicBezTo>
                  <a:cubicBezTo>
                    <a:pt x="456" y="193"/>
                    <a:pt x="456" y="193"/>
                    <a:pt x="456" y="193"/>
                  </a:cubicBezTo>
                  <a:cubicBezTo>
                    <a:pt x="446" y="199"/>
                    <a:pt x="446" y="199"/>
                    <a:pt x="446" y="199"/>
                  </a:cubicBezTo>
                  <a:cubicBezTo>
                    <a:pt x="431" y="208"/>
                    <a:pt x="423" y="225"/>
                    <a:pt x="427" y="242"/>
                  </a:cubicBezTo>
                  <a:cubicBezTo>
                    <a:pt x="429" y="253"/>
                    <a:pt x="431" y="264"/>
                    <a:pt x="431" y="274"/>
                  </a:cubicBezTo>
                  <a:cubicBezTo>
                    <a:pt x="431" y="285"/>
                    <a:pt x="429" y="296"/>
                    <a:pt x="427" y="307"/>
                  </a:cubicBezTo>
                  <a:cubicBezTo>
                    <a:pt x="423" y="324"/>
                    <a:pt x="431" y="341"/>
                    <a:pt x="446" y="350"/>
                  </a:cubicBezTo>
                  <a:cubicBezTo>
                    <a:pt x="456" y="356"/>
                    <a:pt x="456" y="356"/>
                    <a:pt x="456" y="356"/>
                  </a:cubicBezTo>
                  <a:cubicBezTo>
                    <a:pt x="437" y="388"/>
                    <a:pt x="437" y="388"/>
                    <a:pt x="437" y="388"/>
                  </a:cubicBezTo>
                  <a:cubicBezTo>
                    <a:pt x="428" y="382"/>
                    <a:pt x="428" y="382"/>
                    <a:pt x="428" y="382"/>
                  </a:cubicBezTo>
                  <a:cubicBezTo>
                    <a:pt x="412" y="374"/>
                    <a:pt x="393" y="376"/>
                    <a:pt x="381" y="387"/>
                  </a:cubicBezTo>
                  <a:cubicBezTo>
                    <a:pt x="364" y="402"/>
                    <a:pt x="345" y="413"/>
                    <a:pt x="324" y="420"/>
                  </a:cubicBezTo>
                  <a:cubicBezTo>
                    <a:pt x="308" y="425"/>
                    <a:pt x="297" y="441"/>
                    <a:pt x="297" y="458"/>
                  </a:cubicBezTo>
                  <a:cubicBezTo>
                    <a:pt x="297" y="469"/>
                    <a:pt x="297" y="469"/>
                    <a:pt x="297" y="469"/>
                  </a:cubicBezTo>
                  <a:cubicBezTo>
                    <a:pt x="259" y="469"/>
                    <a:pt x="259" y="469"/>
                    <a:pt x="259" y="469"/>
                  </a:cubicBezTo>
                  <a:cubicBezTo>
                    <a:pt x="259" y="458"/>
                    <a:pt x="259" y="458"/>
                    <a:pt x="259" y="458"/>
                  </a:cubicBezTo>
                  <a:cubicBezTo>
                    <a:pt x="259" y="441"/>
                    <a:pt x="248" y="425"/>
                    <a:pt x="231" y="420"/>
                  </a:cubicBezTo>
                  <a:cubicBezTo>
                    <a:pt x="211" y="413"/>
                    <a:pt x="192" y="402"/>
                    <a:pt x="175" y="387"/>
                  </a:cubicBezTo>
                  <a:cubicBezTo>
                    <a:pt x="162" y="376"/>
                    <a:pt x="143" y="374"/>
                    <a:pt x="128" y="382"/>
                  </a:cubicBezTo>
                  <a:cubicBezTo>
                    <a:pt x="119" y="388"/>
                    <a:pt x="119" y="388"/>
                    <a:pt x="119" y="388"/>
                  </a:cubicBezTo>
                  <a:cubicBezTo>
                    <a:pt x="100" y="356"/>
                    <a:pt x="100" y="356"/>
                    <a:pt x="100" y="356"/>
                  </a:cubicBezTo>
                  <a:cubicBezTo>
                    <a:pt x="110" y="350"/>
                    <a:pt x="110" y="350"/>
                    <a:pt x="110" y="350"/>
                  </a:cubicBezTo>
                  <a:cubicBezTo>
                    <a:pt x="125" y="341"/>
                    <a:pt x="132" y="324"/>
                    <a:pt x="129" y="3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2"/>
            <p:cNvSpPr>
              <a:spLocks/>
            </p:cNvSpPr>
            <p:nvPr/>
          </p:nvSpPr>
          <p:spPr bwMode="auto">
            <a:xfrm>
              <a:off x="5924" y="2707"/>
              <a:ext cx="151" cy="149"/>
            </a:xfrm>
            <a:custGeom>
              <a:avLst/>
              <a:gdLst>
                <a:gd name="T0" fmla="*/ 40 w 80"/>
                <a:gd name="T1" fmla="*/ 79 h 79"/>
                <a:gd name="T2" fmla="*/ 68 w 80"/>
                <a:gd name="T3" fmla="*/ 68 h 79"/>
                <a:gd name="T4" fmla="*/ 80 w 80"/>
                <a:gd name="T5" fmla="*/ 39 h 79"/>
                <a:gd name="T6" fmla="*/ 68 w 80"/>
                <a:gd name="T7" fmla="*/ 11 h 79"/>
                <a:gd name="T8" fmla="*/ 40 w 80"/>
                <a:gd name="T9" fmla="*/ 0 h 79"/>
                <a:gd name="T10" fmla="*/ 12 w 80"/>
                <a:gd name="T11" fmla="*/ 11 h 79"/>
                <a:gd name="T12" fmla="*/ 0 w 80"/>
                <a:gd name="T13" fmla="*/ 39 h 79"/>
                <a:gd name="T14" fmla="*/ 12 w 80"/>
                <a:gd name="T15" fmla="*/ 68 h 79"/>
                <a:gd name="T16" fmla="*/ 40 w 8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79">
                  <a:moveTo>
                    <a:pt x="40" y="79"/>
                  </a:moveTo>
                  <a:cubicBezTo>
                    <a:pt x="50" y="79"/>
                    <a:pt x="61" y="75"/>
                    <a:pt x="68" y="68"/>
                  </a:cubicBezTo>
                  <a:cubicBezTo>
                    <a:pt x="76" y="60"/>
                    <a:pt x="80" y="50"/>
                    <a:pt x="80" y="39"/>
                  </a:cubicBezTo>
                  <a:cubicBezTo>
                    <a:pt x="80" y="29"/>
                    <a:pt x="76" y="19"/>
                    <a:pt x="68" y="11"/>
                  </a:cubicBezTo>
                  <a:cubicBezTo>
                    <a:pt x="61" y="4"/>
                    <a:pt x="50" y="0"/>
                    <a:pt x="40" y="0"/>
                  </a:cubicBezTo>
                  <a:cubicBezTo>
                    <a:pt x="29" y="0"/>
                    <a:pt x="19" y="4"/>
                    <a:pt x="12" y="11"/>
                  </a:cubicBezTo>
                  <a:cubicBezTo>
                    <a:pt x="4" y="19"/>
                    <a:pt x="0" y="29"/>
                    <a:pt x="0" y="39"/>
                  </a:cubicBezTo>
                  <a:cubicBezTo>
                    <a:pt x="0" y="50"/>
                    <a:pt x="4" y="60"/>
                    <a:pt x="12" y="68"/>
                  </a:cubicBezTo>
                  <a:cubicBezTo>
                    <a:pt x="19" y="75"/>
                    <a:pt x="29" y="79"/>
                    <a:pt x="4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3"/>
            <p:cNvSpPr>
              <a:spLocks/>
            </p:cNvSpPr>
            <p:nvPr/>
          </p:nvSpPr>
          <p:spPr bwMode="auto">
            <a:xfrm>
              <a:off x="5619" y="3640"/>
              <a:ext cx="670" cy="664"/>
            </a:xfrm>
            <a:custGeom>
              <a:avLst/>
              <a:gdLst>
                <a:gd name="T0" fmla="*/ 282 w 354"/>
                <a:gd name="T1" fmla="*/ 16 h 351"/>
                <a:gd name="T2" fmla="*/ 16 w 354"/>
                <a:gd name="T3" fmla="*/ 283 h 351"/>
                <a:gd name="T4" fmla="*/ 16 w 354"/>
                <a:gd name="T5" fmla="*/ 339 h 351"/>
                <a:gd name="T6" fmla="*/ 44 w 354"/>
                <a:gd name="T7" fmla="*/ 351 h 351"/>
                <a:gd name="T8" fmla="*/ 72 w 354"/>
                <a:gd name="T9" fmla="*/ 339 h 351"/>
                <a:gd name="T10" fmla="*/ 339 w 354"/>
                <a:gd name="T11" fmla="*/ 73 h 351"/>
                <a:gd name="T12" fmla="*/ 339 w 354"/>
                <a:gd name="T13" fmla="*/ 16 h 351"/>
                <a:gd name="T14" fmla="*/ 282 w 354"/>
                <a:gd name="T15" fmla="*/ 16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4" h="351">
                  <a:moveTo>
                    <a:pt x="282" y="16"/>
                  </a:moveTo>
                  <a:cubicBezTo>
                    <a:pt x="16" y="283"/>
                    <a:pt x="16" y="283"/>
                    <a:pt x="16" y="283"/>
                  </a:cubicBezTo>
                  <a:cubicBezTo>
                    <a:pt x="0" y="298"/>
                    <a:pt x="0" y="324"/>
                    <a:pt x="16" y="339"/>
                  </a:cubicBezTo>
                  <a:cubicBezTo>
                    <a:pt x="23" y="347"/>
                    <a:pt x="34" y="351"/>
                    <a:pt x="44" y="351"/>
                  </a:cubicBezTo>
                  <a:cubicBezTo>
                    <a:pt x="54" y="351"/>
                    <a:pt x="64" y="347"/>
                    <a:pt x="72" y="339"/>
                  </a:cubicBezTo>
                  <a:cubicBezTo>
                    <a:pt x="339" y="73"/>
                    <a:pt x="339" y="73"/>
                    <a:pt x="339" y="73"/>
                  </a:cubicBezTo>
                  <a:cubicBezTo>
                    <a:pt x="354" y="57"/>
                    <a:pt x="354" y="32"/>
                    <a:pt x="339" y="16"/>
                  </a:cubicBezTo>
                  <a:cubicBezTo>
                    <a:pt x="323" y="0"/>
                    <a:pt x="298" y="0"/>
                    <a:pt x="28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4"/>
            <p:cNvSpPr>
              <a:spLocks/>
            </p:cNvSpPr>
            <p:nvPr/>
          </p:nvSpPr>
          <p:spPr bwMode="auto">
            <a:xfrm>
              <a:off x="5403" y="4376"/>
              <a:ext cx="152" cy="151"/>
            </a:xfrm>
            <a:custGeom>
              <a:avLst/>
              <a:gdLst>
                <a:gd name="T0" fmla="*/ 40 w 80"/>
                <a:gd name="T1" fmla="*/ 0 h 80"/>
                <a:gd name="T2" fmla="*/ 12 w 80"/>
                <a:gd name="T3" fmla="*/ 11 h 80"/>
                <a:gd name="T4" fmla="*/ 0 w 80"/>
                <a:gd name="T5" fmla="*/ 40 h 80"/>
                <a:gd name="T6" fmla="*/ 12 w 80"/>
                <a:gd name="T7" fmla="*/ 68 h 80"/>
                <a:gd name="T8" fmla="*/ 40 w 80"/>
                <a:gd name="T9" fmla="*/ 80 h 80"/>
                <a:gd name="T10" fmla="*/ 68 w 80"/>
                <a:gd name="T11" fmla="*/ 68 h 80"/>
                <a:gd name="T12" fmla="*/ 80 w 80"/>
                <a:gd name="T13" fmla="*/ 40 h 80"/>
                <a:gd name="T14" fmla="*/ 68 w 80"/>
                <a:gd name="T15" fmla="*/ 11 h 80"/>
                <a:gd name="T16" fmla="*/ 40 w 8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0"/>
                  </a:moveTo>
                  <a:cubicBezTo>
                    <a:pt x="30" y="0"/>
                    <a:pt x="19" y="4"/>
                    <a:pt x="12" y="11"/>
                  </a:cubicBezTo>
                  <a:cubicBezTo>
                    <a:pt x="4" y="19"/>
                    <a:pt x="0" y="29"/>
                    <a:pt x="0" y="40"/>
                  </a:cubicBezTo>
                  <a:cubicBezTo>
                    <a:pt x="0" y="50"/>
                    <a:pt x="4" y="61"/>
                    <a:pt x="12" y="68"/>
                  </a:cubicBezTo>
                  <a:cubicBezTo>
                    <a:pt x="19" y="75"/>
                    <a:pt x="30" y="80"/>
                    <a:pt x="40" y="80"/>
                  </a:cubicBezTo>
                  <a:cubicBezTo>
                    <a:pt x="51" y="80"/>
                    <a:pt x="61" y="75"/>
                    <a:pt x="68" y="68"/>
                  </a:cubicBezTo>
                  <a:cubicBezTo>
                    <a:pt x="76" y="61"/>
                    <a:pt x="80" y="50"/>
                    <a:pt x="80" y="40"/>
                  </a:cubicBezTo>
                  <a:cubicBezTo>
                    <a:pt x="80" y="29"/>
                    <a:pt x="76" y="19"/>
                    <a:pt x="68" y="11"/>
                  </a:cubicBezTo>
                  <a:cubicBezTo>
                    <a:pt x="61" y="4"/>
                    <a:pt x="51"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7"/>
          <p:cNvGrpSpPr>
            <a:grpSpLocks noChangeAspect="1"/>
          </p:cNvGrpSpPr>
          <p:nvPr/>
        </p:nvGrpSpPr>
        <p:grpSpPr bwMode="auto">
          <a:xfrm>
            <a:off x="3025553" y="2984382"/>
            <a:ext cx="457200" cy="457200"/>
            <a:chOff x="1994" y="2356"/>
            <a:chExt cx="3876" cy="3876"/>
          </a:xfrm>
          <a:solidFill>
            <a:schemeClr val="accent1"/>
          </a:solidFill>
        </p:grpSpPr>
        <p:sp>
          <p:nvSpPr>
            <p:cNvPr id="22" name="Freeform 18"/>
            <p:cNvSpPr>
              <a:spLocks/>
            </p:cNvSpPr>
            <p:nvPr/>
          </p:nvSpPr>
          <p:spPr bwMode="auto">
            <a:xfrm>
              <a:off x="3856" y="2818"/>
              <a:ext cx="152" cy="151"/>
            </a:xfrm>
            <a:custGeom>
              <a:avLst/>
              <a:gdLst>
                <a:gd name="T0" fmla="*/ 40 w 80"/>
                <a:gd name="T1" fmla="*/ 80 h 80"/>
                <a:gd name="T2" fmla="*/ 80 w 80"/>
                <a:gd name="T3" fmla="*/ 42 h 80"/>
                <a:gd name="T4" fmla="*/ 80 w 80"/>
                <a:gd name="T5" fmla="*/ 40 h 80"/>
                <a:gd name="T6" fmla="*/ 40 w 80"/>
                <a:gd name="T7" fmla="*/ 0 h 80"/>
                <a:gd name="T8" fmla="*/ 0 w 80"/>
                <a:gd name="T9" fmla="*/ 40 h 80"/>
                <a:gd name="T10" fmla="*/ 0 w 80"/>
                <a:gd name="T11" fmla="*/ 42 h 80"/>
                <a:gd name="T12" fmla="*/ 40 w 80"/>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40" y="80"/>
                  </a:moveTo>
                  <a:cubicBezTo>
                    <a:pt x="62" y="80"/>
                    <a:pt x="79" y="63"/>
                    <a:pt x="80" y="42"/>
                  </a:cubicBezTo>
                  <a:cubicBezTo>
                    <a:pt x="80" y="41"/>
                    <a:pt x="80" y="41"/>
                    <a:pt x="80" y="40"/>
                  </a:cubicBezTo>
                  <a:cubicBezTo>
                    <a:pt x="80" y="18"/>
                    <a:pt x="62" y="0"/>
                    <a:pt x="40" y="0"/>
                  </a:cubicBezTo>
                  <a:cubicBezTo>
                    <a:pt x="18" y="0"/>
                    <a:pt x="0" y="18"/>
                    <a:pt x="0" y="40"/>
                  </a:cubicBezTo>
                  <a:cubicBezTo>
                    <a:pt x="0" y="41"/>
                    <a:pt x="0" y="41"/>
                    <a:pt x="0" y="42"/>
                  </a:cubicBezTo>
                  <a:cubicBezTo>
                    <a:pt x="1" y="63"/>
                    <a:pt x="18"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p:cNvSpPr>
              <a:spLocks/>
            </p:cNvSpPr>
            <p:nvPr/>
          </p:nvSpPr>
          <p:spPr bwMode="auto">
            <a:xfrm>
              <a:off x="2948" y="3310"/>
              <a:ext cx="1605" cy="1968"/>
            </a:xfrm>
            <a:custGeom>
              <a:avLst/>
              <a:gdLst>
                <a:gd name="T0" fmla="*/ 520 w 848"/>
                <a:gd name="T1" fmla="*/ 80 h 1040"/>
                <a:gd name="T2" fmla="*/ 772 w 848"/>
                <a:gd name="T3" fmla="*/ 206 h 1040"/>
                <a:gd name="T4" fmla="*/ 828 w 848"/>
                <a:gd name="T5" fmla="*/ 211 h 1040"/>
                <a:gd name="T6" fmla="*/ 834 w 848"/>
                <a:gd name="T7" fmla="*/ 155 h 1040"/>
                <a:gd name="T8" fmla="*/ 520 w 848"/>
                <a:gd name="T9" fmla="*/ 0 h 1040"/>
                <a:gd name="T10" fmla="*/ 92 w 848"/>
                <a:gd name="T11" fmla="*/ 400 h 1040"/>
                <a:gd name="T12" fmla="*/ 40 w 848"/>
                <a:gd name="T13" fmla="*/ 400 h 1040"/>
                <a:gd name="T14" fmla="*/ 0 w 848"/>
                <a:gd name="T15" fmla="*/ 440 h 1040"/>
                <a:gd name="T16" fmla="*/ 40 w 848"/>
                <a:gd name="T17" fmla="*/ 480 h 1040"/>
                <a:gd name="T18" fmla="*/ 81 w 848"/>
                <a:gd name="T19" fmla="*/ 480 h 1040"/>
                <a:gd name="T20" fmla="*/ 80 w 848"/>
                <a:gd name="T21" fmla="*/ 520 h 1040"/>
                <a:gd name="T22" fmla="*/ 92 w 848"/>
                <a:gd name="T23" fmla="*/ 640 h 1040"/>
                <a:gd name="T24" fmla="*/ 40 w 848"/>
                <a:gd name="T25" fmla="*/ 640 h 1040"/>
                <a:gd name="T26" fmla="*/ 0 w 848"/>
                <a:gd name="T27" fmla="*/ 680 h 1040"/>
                <a:gd name="T28" fmla="*/ 40 w 848"/>
                <a:gd name="T29" fmla="*/ 720 h 1040"/>
                <a:gd name="T30" fmla="*/ 114 w 848"/>
                <a:gd name="T31" fmla="*/ 720 h 1040"/>
                <a:gd name="T32" fmla="*/ 520 w 848"/>
                <a:gd name="T33" fmla="*/ 1040 h 1040"/>
                <a:gd name="T34" fmla="*/ 834 w 848"/>
                <a:gd name="T35" fmla="*/ 885 h 1040"/>
                <a:gd name="T36" fmla="*/ 828 w 848"/>
                <a:gd name="T37" fmla="*/ 829 h 1040"/>
                <a:gd name="T38" fmla="*/ 772 w 848"/>
                <a:gd name="T39" fmla="*/ 834 h 1040"/>
                <a:gd name="T40" fmla="*/ 520 w 848"/>
                <a:gd name="T41" fmla="*/ 960 h 1040"/>
                <a:gd name="T42" fmla="*/ 199 w 848"/>
                <a:gd name="T43" fmla="*/ 720 h 1040"/>
                <a:gd name="T44" fmla="*/ 520 w 848"/>
                <a:gd name="T45" fmla="*/ 720 h 1040"/>
                <a:gd name="T46" fmla="*/ 560 w 848"/>
                <a:gd name="T47" fmla="*/ 680 h 1040"/>
                <a:gd name="T48" fmla="*/ 520 w 848"/>
                <a:gd name="T49" fmla="*/ 640 h 1040"/>
                <a:gd name="T50" fmla="*/ 174 w 848"/>
                <a:gd name="T51" fmla="*/ 640 h 1040"/>
                <a:gd name="T52" fmla="*/ 160 w 848"/>
                <a:gd name="T53" fmla="*/ 520 h 1040"/>
                <a:gd name="T54" fmla="*/ 162 w 848"/>
                <a:gd name="T55" fmla="*/ 480 h 1040"/>
                <a:gd name="T56" fmla="*/ 520 w 848"/>
                <a:gd name="T57" fmla="*/ 480 h 1040"/>
                <a:gd name="T58" fmla="*/ 560 w 848"/>
                <a:gd name="T59" fmla="*/ 440 h 1040"/>
                <a:gd name="T60" fmla="*/ 520 w 848"/>
                <a:gd name="T61" fmla="*/ 400 h 1040"/>
                <a:gd name="T62" fmla="*/ 174 w 848"/>
                <a:gd name="T63" fmla="*/ 400 h 1040"/>
                <a:gd name="T64" fmla="*/ 520 w 848"/>
                <a:gd name="T65" fmla="*/ 8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8" h="1040">
                  <a:moveTo>
                    <a:pt x="520" y="80"/>
                  </a:moveTo>
                  <a:cubicBezTo>
                    <a:pt x="615" y="80"/>
                    <a:pt x="704" y="125"/>
                    <a:pt x="772" y="206"/>
                  </a:cubicBezTo>
                  <a:cubicBezTo>
                    <a:pt x="786" y="223"/>
                    <a:pt x="811" y="225"/>
                    <a:pt x="828" y="211"/>
                  </a:cubicBezTo>
                  <a:cubicBezTo>
                    <a:pt x="845" y="197"/>
                    <a:pt x="848" y="172"/>
                    <a:pt x="834" y="155"/>
                  </a:cubicBezTo>
                  <a:cubicBezTo>
                    <a:pt x="750" y="55"/>
                    <a:pt x="639" y="0"/>
                    <a:pt x="520" y="0"/>
                  </a:cubicBezTo>
                  <a:cubicBezTo>
                    <a:pt x="301" y="0"/>
                    <a:pt x="135" y="183"/>
                    <a:pt x="92" y="400"/>
                  </a:cubicBezTo>
                  <a:cubicBezTo>
                    <a:pt x="40" y="400"/>
                    <a:pt x="40" y="400"/>
                    <a:pt x="40" y="400"/>
                  </a:cubicBezTo>
                  <a:cubicBezTo>
                    <a:pt x="18" y="400"/>
                    <a:pt x="0" y="418"/>
                    <a:pt x="0" y="440"/>
                  </a:cubicBezTo>
                  <a:cubicBezTo>
                    <a:pt x="0" y="462"/>
                    <a:pt x="18" y="480"/>
                    <a:pt x="40" y="480"/>
                  </a:cubicBezTo>
                  <a:cubicBezTo>
                    <a:pt x="81" y="480"/>
                    <a:pt x="81" y="480"/>
                    <a:pt x="81" y="480"/>
                  </a:cubicBezTo>
                  <a:cubicBezTo>
                    <a:pt x="80" y="493"/>
                    <a:pt x="80" y="507"/>
                    <a:pt x="80" y="520"/>
                  </a:cubicBezTo>
                  <a:cubicBezTo>
                    <a:pt x="80" y="561"/>
                    <a:pt x="84" y="601"/>
                    <a:pt x="92" y="640"/>
                  </a:cubicBezTo>
                  <a:cubicBezTo>
                    <a:pt x="40" y="640"/>
                    <a:pt x="40" y="640"/>
                    <a:pt x="40" y="640"/>
                  </a:cubicBezTo>
                  <a:cubicBezTo>
                    <a:pt x="18" y="640"/>
                    <a:pt x="0" y="658"/>
                    <a:pt x="0" y="680"/>
                  </a:cubicBezTo>
                  <a:cubicBezTo>
                    <a:pt x="0" y="702"/>
                    <a:pt x="18" y="720"/>
                    <a:pt x="40" y="720"/>
                  </a:cubicBezTo>
                  <a:cubicBezTo>
                    <a:pt x="114" y="720"/>
                    <a:pt x="114" y="720"/>
                    <a:pt x="114" y="720"/>
                  </a:cubicBezTo>
                  <a:cubicBezTo>
                    <a:pt x="177" y="901"/>
                    <a:pt x="331" y="1040"/>
                    <a:pt x="520" y="1040"/>
                  </a:cubicBezTo>
                  <a:cubicBezTo>
                    <a:pt x="639" y="1040"/>
                    <a:pt x="750" y="985"/>
                    <a:pt x="834" y="885"/>
                  </a:cubicBezTo>
                  <a:cubicBezTo>
                    <a:pt x="848" y="868"/>
                    <a:pt x="845" y="843"/>
                    <a:pt x="828" y="829"/>
                  </a:cubicBezTo>
                  <a:cubicBezTo>
                    <a:pt x="811" y="815"/>
                    <a:pt x="786" y="817"/>
                    <a:pt x="772" y="834"/>
                  </a:cubicBezTo>
                  <a:cubicBezTo>
                    <a:pt x="704" y="915"/>
                    <a:pt x="615" y="960"/>
                    <a:pt x="520" y="960"/>
                  </a:cubicBezTo>
                  <a:cubicBezTo>
                    <a:pt x="374" y="960"/>
                    <a:pt x="256" y="855"/>
                    <a:pt x="199" y="720"/>
                  </a:cubicBezTo>
                  <a:cubicBezTo>
                    <a:pt x="520" y="720"/>
                    <a:pt x="520" y="720"/>
                    <a:pt x="520" y="720"/>
                  </a:cubicBezTo>
                  <a:cubicBezTo>
                    <a:pt x="542" y="720"/>
                    <a:pt x="560" y="702"/>
                    <a:pt x="560" y="680"/>
                  </a:cubicBezTo>
                  <a:cubicBezTo>
                    <a:pt x="560" y="658"/>
                    <a:pt x="542" y="640"/>
                    <a:pt x="520" y="640"/>
                  </a:cubicBezTo>
                  <a:cubicBezTo>
                    <a:pt x="174" y="640"/>
                    <a:pt x="174" y="640"/>
                    <a:pt x="174" y="640"/>
                  </a:cubicBezTo>
                  <a:cubicBezTo>
                    <a:pt x="165" y="601"/>
                    <a:pt x="160" y="561"/>
                    <a:pt x="160" y="520"/>
                  </a:cubicBezTo>
                  <a:cubicBezTo>
                    <a:pt x="160" y="507"/>
                    <a:pt x="161" y="493"/>
                    <a:pt x="162" y="480"/>
                  </a:cubicBezTo>
                  <a:cubicBezTo>
                    <a:pt x="520" y="480"/>
                    <a:pt x="520" y="480"/>
                    <a:pt x="520" y="480"/>
                  </a:cubicBezTo>
                  <a:cubicBezTo>
                    <a:pt x="542" y="480"/>
                    <a:pt x="560" y="462"/>
                    <a:pt x="560" y="440"/>
                  </a:cubicBezTo>
                  <a:cubicBezTo>
                    <a:pt x="560" y="418"/>
                    <a:pt x="542" y="400"/>
                    <a:pt x="520" y="400"/>
                  </a:cubicBezTo>
                  <a:cubicBezTo>
                    <a:pt x="174" y="400"/>
                    <a:pt x="174" y="400"/>
                    <a:pt x="174" y="400"/>
                  </a:cubicBezTo>
                  <a:cubicBezTo>
                    <a:pt x="214" y="226"/>
                    <a:pt x="347" y="80"/>
                    <a:pt x="52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0"/>
            <p:cNvSpPr>
              <a:spLocks noEditPoints="1"/>
            </p:cNvSpPr>
            <p:nvPr/>
          </p:nvSpPr>
          <p:spPr bwMode="auto">
            <a:xfrm>
              <a:off x="1994" y="2356"/>
              <a:ext cx="3876" cy="3876"/>
            </a:xfrm>
            <a:custGeom>
              <a:avLst/>
              <a:gdLst>
                <a:gd name="T0" fmla="*/ 1024 w 2048"/>
                <a:gd name="T1" fmla="*/ 2048 h 2048"/>
                <a:gd name="T2" fmla="*/ 2048 w 2048"/>
                <a:gd name="T3" fmla="*/ 1024 h 2048"/>
                <a:gd name="T4" fmla="*/ 1024 w 2048"/>
                <a:gd name="T5" fmla="*/ 0 h 2048"/>
                <a:gd name="T6" fmla="*/ 0 w 2048"/>
                <a:gd name="T7" fmla="*/ 1024 h 2048"/>
                <a:gd name="T8" fmla="*/ 1024 w 2048"/>
                <a:gd name="T9" fmla="*/ 2048 h 2048"/>
                <a:gd name="T10" fmla="*/ 1024 w 2048"/>
                <a:gd name="T11" fmla="*/ 80 h 2048"/>
                <a:gd name="T12" fmla="*/ 1968 w 2048"/>
                <a:gd name="T13" fmla="*/ 1024 h 2048"/>
                <a:gd name="T14" fmla="*/ 1024 w 2048"/>
                <a:gd name="T15" fmla="*/ 1968 h 2048"/>
                <a:gd name="T16" fmla="*/ 80 w 2048"/>
                <a:gd name="T17" fmla="*/ 1024 h 2048"/>
                <a:gd name="T18" fmla="*/ 1024 w 2048"/>
                <a:gd name="T19" fmla="*/ 80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8" h="2048">
                  <a:moveTo>
                    <a:pt x="1024" y="2048"/>
                  </a:moveTo>
                  <a:cubicBezTo>
                    <a:pt x="1574" y="2048"/>
                    <a:pt x="2048" y="1577"/>
                    <a:pt x="2048" y="1024"/>
                  </a:cubicBezTo>
                  <a:cubicBezTo>
                    <a:pt x="2048" y="474"/>
                    <a:pt x="1577" y="0"/>
                    <a:pt x="1024" y="0"/>
                  </a:cubicBezTo>
                  <a:cubicBezTo>
                    <a:pt x="473" y="0"/>
                    <a:pt x="0" y="472"/>
                    <a:pt x="0" y="1024"/>
                  </a:cubicBezTo>
                  <a:cubicBezTo>
                    <a:pt x="0" y="1574"/>
                    <a:pt x="471" y="2048"/>
                    <a:pt x="1024" y="2048"/>
                  </a:cubicBezTo>
                  <a:close/>
                  <a:moveTo>
                    <a:pt x="1024" y="80"/>
                  </a:moveTo>
                  <a:cubicBezTo>
                    <a:pt x="1527" y="80"/>
                    <a:pt x="1968" y="521"/>
                    <a:pt x="1968" y="1024"/>
                  </a:cubicBezTo>
                  <a:cubicBezTo>
                    <a:pt x="1968" y="1527"/>
                    <a:pt x="1527" y="1968"/>
                    <a:pt x="1024" y="1968"/>
                  </a:cubicBezTo>
                  <a:cubicBezTo>
                    <a:pt x="521" y="1968"/>
                    <a:pt x="80" y="1527"/>
                    <a:pt x="80" y="1024"/>
                  </a:cubicBezTo>
                  <a:cubicBezTo>
                    <a:pt x="80" y="521"/>
                    <a:pt x="521" y="80"/>
                    <a:pt x="1024"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
            <p:cNvSpPr>
              <a:spLocks/>
            </p:cNvSpPr>
            <p:nvPr/>
          </p:nvSpPr>
          <p:spPr bwMode="auto">
            <a:xfrm>
              <a:off x="2448" y="2839"/>
              <a:ext cx="2968" cy="2939"/>
            </a:xfrm>
            <a:custGeom>
              <a:avLst/>
              <a:gdLst>
                <a:gd name="T0" fmla="*/ 784 w 1568"/>
                <a:gd name="T1" fmla="*/ 1553 h 1553"/>
                <a:gd name="T2" fmla="*/ 1568 w 1568"/>
                <a:gd name="T3" fmla="*/ 769 h 1553"/>
                <a:gd name="T4" fmla="*/ 953 w 1568"/>
                <a:gd name="T5" fmla="*/ 5 h 1553"/>
                <a:gd name="T6" fmla="*/ 904 w 1568"/>
                <a:gd name="T7" fmla="*/ 35 h 1553"/>
                <a:gd name="T8" fmla="*/ 934 w 1568"/>
                <a:gd name="T9" fmla="*/ 83 h 1553"/>
                <a:gd name="T10" fmla="*/ 1488 w 1568"/>
                <a:gd name="T11" fmla="*/ 769 h 1553"/>
                <a:gd name="T12" fmla="*/ 784 w 1568"/>
                <a:gd name="T13" fmla="*/ 1473 h 1553"/>
                <a:gd name="T14" fmla="*/ 80 w 1568"/>
                <a:gd name="T15" fmla="*/ 769 h 1553"/>
                <a:gd name="T16" fmla="*/ 634 w 1568"/>
                <a:gd name="T17" fmla="*/ 83 h 1553"/>
                <a:gd name="T18" fmla="*/ 664 w 1568"/>
                <a:gd name="T19" fmla="*/ 35 h 1553"/>
                <a:gd name="T20" fmla="*/ 615 w 1568"/>
                <a:gd name="T21" fmla="*/ 5 h 1553"/>
                <a:gd name="T22" fmla="*/ 0 w 1568"/>
                <a:gd name="T23" fmla="*/ 769 h 1553"/>
                <a:gd name="T24" fmla="*/ 784 w 1568"/>
                <a:gd name="T25" fmla="*/ 1553 h 1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8" h="1553">
                  <a:moveTo>
                    <a:pt x="784" y="1553"/>
                  </a:moveTo>
                  <a:cubicBezTo>
                    <a:pt x="1201" y="1553"/>
                    <a:pt x="1568" y="1189"/>
                    <a:pt x="1568" y="769"/>
                  </a:cubicBezTo>
                  <a:cubicBezTo>
                    <a:pt x="1568" y="413"/>
                    <a:pt x="1301" y="88"/>
                    <a:pt x="953" y="5"/>
                  </a:cubicBezTo>
                  <a:cubicBezTo>
                    <a:pt x="931" y="0"/>
                    <a:pt x="910" y="13"/>
                    <a:pt x="904" y="35"/>
                  </a:cubicBezTo>
                  <a:cubicBezTo>
                    <a:pt x="899" y="56"/>
                    <a:pt x="913" y="78"/>
                    <a:pt x="934" y="83"/>
                  </a:cubicBezTo>
                  <a:cubicBezTo>
                    <a:pt x="1250" y="158"/>
                    <a:pt x="1488" y="453"/>
                    <a:pt x="1488" y="769"/>
                  </a:cubicBezTo>
                  <a:cubicBezTo>
                    <a:pt x="1488" y="1144"/>
                    <a:pt x="1159" y="1473"/>
                    <a:pt x="784" y="1473"/>
                  </a:cubicBezTo>
                  <a:cubicBezTo>
                    <a:pt x="409" y="1473"/>
                    <a:pt x="80" y="1144"/>
                    <a:pt x="80" y="769"/>
                  </a:cubicBezTo>
                  <a:cubicBezTo>
                    <a:pt x="80" y="453"/>
                    <a:pt x="318" y="158"/>
                    <a:pt x="634" y="83"/>
                  </a:cubicBezTo>
                  <a:cubicBezTo>
                    <a:pt x="655" y="78"/>
                    <a:pt x="669" y="56"/>
                    <a:pt x="664" y="35"/>
                  </a:cubicBezTo>
                  <a:cubicBezTo>
                    <a:pt x="659" y="13"/>
                    <a:pt x="637" y="0"/>
                    <a:pt x="615" y="5"/>
                  </a:cubicBezTo>
                  <a:cubicBezTo>
                    <a:pt x="268" y="87"/>
                    <a:pt x="0" y="413"/>
                    <a:pt x="0" y="769"/>
                  </a:cubicBezTo>
                  <a:cubicBezTo>
                    <a:pt x="0" y="1186"/>
                    <a:pt x="364" y="1553"/>
                    <a:pt x="784" y="15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0" name="Group 47"/>
          <p:cNvGrpSpPr>
            <a:grpSpLocks noChangeAspect="1"/>
          </p:cNvGrpSpPr>
          <p:nvPr/>
        </p:nvGrpSpPr>
        <p:grpSpPr bwMode="auto">
          <a:xfrm>
            <a:off x="8730156" y="2984382"/>
            <a:ext cx="457200" cy="457200"/>
            <a:chOff x="1105" y="286"/>
            <a:chExt cx="3876" cy="3876"/>
          </a:xfrm>
          <a:solidFill>
            <a:schemeClr val="accent1"/>
          </a:solidFill>
        </p:grpSpPr>
        <p:sp>
          <p:nvSpPr>
            <p:cNvPr id="52" name="Freeform 48"/>
            <p:cNvSpPr>
              <a:spLocks/>
            </p:cNvSpPr>
            <p:nvPr/>
          </p:nvSpPr>
          <p:spPr bwMode="auto">
            <a:xfrm>
              <a:off x="4519" y="831"/>
              <a:ext cx="152" cy="151"/>
            </a:xfrm>
            <a:custGeom>
              <a:avLst/>
              <a:gdLst>
                <a:gd name="T0" fmla="*/ 68 w 80"/>
                <a:gd name="T1" fmla="*/ 68 h 80"/>
                <a:gd name="T2" fmla="*/ 80 w 80"/>
                <a:gd name="T3" fmla="*/ 40 h 80"/>
                <a:gd name="T4" fmla="*/ 68 w 80"/>
                <a:gd name="T5" fmla="*/ 12 h 80"/>
                <a:gd name="T6" fmla="*/ 40 w 80"/>
                <a:gd name="T7" fmla="*/ 0 h 80"/>
                <a:gd name="T8" fmla="*/ 12 w 80"/>
                <a:gd name="T9" fmla="*/ 12 h 80"/>
                <a:gd name="T10" fmla="*/ 0 w 80"/>
                <a:gd name="T11" fmla="*/ 40 h 80"/>
                <a:gd name="T12" fmla="*/ 12 w 80"/>
                <a:gd name="T13" fmla="*/ 68 h 80"/>
                <a:gd name="T14" fmla="*/ 40 w 80"/>
                <a:gd name="T15" fmla="*/ 80 h 80"/>
                <a:gd name="T16" fmla="*/ 68 w 80"/>
                <a:gd name="T17"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68" y="68"/>
                  </a:moveTo>
                  <a:cubicBezTo>
                    <a:pt x="76" y="61"/>
                    <a:pt x="80" y="51"/>
                    <a:pt x="80" y="40"/>
                  </a:cubicBezTo>
                  <a:cubicBezTo>
                    <a:pt x="80" y="30"/>
                    <a:pt x="76" y="19"/>
                    <a:pt x="68" y="12"/>
                  </a:cubicBezTo>
                  <a:cubicBezTo>
                    <a:pt x="61" y="4"/>
                    <a:pt x="51" y="0"/>
                    <a:pt x="40" y="0"/>
                  </a:cubicBezTo>
                  <a:cubicBezTo>
                    <a:pt x="29" y="0"/>
                    <a:pt x="19" y="4"/>
                    <a:pt x="12" y="12"/>
                  </a:cubicBezTo>
                  <a:cubicBezTo>
                    <a:pt x="4" y="19"/>
                    <a:pt x="0" y="30"/>
                    <a:pt x="0" y="40"/>
                  </a:cubicBezTo>
                  <a:cubicBezTo>
                    <a:pt x="0" y="51"/>
                    <a:pt x="4" y="61"/>
                    <a:pt x="12" y="68"/>
                  </a:cubicBezTo>
                  <a:cubicBezTo>
                    <a:pt x="19" y="76"/>
                    <a:pt x="29" y="80"/>
                    <a:pt x="40" y="80"/>
                  </a:cubicBezTo>
                  <a:cubicBezTo>
                    <a:pt x="51" y="80"/>
                    <a:pt x="61" y="76"/>
                    <a:pt x="6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9"/>
            <p:cNvSpPr>
              <a:spLocks/>
            </p:cNvSpPr>
            <p:nvPr/>
          </p:nvSpPr>
          <p:spPr bwMode="auto">
            <a:xfrm>
              <a:off x="4421" y="2678"/>
              <a:ext cx="560" cy="1075"/>
            </a:xfrm>
            <a:custGeom>
              <a:avLst/>
              <a:gdLst>
                <a:gd name="T0" fmla="*/ 256 w 296"/>
                <a:gd name="T1" fmla="*/ 0 h 568"/>
                <a:gd name="T2" fmla="*/ 216 w 296"/>
                <a:gd name="T3" fmla="*/ 40 h 568"/>
                <a:gd name="T4" fmla="*/ 216 w 296"/>
                <a:gd name="T5" fmla="*/ 488 h 568"/>
                <a:gd name="T6" fmla="*/ 40 w 296"/>
                <a:gd name="T7" fmla="*/ 488 h 568"/>
                <a:gd name="T8" fmla="*/ 0 w 296"/>
                <a:gd name="T9" fmla="*/ 528 h 568"/>
                <a:gd name="T10" fmla="*/ 40 w 296"/>
                <a:gd name="T11" fmla="*/ 568 h 568"/>
                <a:gd name="T12" fmla="*/ 256 w 296"/>
                <a:gd name="T13" fmla="*/ 568 h 568"/>
                <a:gd name="T14" fmla="*/ 296 w 296"/>
                <a:gd name="T15" fmla="*/ 528 h 568"/>
                <a:gd name="T16" fmla="*/ 296 w 296"/>
                <a:gd name="T17" fmla="*/ 40 h 568"/>
                <a:gd name="T18" fmla="*/ 256 w 296"/>
                <a:gd name="T19"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568">
                  <a:moveTo>
                    <a:pt x="256" y="0"/>
                  </a:moveTo>
                  <a:cubicBezTo>
                    <a:pt x="234" y="0"/>
                    <a:pt x="216" y="18"/>
                    <a:pt x="216" y="40"/>
                  </a:cubicBezTo>
                  <a:cubicBezTo>
                    <a:pt x="216" y="488"/>
                    <a:pt x="216" y="488"/>
                    <a:pt x="216" y="488"/>
                  </a:cubicBezTo>
                  <a:cubicBezTo>
                    <a:pt x="40" y="488"/>
                    <a:pt x="40" y="488"/>
                    <a:pt x="40" y="488"/>
                  </a:cubicBezTo>
                  <a:cubicBezTo>
                    <a:pt x="18" y="488"/>
                    <a:pt x="0" y="506"/>
                    <a:pt x="0" y="528"/>
                  </a:cubicBezTo>
                  <a:cubicBezTo>
                    <a:pt x="0" y="550"/>
                    <a:pt x="18" y="568"/>
                    <a:pt x="40" y="568"/>
                  </a:cubicBezTo>
                  <a:cubicBezTo>
                    <a:pt x="256" y="568"/>
                    <a:pt x="256" y="568"/>
                    <a:pt x="256" y="568"/>
                  </a:cubicBezTo>
                  <a:cubicBezTo>
                    <a:pt x="278" y="568"/>
                    <a:pt x="296" y="550"/>
                    <a:pt x="296" y="528"/>
                  </a:cubicBezTo>
                  <a:cubicBezTo>
                    <a:pt x="296" y="40"/>
                    <a:pt x="296" y="40"/>
                    <a:pt x="296" y="40"/>
                  </a:cubicBezTo>
                  <a:cubicBezTo>
                    <a:pt x="296" y="18"/>
                    <a:pt x="278"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0"/>
            <p:cNvSpPr>
              <a:spLocks/>
            </p:cNvSpPr>
            <p:nvPr/>
          </p:nvSpPr>
          <p:spPr bwMode="auto">
            <a:xfrm>
              <a:off x="4830" y="2347"/>
              <a:ext cx="151" cy="151"/>
            </a:xfrm>
            <a:custGeom>
              <a:avLst/>
              <a:gdLst>
                <a:gd name="T0" fmla="*/ 40 w 80"/>
                <a:gd name="T1" fmla="*/ 0 h 80"/>
                <a:gd name="T2" fmla="*/ 12 w 80"/>
                <a:gd name="T3" fmla="*/ 12 h 80"/>
                <a:gd name="T4" fmla="*/ 0 w 80"/>
                <a:gd name="T5" fmla="*/ 40 h 80"/>
                <a:gd name="T6" fmla="*/ 12 w 80"/>
                <a:gd name="T7" fmla="*/ 69 h 80"/>
                <a:gd name="T8" fmla="*/ 40 w 80"/>
                <a:gd name="T9" fmla="*/ 80 h 80"/>
                <a:gd name="T10" fmla="*/ 68 w 80"/>
                <a:gd name="T11" fmla="*/ 69 h 80"/>
                <a:gd name="T12" fmla="*/ 80 w 80"/>
                <a:gd name="T13" fmla="*/ 40 h 80"/>
                <a:gd name="T14" fmla="*/ 68 w 80"/>
                <a:gd name="T15" fmla="*/ 12 h 80"/>
                <a:gd name="T16" fmla="*/ 40 w 8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0"/>
                  </a:moveTo>
                  <a:cubicBezTo>
                    <a:pt x="29" y="0"/>
                    <a:pt x="19" y="5"/>
                    <a:pt x="12" y="12"/>
                  </a:cubicBezTo>
                  <a:cubicBezTo>
                    <a:pt x="4" y="20"/>
                    <a:pt x="0" y="30"/>
                    <a:pt x="0" y="40"/>
                  </a:cubicBezTo>
                  <a:cubicBezTo>
                    <a:pt x="0" y="51"/>
                    <a:pt x="4" y="61"/>
                    <a:pt x="12" y="69"/>
                  </a:cubicBezTo>
                  <a:cubicBezTo>
                    <a:pt x="19" y="76"/>
                    <a:pt x="29" y="80"/>
                    <a:pt x="40" y="80"/>
                  </a:cubicBezTo>
                  <a:cubicBezTo>
                    <a:pt x="51" y="80"/>
                    <a:pt x="61" y="76"/>
                    <a:pt x="68" y="69"/>
                  </a:cubicBezTo>
                  <a:cubicBezTo>
                    <a:pt x="76" y="61"/>
                    <a:pt x="80" y="51"/>
                    <a:pt x="80" y="40"/>
                  </a:cubicBezTo>
                  <a:cubicBezTo>
                    <a:pt x="80" y="30"/>
                    <a:pt x="76" y="20"/>
                    <a:pt x="68" y="12"/>
                  </a:cubicBezTo>
                  <a:cubicBezTo>
                    <a:pt x="61" y="5"/>
                    <a:pt x="51"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1"/>
            <p:cNvSpPr>
              <a:spLocks/>
            </p:cNvSpPr>
            <p:nvPr/>
          </p:nvSpPr>
          <p:spPr bwMode="auto">
            <a:xfrm>
              <a:off x="1105" y="286"/>
              <a:ext cx="3876" cy="3467"/>
            </a:xfrm>
            <a:custGeom>
              <a:avLst/>
              <a:gdLst>
                <a:gd name="T0" fmla="*/ 2008 w 2048"/>
                <a:gd name="T1" fmla="*/ 0 h 1832"/>
                <a:gd name="T2" fmla="*/ 40 w 2048"/>
                <a:gd name="T3" fmla="*/ 0 h 1832"/>
                <a:gd name="T4" fmla="*/ 0 w 2048"/>
                <a:gd name="T5" fmla="*/ 40 h 1832"/>
                <a:gd name="T6" fmla="*/ 0 w 2048"/>
                <a:gd name="T7" fmla="*/ 1792 h 1832"/>
                <a:gd name="T8" fmla="*/ 40 w 2048"/>
                <a:gd name="T9" fmla="*/ 1832 h 1832"/>
                <a:gd name="T10" fmla="*/ 271 w 2048"/>
                <a:gd name="T11" fmla="*/ 1832 h 1832"/>
                <a:gd name="T12" fmla="*/ 311 w 2048"/>
                <a:gd name="T13" fmla="*/ 1792 h 1832"/>
                <a:gd name="T14" fmla="*/ 271 w 2048"/>
                <a:gd name="T15" fmla="*/ 1752 h 1832"/>
                <a:gd name="T16" fmla="*/ 80 w 2048"/>
                <a:gd name="T17" fmla="*/ 1752 h 1832"/>
                <a:gd name="T18" fmla="*/ 80 w 2048"/>
                <a:gd name="T19" fmla="*/ 368 h 1832"/>
                <a:gd name="T20" fmla="*/ 1688 w 2048"/>
                <a:gd name="T21" fmla="*/ 368 h 1832"/>
                <a:gd name="T22" fmla="*/ 1728 w 2048"/>
                <a:gd name="T23" fmla="*/ 328 h 1832"/>
                <a:gd name="T24" fmla="*/ 1688 w 2048"/>
                <a:gd name="T25" fmla="*/ 288 h 1832"/>
                <a:gd name="T26" fmla="*/ 80 w 2048"/>
                <a:gd name="T27" fmla="*/ 288 h 1832"/>
                <a:gd name="T28" fmla="*/ 80 w 2048"/>
                <a:gd name="T29" fmla="*/ 80 h 1832"/>
                <a:gd name="T30" fmla="*/ 1968 w 2048"/>
                <a:gd name="T31" fmla="*/ 80 h 1832"/>
                <a:gd name="T32" fmla="*/ 1968 w 2048"/>
                <a:gd name="T33" fmla="*/ 965 h 1832"/>
                <a:gd name="T34" fmla="*/ 2008 w 2048"/>
                <a:gd name="T35" fmla="*/ 1005 h 1832"/>
                <a:gd name="T36" fmla="*/ 2048 w 2048"/>
                <a:gd name="T37" fmla="*/ 965 h 1832"/>
                <a:gd name="T38" fmla="*/ 2048 w 2048"/>
                <a:gd name="T39" fmla="*/ 40 h 1832"/>
                <a:gd name="T40" fmla="*/ 2008 w 2048"/>
                <a:gd name="T41" fmla="*/ 0 h 1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8" h="1832">
                  <a:moveTo>
                    <a:pt x="2008" y="0"/>
                  </a:moveTo>
                  <a:cubicBezTo>
                    <a:pt x="40" y="0"/>
                    <a:pt x="40" y="0"/>
                    <a:pt x="40" y="0"/>
                  </a:cubicBezTo>
                  <a:cubicBezTo>
                    <a:pt x="18" y="0"/>
                    <a:pt x="0" y="18"/>
                    <a:pt x="0" y="40"/>
                  </a:cubicBezTo>
                  <a:cubicBezTo>
                    <a:pt x="0" y="1792"/>
                    <a:pt x="0" y="1792"/>
                    <a:pt x="0" y="1792"/>
                  </a:cubicBezTo>
                  <a:cubicBezTo>
                    <a:pt x="0" y="1814"/>
                    <a:pt x="18" y="1832"/>
                    <a:pt x="40" y="1832"/>
                  </a:cubicBezTo>
                  <a:cubicBezTo>
                    <a:pt x="271" y="1832"/>
                    <a:pt x="271" y="1832"/>
                    <a:pt x="271" y="1832"/>
                  </a:cubicBezTo>
                  <a:cubicBezTo>
                    <a:pt x="293" y="1832"/>
                    <a:pt x="311" y="1814"/>
                    <a:pt x="311" y="1792"/>
                  </a:cubicBezTo>
                  <a:cubicBezTo>
                    <a:pt x="311" y="1770"/>
                    <a:pt x="293" y="1752"/>
                    <a:pt x="271" y="1752"/>
                  </a:cubicBezTo>
                  <a:cubicBezTo>
                    <a:pt x="80" y="1752"/>
                    <a:pt x="80" y="1752"/>
                    <a:pt x="80" y="1752"/>
                  </a:cubicBezTo>
                  <a:cubicBezTo>
                    <a:pt x="80" y="368"/>
                    <a:pt x="80" y="368"/>
                    <a:pt x="80" y="368"/>
                  </a:cubicBezTo>
                  <a:cubicBezTo>
                    <a:pt x="1688" y="368"/>
                    <a:pt x="1688" y="368"/>
                    <a:pt x="1688" y="368"/>
                  </a:cubicBezTo>
                  <a:cubicBezTo>
                    <a:pt x="1710" y="368"/>
                    <a:pt x="1728" y="350"/>
                    <a:pt x="1728" y="328"/>
                  </a:cubicBezTo>
                  <a:cubicBezTo>
                    <a:pt x="1728" y="306"/>
                    <a:pt x="1710" y="288"/>
                    <a:pt x="1688" y="288"/>
                  </a:cubicBezTo>
                  <a:cubicBezTo>
                    <a:pt x="80" y="288"/>
                    <a:pt x="80" y="288"/>
                    <a:pt x="80" y="288"/>
                  </a:cubicBezTo>
                  <a:cubicBezTo>
                    <a:pt x="80" y="80"/>
                    <a:pt x="80" y="80"/>
                    <a:pt x="80" y="80"/>
                  </a:cubicBezTo>
                  <a:cubicBezTo>
                    <a:pt x="1968" y="80"/>
                    <a:pt x="1968" y="80"/>
                    <a:pt x="1968" y="80"/>
                  </a:cubicBezTo>
                  <a:cubicBezTo>
                    <a:pt x="1968" y="965"/>
                    <a:pt x="1968" y="965"/>
                    <a:pt x="1968" y="965"/>
                  </a:cubicBezTo>
                  <a:cubicBezTo>
                    <a:pt x="1968" y="987"/>
                    <a:pt x="1986" y="1005"/>
                    <a:pt x="2008" y="1005"/>
                  </a:cubicBezTo>
                  <a:cubicBezTo>
                    <a:pt x="2030" y="1005"/>
                    <a:pt x="2048" y="987"/>
                    <a:pt x="2048" y="965"/>
                  </a:cubicBezTo>
                  <a:cubicBezTo>
                    <a:pt x="2048" y="40"/>
                    <a:pt x="2048" y="40"/>
                    <a:pt x="2048" y="40"/>
                  </a:cubicBezTo>
                  <a:cubicBezTo>
                    <a:pt x="2048" y="18"/>
                    <a:pt x="2030" y="0"/>
                    <a:pt x="2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2"/>
            <p:cNvSpPr>
              <a:spLocks/>
            </p:cNvSpPr>
            <p:nvPr/>
          </p:nvSpPr>
          <p:spPr bwMode="auto">
            <a:xfrm>
              <a:off x="1817" y="559"/>
              <a:ext cx="151" cy="151"/>
            </a:xfrm>
            <a:custGeom>
              <a:avLst/>
              <a:gdLst>
                <a:gd name="T0" fmla="*/ 12 w 80"/>
                <a:gd name="T1" fmla="*/ 12 h 80"/>
                <a:gd name="T2" fmla="*/ 0 w 80"/>
                <a:gd name="T3" fmla="*/ 40 h 80"/>
                <a:gd name="T4" fmla="*/ 12 w 80"/>
                <a:gd name="T5" fmla="*/ 68 h 80"/>
                <a:gd name="T6" fmla="*/ 40 w 80"/>
                <a:gd name="T7" fmla="*/ 80 h 80"/>
                <a:gd name="T8" fmla="*/ 68 w 80"/>
                <a:gd name="T9" fmla="*/ 68 h 80"/>
                <a:gd name="T10" fmla="*/ 80 w 80"/>
                <a:gd name="T11" fmla="*/ 40 h 80"/>
                <a:gd name="T12" fmla="*/ 68 w 80"/>
                <a:gd name="T13" fmla="*/ 12 h 80"/>
                <a:gd name="T14" fmla="*/ 40 w 80"/>
                <a:gd name="T15" fmla="*/ 0 h 80"/>
                <a:gd name="T16" fmla="*/ 12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12" y="12"/>
                  </a:moveTo>
                  <a:cubicBezTo>
                    <a:pt x="4" y="19"/>
                    <a:pt x="0" y="30"/>
                    <a:pt x="0" y="40"/>
                  </a:cubicBezTo>
                  <a:cubicBezTo>
                    <a:pt x="0" y="51"/>
                    <a:pt x="4" y="61"/>
                    <a:pt x="12" y="68"/>
                  </a:cubicBezTo>
                  <a:cubicBezTo>
                    <a:pt x="19" y="76"/>
                    <a:pt x="29" y="80"/>
                    <a:pt x="40" y="80"/>
                  </a:cubicBezTo>
                  <a:cubicBezTo>
                    <a:pt x="51" y="80"/>
                    <a:pt x="61" y="76"/>
                    <a:pt x="68" y="68"/>
                  </a:cubicBezTo>
                  <a:cubicBezTo>
                    <a:pt x="76" y="61"/>
                    <a:pt x="80" y="51"/>
                    <a:pt x="80" y="40"/>
                  </a:cubicBezTo>
                  <a:cubicBezTo>
                    <a:pt x="80" y="30"/>
                    <a:pt x="76" y="19"/>
                    <a:pt x="68" y="12"/>
                  </a:cubicBezTo>
                  <a:cubicBezTo>
                    <a:pt x="61" y="4"/>
                    <a:pt x="51" y="0"/>
                    <a:pt x="40" y="0"/>
                  </a:cubicBezTo>
                  <a:cubicBezTo>
                    <a:pt x="29" y="0"/>
                    <a:pt x="19" y="4"/>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3"/>
            <p:cNvSpPr>
              <a:spLocks/>
            </p:cNvSpPr>
            <p:nvPr/>
          </p:nvSpPr>
          <p:spPr bwMode="auto">
            <a:xfrm>
              <a:off x="1514" y="559"/>
              <a:ext cx="151" cy="151"/>
            </a:xfrm>
            <a:custGeom>
              <a:avLst/>
              <a:gdLst>
                <a:gd name="T0" fmla="*/ 12 w 80"/>
                <a:gd name="T1" fmla="*/ 12 h 80"/>
                <a:gd name="T2" fmla="*/ 0 w 80"/>
                <a:gd name="T3" fmla="*/ 40 h 80"/>
                <a:gd name="T4" fmla="*/ 12 w 80"/>
                <a:gd name="T5" fmla="*/ 68 h 80"/>
                <a:gd name="T6" fmla="*/ 40 w 80"/>
                <a:gd name="T7" fmla="*/ 80 h 80"/>
                <a:gd name="T8" fmla="*/ 68 w 80"/>
                <a:gd name="T9" fmla="*/ 68 h 80"/>
                <a:gd name="T10" fmla="*/ 80 w 80"/>
                <a:gd name="T11" fmla="*/ 40 h 80"/>
                <a:gd name="T12" fmla="*/ 68 w 80"/>
                <a:gd name="T13" fmla="*/ 12 h 80"/>
                <a:gd name="T14" fmla="*/ 40 w 80"/>
                <a:gd name="T15" fmla="*/ 0 h 80"/>
                <a:gd name="T16" fmla="*/ 12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12" y="12"/>
                  </a:moveTo>
                  <a:cubicBezTo>
                    <a:pt x="4" y="19"/>
                    <a:pt x="0" y="30"/>
                    <a:pt x="0" y="40"/>
                  </a:cubicBezTo>
                  <a:cubicBezTo>
                    <a:pt x="0" y="51"/>
                    <a:pt x="4" y="61"/>
                    <a:pt x="12" y="68"/>
                  </a:cubicBezTo>
                  <a:cubicBezTo>
                    <a:pt x="19" y="76"/>
                    <a:pt x="29" y="80"/>
                    <a:pt x="40" y="80"/>
                  </a:cubicBezTo>
                  <a:cubicBezTo>
                    <a:pt x="51" y="80"/>
                    <a:pt x="61" y="76"/>
                    <a:pt x="68" y="68"/>
                  </a:cubicBezTo>
                  <a:cubicBezTo>
                    <a:pt x="76" y="61"/>
                    <a:pt x="80" y="51"/>
                    <a:pt x="80" y="40"/>
                  </a:cubicBezTo>
                  <a:cubicBezTo>
                    <a:pt x="80" y="30"/>
                    <a:pt x="76" y="19"/>
                    <a:pt x="68" y="12"/>
                  </a:cubicBezTo>
                  <a:cubicBezTo>
                    <a:pt x="61" y="4"/>
                    <a:pt x="51" y="0"/>
                    <a:pt x="40" y="0"/>
                  </a:cubicBezTo>
                  <a:cubicBezTo>
                    <a:pt x="29" y="0"/>
                    <a:pt x="19" y="4"/>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4"/>
            <p:cNvSpPr>
              <a:spLocks/>
            </p:cNvSpPr>
            <p:nvPr/>
          </p:nvSpPr>
          <p:spPr bwMode="auto">
            <a:xfrm>
              <a:off x="2119" y="559"/>
              <a:ext cx="152" cy="151"/>
            </a:xfrm>
            <a:custGeom>
              <a:avLst/>
              <a:gdLst>
                <a:gd name="T0" fmla="*/ 12 w 80"/>
                <a:gd name="T1" fmla="*/ 12 h 80"/>
                <a:gd name="T2" fmla="*/ 0 w 80"/>
                <a:gd name="T3" fmla="*/ 40 h 80"/>
                <a:gd name="T4" fmla="*/ 12 w 80"/>
                <a:gd name="T5" fmla="*/ 68 h 80"/>
                <a:gd name="T6" fmla="*/ 40 w 80"/>
                <a:gd name="T7" fmla="*/ 80 h 80"/>
                <a:gd name="T8" fmla="*/ 68 w 80"/>
                <a:gd name="T9" fmla="*/ 68 h 80"/>
                <a:gd name="T10" fmla="*/ 80 w 80"/>
                <a:gd name="T11" fmla="*/ 40 h 80"/>
                <a:gd name="T12" fmla="*/ 68 w 80"/>
                <a:gd name="T13" fmla="*/ 12 h 80"/>
                <a:gd name="T14" fmla="*/ 40 w 80"/>
                <a:gd name="T15" fmla="*/ 0 h 80"/>
                <a:gd name="T16" fmla="*/ 12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12" y="12"/>
                  </a:moveTo>
                  <a:cubicBezTo>
                    <a:pt x="4" y="19"/>
                    <a:pt x="0" y="30"/>
                    <a:pt x="0" y="40"/>
                  </a:cubicBezTo>
                  <a:cubicBezTo>
                    <a:pt x="0" y="51"/>
                    <a:pt x="4" y="61"/>
                    <a:pt x="12" y="68"/>
                  </a:cubicBezTo>
                  <a:cubicBezTo>
                    <a:pt x="19" y="76"/>
                    <a:pt x="29" y="80"/>
                    <a:pt x="40" y="80"/>
                  </a:cubicBezTo>
                  <a:cubicBezTo>
                    <a:pt x="51" y="80"/>
                    <a:pt x="61" y="76"/>
                    <a:pt x="68" y="68"/>
                  </a:cubicBezTo>
                  <a:cubicBezTo>
                    <a:pt x="76" y="61"/>
                    <a:pt x="80" y="51"/>
                    <a:pt x="80" y="40"/>
                  </a:cubicBezTo>
                  <a:cubicBezTo>
                    <a:pt x="80" y="30"/>
                    <a:pt x="76" y="19"/>
                    <a:pt x="68" y="12"/>
                  </a:cubicBezTo>
                  <a:cubicBezTo>
                    <a:pt x="61" y="4"/>
                    <a:pt x="51" y="0"/>
                    <a:pt x="40" y="0"/>
                  </a:cubicBezTo>
                  <a:cubicBezTo>
                    <a:pt x="29" y="0"/>
                    <a:pt x="19" y="4"/>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5"/>
            <p:cNvSpPr>
              <a:spLocks noEditPoints="1"/>
            </p:cNvSpPr>
            <p:nvPr/>
          </p:nvSpPr>
          <p:spPr bwMode="auto">
            <a:xfrm>
              <a:off x="1792" y="1403"/>
              <a:ext cx="2502" cy="2759"/>
            </a:xfrm>
            <a:custGeom>
              <a:avLst/>
              <a:gdLst>
                <a:gd name="T0" fmla="*/ 680 w 1322"/>
                <a:gd name="T1" fmla="*/ 7 h 1458"/>
                <a:gd name="T2" fmla="*/ 0 w 1322"/>
                <a:gd name="T3" fmla="*/ 386 h 1458"/>
                <a:gd name="T4" fmla="*/ 642 w 1322"/>
                <a:gd name="T5" fmla="*/ 1453 h 1458"/>
                <a:gd name="T6" fmla="*/ 1301 w 1322"/>
                <a:gd name="T7" fmla="*/ 1109 h 1458"/>
                <a:gd name="T8" fmla="*/ 247 w 1322"/>
                <a:gd name="T9" fmla="*/ 317 h 1458"/>
                <a:gd name="T10" fmla="*/ 123 w 1322"/>
                <a:gd name="T11" fmla="*/ 386 h 1458"/>
                <a:gd name="T12" fmla="*/ 578 w 1322"/>
                <a:gd name="T13" fmla="*/ 279 h 1458"/>
                <a:gd name="T14" fmla="*/ 447 w 1322"/>
                <a:gd name="T15" fmla="*/ 206 h 1458"/>
                <a:gd name="T16" fmla="*/ 743 w 1322"/>
                <a:gd name="T17" fmla="*/ 279 h 1458"/>
                <a:gd name="T18" fmla="*/ 1199 w 1322"/>
                <a:gd name="T19" fmla="*/ 386 h 1458"/>
                <a:gd name="T20" fmla="*/ 1074 w 1322"/>
                <a:gd name="T21" fmla="*/ 317 h 1458"/>
                <a:gd name="T22" fmla="*/ 1115 w 1322"/>
                <a:gd name="T23" fmla="*/ 663 h 1458"/>
                <a:gd name="T24" fmla="*/ 1242 w 1322"/>
                <a:gd name="T25" fmla="*/ 592 h 1458"/>
                <a:gd name="T26" fmla="*/ 860 w 1322"/>
                <a:gd name="T27" fmla="*/ 435 h 1458"/>
                <a:gd name="T28" fmla="*/ 785 w 1322"/>
                <a:gd name="T29" fmla="*/ 616 h 1458"/>
                <a:gd name="T30" fmla="*/ 660 w 1322"/>
                <a:gd name="T31" fmla="*/ 546 h 1458"/>
                <a:gd name="T32" fmla="*/ 336 w 1322"/>
                <a:gd name="T33" fmla="*/ 504 h 1458"/>
                <a:gd name="T34" fmla="*/ 453 w 1322"/>
                <a:gd name="T35" fmla="*/ 569 h 1458"/>
                <a:gd name="T36" fmla="*/ 414 w 1322"/>
                <a:gd name="T37" fmla="*/ 777 h 1458"/>
                <a:gd name="T38" fmla="*/ 494 w 1322"/>
                <a:gd name="T39" fmla="*/ 683 h 1458"/>
                <a:gd name="T40" fmla="*/ 494 w 1322"/>
                <a:gd name="T41" fmla="*/ 821 h 1458"/>
                <a:gd name="T42" fmla="*/ 621 w 1322"/>
                <a:gd name="T43" fmla="*/ 1121 h 1458"/>
                <a:gd name="T44" fmla="*/ 621 w 1322"/>
                <a:gd name="T45" fmla="*/ 983 h 1458"/>
                <a:gd name="T46" fmla="*/ 828 w 1322"/>
                <a:gd name="T47" fmla="*/ 1051 h 1458"/>
                <a:gd name="T48" fmla="*/ 701 w 1322"/>
                <a:gd name="T49" fmla="*/ 892 h 1458"/>
                <a:gd name="T50" fmla="*/ 828 w 1322"/>
                <a:gd name="T51" fmla="*/ 822 h 1458"/>
                <a:gd name="T52" fmla="*/ 1035 w 1322"/>
                <a:gd name="T53" fmla="*/ 569 h 1458"/>
                <a:gd name="T54" fmla="*/ 908 w 1322"/>
                <a:gd name="T55" fmla="*/ 639 h 1458"/>
                <a:gd name="T56" fmla="*/ 543 w 1322"/>
                <a:gd name="T57" fmla="*/ 390 h 1458"/>
                <a:gd name="T58" fmla="*/ 207 w 1322"/>
                <a:gd name="T59" fmla="*/ 524 h 1458"/>
                <a:gd name="T60" fmla="*/ 80 w 1322"/>
                <a:gd name="T61" fmla="*/ 454 h 1458"/>
                <a:gd name="T62" fmla="*/ 207 w 1322"/>
                <a:gd name="T63" fmla="*/ 754 h 1458"/>
                <a:gd name="T64" fmla="*/ 80 w 1322"/>
                <a:gd name="T65" fmla="*/ 684 h 1458"/>
                <a:gd name="T66" fmla="*/ 414 w 1322"/>
                <a:gd name="T67" fmla="*/ 1007 h 1458"/>
                <a:gd name="T68" fmla="*/ 414 w 1322"/>
                <a:gd name="T69" fmla="*/ 1098 h 1458"/>
                <a:gd name="T70" fmla="*/ 287 w 1322"/>
                <a:gd name="T71" fmla="*/ 1028 h 1458"/>
                <a:gd name="T72" fmla="*/ 621 w 1322"/>
                <a:gd name="T73" fmla="*/ 1213 h 1458"/>
                <a:gd name="T74" fmla="*/ 494 w 1322"/>
                <a:gd name="T75" fmla="*/ 1142 h 1458"/>
                <a:gd name="T76" fmla="*/ 828 w 1322"/>
                <a:gd name="T77" fmla="*/ 1280 h 1458"/>
                <a:gd name="T78" fmla="*/ 908 w 1322"/>
                <a:gd name="T79" fmla="*/ 1098 h 1458"/>
                <a:gd name="T80" fmla="*/ 908 w 1322"/>
                <a:gd name="T81" fmla="*/ 1236 h 1458"/>
                <a:gd name="T82" fmla="*/ 908 w 1322"/>
                <a:gd name="T83" fmla="*/ 869 h 1458"/>
                <a:gd name="T84" fmla="*/ 908 w 1322"/>
                <a:gd name="T85" fmla="*/ 1007 h 1458"/>
                <a:gd name="T86" fmla="*/ 1242 w 1322"/>
                <a:gd name="T87" fmla="*/ 822 h 1458"/>
                <a:gd name="T88" fmla="*/ 661 w 1322"/>
                <a:gd name="T89" fmla="*/ 88 h 1458"/>
                <a:gd name="T90" fmla="*/ 530 w 1322"/>
                <a:gd name="T91" fmla="*/ 160 h 1458"/>
                <a:gd name="T92" fmla="*/ 207 w 1322"/>
                <a:gd name="T93" fmla="*/ 983 h 1458"/>
                <a:gd name="T94" fmla="*/ 80 w 1322"/>
                <a:gd name="T95" fmla="*/ 913 h 1458"/>
                <a:gd name="T96" fmla="*/ 1242 w 1322"/>
                <a:gd name="T97" fmla="*/ 913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22" h="1458">
                  <a:moveTo>
                    <a:pt x="1322" y="386"/>
                  </a:moveTo>
                  <a:cubicBezTo>
                    <a:pt x="1322" y="371"/>
                    <a:pt x="1314" y="358"/>
                    <a:pt x="1301" y="351"/>
                  </a:cubicBezTo>
                  <a:cubicBezTo>
                    <a:pt x="680" y="7"/>
                    <a:pt x="680" y="7"/>
                    <a:pt x="680" y="7"/>
                  </a:cubicBezTo>
                  <a:cubicBezTo>
                    <a:pt x="668" y="0"/>
                    <a:pt x="654" y="0"/>
                    <a:pt x="642" y="7"/>
                  </a:cubicBezTo>
                  <a:cubicBezTo>
                    <a:pt x="21" y="351"/>
                    <a:pt x="21" y="351"/>
                    <a:pt x="21" y="351"/>
                  </a:cubicBezTo>
                  <a:cubicBezTo>
                    <a:pt x="8" y="358"/>
                    <a:pt x="0" y="371"/>
                    <a:pt x="0" y="386"/>
                  </a:cubicBezTo>
                  <a:cubicBezTo>
                    <a:pt x="0" y="1074"/>
                    <a:pt x="0" y="1074"/>
                    <a:pt x="0" y="1074"/>
                  </a:cubicBezTo>
                  <a:cubicBezTo>
                    <a:pt x="0" y="1088"/>
                    <a:pt x="8" y="1102"/>
                    <a:pt x="21" y="1109"/>
                  </a:cubicBezTo>
                  <a:cubicBezTo>
                    <a:pt x="642" y="1453"/>
                    <a:pt x="642" y="1453"/>
                    <a:pt x="642" y="1453"/>
                  </a:cubicBezTo>
                  <a:cubicBezTo>
                    <a:pt x="648" y="1456"/>
                    <a:pt x="654" y="1458"/>
                    <a:pt x="661" y="1458"/>
                  </a:cubicBezTo>
                  <a:cubicBezTo>
                    <a:pt x="668" y="1458"/>
                    <a:pt x="674" y="1456"/>
                    <a:pt x="680" y="1453"/>
                  </a:cubicBezTo>
                  <a:cubicBezTo>
                    <a:pt x="1301" y="1109"/>
                    <a:pt x="1301" y="1109"/>
                    <a:pt x="1301" y="1109"/>
                  </a:cubicBezTo>
                  <a:cubicBezTo>
                    <a:pt x="1314" y="1102"/>
                    <a:pt x="1322" y="1089"/>
                    <a:pt x="1322" y="1074"/>
                  </a:cubicBezTo>
                  <a:cubicBezTo>
                    <a:pt x="1322" y="386"/>
                    <a:pt x="1322" y="386"/>
                    <a:pt x="1322" y="386"/>
                  </a:cubicBezTo>
                  <a:close/>
                  <a:moveTo>
                    <a:pt x="247" y="317"/>
                  </a:moveTo>
                  <a:cubicBezTo>
                    <a:pt x="378" y="390"/>
                    <a:pt x="378" y="390"/>
                    <a:pt x="378" y="390"/>
                  </a:cubicBezTo>
                  <a:cubicBezTo>
                    <a:pt x="254" y="459"/>
                    <a:pt x="254" y="459"/>
                    <a:pt x="254" y="459"/>
                  </a:cubicBezTo>
                  <a:cubicBezTo>
                    <a:pt x="123" y="386"/>
                    <a:pt x="123" y="386"/>
                    <a:pt x="123" y="386"/>
                  </a:cubicBezTo>
                  <a:lnTo>
                    <a:pt x="247" y="317"/>
                  </a:lnTo>
                  <a:close/>
                  <a:moveTo>
                    <a:pt x="447" y="206"/>
                  </a:moveTo>
                  <a:cubicBezTo>
                    <a:pt x="578" y="279"/>
                    <a:pt x="578" y="279"/>
                    <a:pt x="578" y="279"/>
                  </a:cubicBezTo>
                  <a:cubicBezTo>
                    <a:pt x="460" y="344"/>
                    <a:pt x="460" y="344"/>
                    <a:pt x="460" y="344"/>
                  </a:cubicBezTo>
                  <a:cubicBezTo>
                    <a:pt x="329" y="272"/>
                    <a:pt x="329" y="272"/>
                    <a:pt x="329" y="272"/>
                  </a:cubicBezTo>
                  <a:lnTo>
                    <a:pt x="447" y="206"/>
                  </a:lnTo>
                  <a:close/>
                  <a:moveTo>
                    <a:pt x="992" y="271"/>
                  </a:moveTo>
                  <a:cubicBezTo>
                    <a:pt x="860" y="344"/>
                    <a:pt x="860" y="344"/>
                    <a:pt x="860" y="344"/>
                  </a:cubicBezTo>
                  <a:cubicBezTo>
                    <a:pt x="743" y="279"/>
                    <a:pt x="743" y="279"/>
                    <a:pt x="743" y="279"/>
                  </a:cubicBezTo>
                  <a:cubicBezTo>
                    <a:pt x="875" y="206"/>
                    <a:pt x="875" y="206"/>
                    <a:pt x="875" y="206"/>
                  </a:cubicBezTo>
                  <a:lnTo>
                    <a:pt x="992" y="271"/>
                  </a:lnTo>
                  <a:close/>
                  <a:moveTo>
                    <a:pt x="1199" y="386"/>
                  </a:moveTo>
                  <a:cubicBezTo>
                    <a:pt x="1068" y="459"/>
                    <a:pt x="1068" y="459"/>
                    <a:pt x="1068" y="459"/>
                  </a:cubicBezTo>
                  <a:cubicBezTo>
                    <a:pt x="943" y="389"/>
                    <a:pt x="943" y="389"/>
                    <a:pt x="943" y="389"/>
                  </a:cubicBezTo>
                  <a:cubicBezTo>
                    <a:pt x="1074" y="317"/>
                    <a:pt x="1074" y="317"/>
                    <a:pt x="1074" y="317"/>
                  </a:cubicBezTo>
                  <a:lnTo>
                    <a:pt x="1199" y="386"/>
                  </a:lnTo>
                  <a:close/>
                  <a:moveTo>
                    <a:pt x="1242" y="592"/>
                  </a:moveTo>
                  <a:cubicBezTo>
                    <a:pt x="1115" y="663"/>
                    <a:pt x="1115" y="663"/>
                    <a:pt x="1115" y="663"/>
                  </a:cubicBezTo>
                  <a:cubicBezTo>
                    <a:pt x="1115" y="524"/>
                    <a:pt x="1115" y="524"/>
                    <a:pt x="1115" y="524"/>
                  </a:cubicBezTo>
                  <a:cubicBezTo>
                    <a:pt x="1242" y="454"/>
                    <a:pt x="1242" y="454"/>
                    <a:pt x="1242" y="454"/>
                  </a:cubicBezTo>
                  <a:lnTo>
                    <a:pt x="1242" y="592"/>
                  </a:lnTo>
                  <a:close/>
                  <a:moveTo>
                    <a:pt x="868" y="570"/>
                  </a:moveTo>
                  <a:cubicBezTo>
                    <a:pt x="742" y="500"/>
                    <a:pt x="742" y="500"/>
                    <a:pt x="742" y="500"/>
                  </a:cubicBezTo>
                  <a:cubicBezTo>
                    <a:pt x="860" y="435"/>
                    <a:pt x="860" y="435"/>
                    <a:pt x="860" y="435"/>
                  </a:cubicBezTo>
                  <a:cubicBezTo>
                    <a:pt x="985" y="504"/>
                    <a:pt x="985" y="504"/>
                    <a:pt x="985" y="504"/>
                  </a:cubicBezTo>
                  <a:lnTo>
                    <a:pt x="868" y="570"/>
                  </a:lnTo>
                  <a:close/>
                  <a:moveTo>
                    <a:pt x="785" y="616"/>
                  </a:moveTo>
                  <a:cubicBezTo>
                    <a:pt x="661" y="684"/>
                    <a:pt x="661" y="684"/>
                    <a:pt x="661" y="684"/>
                  </a:cubicBezTo>
                  <a:cubicBezTo>
                    <a:pt x="536" y="615"/>
                    <a:pt x="536" y="615"/>
                    <a:pt x="536" y="615"/>
                  </a:cubicBezTo>
                  <a:cubicBezTo>
                    <a:pt x="660" y="546"/>
                    <a:pt x="660" y="546"/>
                    <a:pt x="660" y="546"/>
                  </a:cubicBezTo>
                  <a:lnTo>
                    <a:pt x="785" y="616"/>
                  </a:lnTo>
                  <a:close/>
                  <a:moveTo>
                    <a:pt x="453" y="569"/>
                  </a:moveTo>
                  <a:cubicBezTo>
                    <a:pt x="336" y="504"/>
                    <a:pt x="336" y="504"/>
                    <a:pt x="336" y="504"/>
                  </a:cubicBezTo>
                  <a:cubicBezTo>
                    <a:pt x="460" y="436"/>
                    <a:pt x="460" y="436"/>
                    <a:pt x="460" y="436"/>
                  </a:cubicBezTo>
                  <a:cubicBezTo>
                    <a:pt x="577" y="500"/>
                    <a:pt x="577" y="500"/>
                    <a:pt x="577" y="500"/>
                  </a:cubicBezTo>
                  <a:lnTo>
                    <a:pt x="453" y="569"/>
                  </a:lnTo>
                  <a:close/>
                  <a:moveTo>
                    <a:pt x="287" y="568"/>
                  </a:moveTo>
                  <a:cubicBezTo>
                    <a:pt x="414" y="639"/>
                    <a:pt x="414" y="639"/>
                    <a:pt x="414" y="639"/>
                  </a:cubicBezTo>
                  <a:cubicBezTo>
                    <a:pt x="414" y="777"/>
                    <a:pt x="414" y="777"/>
                    <a:pt x="414" y="777"/>
                  </a:cubicBezTo>
                  <a:cubicBezTo>
                    <a:pt x="287" y="707"/>
                    <a:pt x="287" y="707"/>
                    <a:pt x="287" y="707"/>
                  </a:cubicBezTo>
                  <a:lnTo>
                    <a:pt x="287" y="568"/>
                  </a:lnTo>
                  <a:close/>
                  <a:moveTo>
                    <a:pt x="494" y="683"/>
                  </a:moveTo>
                  <a:cubicBezTo>
                    <a:pt x="621" y="754"/>
                    <a:pt x="621" y="754"/>
                    <a:pt x="621" y="754"/>
                  </a:cubicBezTo>
                  <a:cubicBezTo>
                    <a:pt x="621" y="892"/>
                    <a:pt x="621" y="892"/>
                    <a:pt x="621" y="892"/>
                  </a:cubicBezTo>
                  <a:cubicBezTo>
                    <a:pt x="494" y="821"/>
                    <a:pt x="494" y="821"/>
                    <a:pt x="494" y="821"/>
                  </a:cubicBezTo>
                  <a:lnTo>
                    <a:pt x="494" y="683"/>
                  </a:lnTo>
                  <a:close/>
                  <a:moveTo>
                    <a:pt x="621" y="983"/>
                  </a:moveTo>
                  <a:cubicBezTo>
                    <a:pt x="621" y="1121"/>
                    <a:pt x="621" y="1121"/>
                    <a:pt x="621" y="1121"/>
                  </a:cubicBezTo>
                  <a:cubicBezTo>
                    <a:pt x="494" y="1051"/>
                    <a:pt x="494" y="1051"/>
                    <a:pt x="494" y="1051"/>
                  </a:cubicBezTo>
                  <a:cubicBezTo>
                    <a:pt x="494" y="913"/>
                    <a:pt x="494" y="913"/>
                    <a:pt x="494" y="913"/>
                  </a:cubicBezTo>
                  <a:lnTo>
                    <a:pt x="621" y="983"/>
                  </a:lnTo>
                  <a:close/>
                  <a:moveTo>
                    <a:pt x="701" y="983"/>
                  </a:moveTo>
                  <a:cubicBezTo>
                    <a:pt x="828" y="913"/>
                    <a:pt x="828" y="913"/>
                    <a:pt x="828" y="913"/>
                  </a:cubicBezTo>
                  <a:cubicBezTo>
                    <a:pt x="828" y="1051"/>
                    <a:pt x="828" y="1051"/>
                    <a:pt x="828" y="1051"/>
                  </a:cubicBezTo>
                  <a:cubicBezTo>
                    <a:pt x="701" y="1121"/>
                    <a:pt x="701" y="1121"/>
                    <a:pt x="701" y="1121"/>
                  </a:cubicBezTo>
                  <a:lnTo>
                    <a:pt x="701" y="983"/>
                  </a:lnTo>
                  <a:close/>
                  <a:moveTo>
                    <a:pt x="701" y="892"/>
                  </a:moveTo>
                  <a:cubicBezTo>
                    <a:pt x="701" y="754"/>
                    <a:pt x="701" y="754"/>
                    <a:pt x="701" y="754"/>
                  </a:cubicBezTo>
                  <a:cubicBezTo>
                    <a:pt x="828" y="683"/>
                    <a:pt x="828" y="683"/>
                    <a:pt x="828" y="683"/>
                  </a:cubicBezTo>
                  <a:cubicBezTo>
                    <a:pt x="828" y="822"/>
                    <a:pt x="828" y="822"/>
                    <a:pt x="828" y="822"/>
                  </a:cubicBezTo>
                  <a:lnTo>
                    <a:pt x="701" y="892"/>
                  </a:lnTo>
                  <a:close/>
                  <a:moveTo>
                    <a:pt x="908" y="639"/>
                  </a:moveTo>
                  <a:cubicBezTo>
                    <a:pt x="1035" y="569"/>
                    <a:pt x="1035" y="569"/>
                    <a:pt x="1035" y="569"/>
                  </a:cubicBezTo>
                  <a:cubicBezTo>
                    <a:pt x="1035" y="707"/>
                    <a:pt x="1035" y="707"/>
                    <a:pt x="1035" y="707"/>
                  </a:cubicBezTo>
                  <a:cubicBezTo>
                    <a:pt x="908" y="777"/>
                    <a:pt x="908" y="777"/>
                    <a:pt x="908" y="777"/>
                  </a:cubicBezTo>
                  <a:lnTo>
                    <a:pt x="908" y="639"/>
                  </a:lnTo>
                  <a:close/>
                  <a:moveTo>
                    <a:pt x="778" y="389"/>
                  </a:moveTo>
                  <a:cubicBezTo>
                    <a:pt x="660" y="455"/>
                    <a:pt x="660" y="455"/>
                    <a:pt x="660" y="455"/>
                  </a:cubicBezTo>
                  <a:cubicBezTo>
                    <a:pt x="543" y="390"/>
                    <a:pt x="543" y="390"/>
                    <a:pt x="543" y="390"/>
                  </a:cubicBezTo>
                  <a:cubicBezTo>
                    <a:pt x="661" y="325"/>
                    <a:pt x="661" y="325"/>
                    <a:pt x="661" y="325"/>
                  </a:cubicBezTo>
                  <a:lnTo>
                    <a:pt x="778" y="389"/>
                  </a:lnTo>
                  <a:close/>
                  <a:moveTo>
                    <a:pt x="207" y="524"/>
                  </a:moveTo>
                  <a:cubicBezTo>
                    <a:pt x="207" y="662"/>
                    <a:pt x="207" y="662"/>
                    <a:pt x="207" y="662"/>
                  </a:cubicBezTo>
                  <a:cubicBezTo>
                    <a:pt x="80" y="592"/>
                    <a:pt x="80" y="592"/>
                    <a:pt x="80" y="592"/>
                  </a:cubicBezTo>
                  <a:cubicBezTo>
                    <a:pt x="80" y="454"/>
                    <a:pt x="80" y="454"/>
                    <a:pt x="80" y="454"/>
                  </a:cubicBezTo>
                  <a:lnTo>
                    <a:pt x="207" y="524"/>
                  </a:lnTo>
                  <a:close/>
                  <a:moveTo>
                    <a:pt x="80" y="684"/>
                  </a:moveTo>
                  <a:cubicBezTo>
                    <a:pt x="207" y="754"/>
                    <a:pt x="207" y="754"/>
                    <a:pt x="207" y="754"/>
                  </a:cubicBezTo>
                  <a:cubicBezTo>
                    <a:pt x="207" y="892"/>
                    <a:pt x="207" y="892"/>
                    <a:pt x="207" y="892"/>
                  </a:cubicBezTo>
                  <a:cubicBezTo>
                    <a:pt x="80" y="822"/>
                    <a:pt x="80" y="822"/>
                    <a:pt x="80" y="822"/>
                  </a:cubicBezTo>
                  <a:lnTo>
                    <a:pt x="80" y="684"/>
                  </a:lnTo>
                  <a:close/>
                  <a:moveTo>
                    <a:pt x="287" y="798"/>
                  </a:moveTo>
                  <a:cubicBezTo>
                    <a:pt x="414" y="868"/>
                    <a:pt x="414" y="868"/>
                    <a:pt x="414" y="868"/>
                  </a:cubicBezTo>
                  <a:cubicBezTo>
                    <a:pt x="414" y="1007"/>
                    <a:pt x="414" y="1007"/>
                    <a:pt x="414" y="1007"/>
                  </a:cubicBezTo>
                  <a:cubicBezTo>
                    <a:pt x="287" y="936"/>
                    <a:pt x="287" y="936"/>
                    <a:pt x="287" y="936"/>
                  </a:cubicBezTo>
                  <a:lnTo>
                    <a:pt x="287" y="798"/>
                  </a:lnTo>
                  <a:close/>
                  <a:moveTo>
                    <a:pt x="414" y="1098"/>
                  </a:moveTo>
                  <a:cubicBezTo>
                    <a:pt x="414" y="1235"/>
                    <a:pt x="414" y="1235"/>
                    <a:pt x="414" y="1235"/>
                  </a:cubicBezTo>
                  <a:cubicBezTo>
                    <a:pt x="287" y="1165"/>
                    <a:pt x="287" y="1165"/>
                    <a:pt x="287" y="1165"/>
                  </a:cubicBezTo>
                  <a:cubicBezTo>
                    <a:pt x="287" y="1028"/>
                    <a:pt x="287" y="1028"/>
                    <a:pt x="287" y="1028"/>
                  </a:cubicBezTo>
                  <a:lnTo>
                    <a:pt x="414" y="1098"/>
                  </a:lnTo>
                  <a:close/>
                  <a:moveTo>
                    <a:pt x="494" y="1142"/>
                  </a:moveTo>
                  <a:cubicBezTo>
                    <a:pt x="621" y="1213"/>
                    <a:pt x="621" y="1213"/>
                    <a:pt x="621" y="1213"/>
                  </a:cubicBezTo>
                  <a:cubicBezTo>
                    <a:pt x="621" y="1350"/>
                    <a:pt x="621" y="1350"/>
                    <a:pt x="621" y="1350"/>
                  </a:cubicBezTo>
                  <a:cubicBezTo>
                    <a:pt x="494" y="1280"/>
                    <a:pt x="494" y="1280"/>
                    <a:pt x="494" y="1280"/>
                  </a:cubicBezTo>
                  <a:lnTo>
                    <a:pt x="494" y="1142"/>
                  </a:lnTo>
                  <a:close/>
                  <a:moveTo>
                    <a:pt x="701" y="1213"/>
                  </a:moveTo>
                  <a:cubicBezTo>
                    <a:pt x="828" y="1143"/>
                    <a:pt x="828" y="1143"/>
                    <a:pt x="828" y="1143"/>
                  </a:cubicBezTo>
                  <a:cubicBezTo>
                    <a:pt x="828" y="1280"/>
                    <a:pt x="828" y="1280"/>
                    <a:pt x="828" y="1280"/>
                  </a:cubicBezTo>
                  <a:cubicBezTo>
                    <a:pt x="701" y="1350"/>
                    <a:pt x="701" y="1350"/>
                    <a:pt x="701" y="1350"/>
                  </a:cubicBezTo>
                  <a:lnTo>
                    <a:pt x="701" y="1213"/>
                  </a:lnTo>
                  <a:close/>
                  <a:moveTo>
                    <a:pt x="908" y="1098"/>
                  </a:moveTo>
                  <a:cubicBezTo>
                    <a:pt x="1035" y="1028"/>
                    <a:pt x="1035" y="1028"/>
                    <a:pt x="1035" y="1028"/>
                  </a:cubicBezTo>
                  <a:cubicBezTo>
                    <a:pt x="1035" y="1165"/>
                    <a:pt x="1035" y="1165"/>
                    <a:pt x="1035" y="1165"/>
                  </a:cubicBezTo>
                  <a:cubicBezTo>
                    <a:pt x="908" y="1236"/>
                    <a:pt x="908" y="1236"/>
                    <a:pt x="908" y="1236"/>
                  </a:cubicBezTo>
                  <a:lnTo>
                    <a:pt x="908" y="1098"/>
                  </a:lnTo>
                  <a:close/>
                  <a:moveTo>
                    <a:pt x="908" y="1007"/>
                  </a:moveTo>
                  <a:cubicBezTo>
                    <a:pt x="908" y="869"/>
                    <a:pt x="908" y="869"/>
                    <a:pt x="908" y="869"/>
                  </a:cubicBezTo>
                  <a:cubicBezTo>
                    <a:pt x="1035" y="798"/>
                    <a:pt x="1035" y="798"/>
                    <a:pt x="1035" y="798"/>
                  </a:cubicBezTo>
                  <a:cubicBezTo>
                    <a:pt x="1035" y="937"/>
                    <a:pt x="1035" y="937"/>
                    <a:pt x="1035" y="937"/>
                  </a:cubicBezTo>
                  <a:lnTo>
                    <a:pt x="908" y="1007"/>
                  </a:lnTo>
                  <a:close/>
                  <a:moveTo>
                    <a:pt x="1115" y="754"/>
                  </a:moveTo>
                  <a:cubicBezTo>
                    <a:pt x="1242" y="684"/>
                    <a:pt x="1242" y="684"/>
                    <a:pt x="1242" y="684"/>
                  </a:cubicBezTo>
                  <a:cubicBezTo>
                    <a:pt x="1242" y="822"/>
                    <a:pt x="1242" y="822"/>
                    <a:pt x="1242" y="822"/>
                  </a:cubicBezTo>
                  <a:cubicBezTo>
                    <a:pt x="1115" y="892"/>
                    <a:pt x="1115" y="892"/>
                    <a:pt x="1115" y="892"/>
                  </a:cubicBezTo>
                  <a:lnTo>
                    <a:pt x="1115" y="754"/>
                  </a:lnTo>
                  <a:close/>
                  <a:moveTo>
                    <a:pt x="661" y="88"/>
                  </a:moveTo>
                  <a:cubicBezTo>
                    <a:pt x="792" y="160"/>
                    <a:pt x="792" y="160"/>
                    <a:pt x="792" y="160"/>
                  </a:cubicBezTo>
                  <a:cubicBezTo>
                    <a:pt x="661" y="233"/>
                    <a:pt x="661" y="233"/>
                    <a:pt x="661" y="233"/>
                  </a:cubicBezTo>
                  <a:cubicBezTo>
                    <a:pt x="530" y="160"/>
                    <a:pt x="530" y="160"/>
                    <a:pt x="530" y="160"/>
                  </a:cubicBezTo>
                  <a:lnTo>
                    <a:pt x="661" y="88"/>
                  </a:lnTo>
                  <a:close/>
                  <a:moveTo>
                    <a:pt x="80" y="913"/>
                  </a:moveTo>
                  <a:cubicBezTo>
                    <a:pt x="207" y="983"/>
                    <a:pt x="207" y="983"/>
                    <a:pt x="207" y="983"/>
                  </a:cubicBezTo>
                  <a:cubicBezTo>
                    <a:pt x="207" y="1120"/>
                    <a:pt x="207" y="1120"/>
                    <a:pt x="207" y="1120"/>
                  </a:cubicBezTo>
                  <a:cubicBezTo>
                    <a:pt x="80" y="1050"/>
                    <a:pt x="80" y="1050"/>
                    <a:pt x="80" y="1050"/>
                  </a:cubicBezTo>
                  <a:lnTo>
                    <a:pt x="80" y="913"/>
                  </a:lnTo>
                  <a:close/>
                  <a:moveTo>
                    <a:pt x="1115" y="1121"/>
                  </a:moveTo>
                  <a:cubicBezTo>
                    <a:pt x="1115" y="984"/>
                    <a:pt x="1115" y="984"/>
                    <a:pt x="1115" y="984"/>
                  </a:cubicBezTo>
                  <a:cubicBezTo>
                    <a:pt x="1242" y="913"/>
                    <a:pt x="1242" y="913"/>
                    <a:pt x="1242" y="913"/>
                  </a:cubicBezTo>
                  <a:cubicBezTo>
                    <a:pt x="1242" y="1050"/>
                    <a:pt x="1242" y="1050"/>
                    <a:pt x="1242" y="1050"/>
                  </a:cubicBezTo>
                  <a:lnTo>
                    <a:pt x="1115" y="1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6"/>
            <p:cNvSpPr>
              <a:spLocks/>
            </p:cNvSpPr>
            <p:nvPr/>
          </p:nvSpPr>
          <p:spPr bwMode="auto">
            <a:xfrm>
              <a:off x="4109" y="1692"/>
              <a:ext cx="562" cy="152"/>
            </a:xfrm>
            <a:custGeom>
              <a:avLst/>
              <a:gdLst>
                <a:gd name="T0" fmla="*/ 40 w 297"/>
                <a:gd name="T1" fmla="*/ 80 h 80"/>
                <a:gd name="T2" fmla="*/ 257 w 297"/>
                <a:gd name="T3" fmla="*/ 80 h 80"/>
                <a:gd name="T4" fmla="*/ 297 w 297"/>
                <a:gd name="T5" fmla="*/ 40 h 80"/>
                <a:gd name="T6" fmla="*/ 257 w 297"/>
                <a:gd name="T7" fmla="*/ 0 h 80"/>
                <a:gd name="T8" fmla="*/ 40 w 297"/>
                <a:gd name="T9" fmla="*/ 0 h 80"/>
                <a:gd name="T10" fmla="*/ 0 w 297"/>
                <a:gd name="T11" fmla="*/ 40 h 80"/>
                <a:gd name="T12" fmla="*/ 40 w 297"/>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297" h="80">
                  <a:moveTo>
                    <a:pt x="40" y="80"/>
                  </a:moveTo>
                  <a:cubicBezTo>
                    <a:pt x="257" y="80"/>
                    <a:pt x="257" y="80"/>
                    <a:pt x="257" y="80"/>
                  </a:cubicBezTo>
                  <a:cubicBezTo>
                    <a:pt x="279" y="80"/>
                    <a:pt x="297" y="62"/>
                    <a:pt x="297" y="40"/>
                  </a:cubicBezTo>
                  <a:cubicBezTo>
                    <a:pt x="297" y="18"/>
                    <a:pt x="279" y="0"/>
                    <a:pt x="257" y="0"/>
                  </a:cubicBezTo>
                  <a:cubicBezTo>
                    <a:pt x="40" y="0"/>
                    <a:pt x="40" y="0"/>
                    <a:pt x="40" y="0"/>
                  </a:cubicBezTo>
                  <a:cubicBezTo>
                    <a:pt x="18" y="0"/>
                    <a:pt x="0" y="18"/>
                    <a:pt x="0" y="40"/>
                  </a:cubicBezTo>
                  <a:cubicBezTo>
                    <a:pt x="0" y="62"/>
                    <a:pt x="18"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7"/>
            <p:cNvSpPr>
              <a:spLocks/>
            </p:cNvSpPr>
            <p:nvPr/>
          </p:nvSpPr>
          <p:spPr bwMode="auto">
            <a:xfrm>
              <a:off x="4109" y="1329"/>
              <a:ext cx="562" cy="151"/>
            </a:xfrm>
            <a:custGeom>
              <a:avLst/>
              <a:gdLst>
                <a:gd name="T0" fmla="*/ 0 w 297"/>
                <a:gd name="T1" fmla="*/ 40 h 80"/>
                <a:gd name="T2" fmla="*/ 40 w 297"/>
                <a:gd name="T3" fmla="*/ 80 h 80"/>
                <a:gd name="T4" fmla="*/ 257 w 297"/>
                <a:gd name="T5" fmla="*/ 80 h 80"/>
                <a:gd name="T6" fmla="*/ 297 w 297"/>
                <a:gd name="T7" fmla="*/ 40 h 80"/>
                <a:gd name="T8" fmla="*/ 257 w 297"/>
                <a:gd name="T9" fmla="*/ 0 h 80"/>
                <a:gd name="T10" fmla="*/ 40 w 297"/>
                <a:gd name="T11" fmla="*/ 0 h 80"/>
                <a:gd name="T12" fmla="*/ 0 w 297"/>
                <a:gd name="T13" fmla="*/ 40 h 80"/>
              </a:gdLst>
              <a:ahLst/>
              <a:cxnLst>
                <a:cxn ang="0">
                  <a:pos x="T0" y="T1"/>
                </a:cxn>
                <a:cxn ang="0">
                  <a:pos x="T2" y="T3"/>
                </a:cxn>
                <a:cxn ang="0">
                  <a:pos x="T4" y="T5"/>
                </a:cxn>
                <a:cxn ang="0">
                  <a:pos x="T6" y="T7"/>
                </a:cxn>
                <a:cxn ang="0">
                  <a:pos x="T8" y="T9"/>
                </a:cxn>
                <a:cxn ang="0">
                  <a:pos x="T10" y="T11"/>
                </a:cxn>
                <a:cxn ang="0">
                  <a:pos x="T12" y="T13"/>
                </a:cxn>
              </a:cxnLst>
              <a:rect l="0" t="0" r="r" b="b"/>
              <a:pathLst>
                <a:path w="297" h="80">
                  <a:moveTo>
                    <a:pt x="0" y="40"/>
                  </a:moveTo>
                  <a:cubicBezTo>
                    <a:pt x="0" y="62"/>
                    <a:pt x="18" y="80"/>
                    <a:pt x="40" y="80"/>
                  </a:cubicBezTo>
                  <a:cubicBezTo>
                    <a:pt x="257" y="80"/>
                    <a:pt x="257" y="80"/>
                    <a:pt x="257" y="80"/>
                  </a:cubicBezTo>
                  <a:cubicBezTo>
                    <a:pt x="279" y="80"/>
                    <a:pt x="297" y="62"/>
                    <a:pt x="297" y="40"/>
                  </a:cubicBezTo>
                  <a:cubicBezTo>
                    <a:pt x="297" y="18"/>
                    <a:pt x="279" y="0"/>
                    <a:pt x="257" y="0"/>
                  </a:cubicBezTo>
                  <a:cubicBezTo>
                    <a:pt x="40" y="0"/>
                    <a:pt x="40" y="0"/>
                    <a:pt x="40" y="0"/>
                  </a:cubicBezTo>
                  <a:cubicBezTo>
                    <a:pt x="18" y="0"/>
                    <a:pt x="0" y="18"/>
                    <a:pt x="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8"/>
            <p:cNvSpPr>
              <a:spLocks/>
            </p:cNvSpPr>
            <p:nvPr/>
          </p:nvSpPr>
          <p:spPr bwMode="auto">
            <a:xfrm>
              <a:off x="1415" y="1692"/>
              <a:ext cx="563" cy="152"/>
            </a:xfrm>
            <a:custGeom>
              <a:avLst/>
              <a:gdLst>
                <a:gd name="T0" fmla="*/ 40 w 297"/>
                <a:gd name="T1" fmla="*/ 80 h 80"/>
                <a:gd name="T2" fmla="*/ 257 w 297"/>
                <a:gd name="T3" fmla="*/ 80 h 80"/>
                <a:gd name="T4" fmla="*/ 297 w 297"/>
                <a:gd name="T5" fmla="*/ 40 h 80"/>
                <a:gd name="T6" fmla="*/ 257 w 297"/>
                <a:gd name="T7" fmla="*/ 0 h 80"/>
                <a:gd name="T8" fmla="*/ 40 w 297"/>
                <a:gd name="T9" fmla="*/ 0 h 80"/>
                <a:gd name="T10" fmla="*/ 0 w 297"/>
                <a:gd name="T11" fmla="*/ 40 h 80"/>
                <a:gd name="T12" fmla="*/ 40 w 297"/>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297" h="80">
                  <a:moveTo>
                    <a:pt x="40" y="80"/>
                  </a:moveTo>
                  <a:cubicBezTo>
                    <a:pt x="257" y="80"/>
                    <a:pt x="257" y="80"/>
                    <a:pt x="257" y="80"/>
                  </a:cubicBezTo>
                  <a:cubicBezTo>
                    <a:pt x="279" y="80"/>
                    <a:pt x="297" y="62"/>
                    <a:pt x="297" y="40"/>
                  </a:cubicBezTo>
                  <a:cubicBezTo>
                    <a:pt x="297" y="18"/>
                    <a:pt x="279" y="0"/>
                    <a:pt x="257" y="0"/>
                  </a:cubicBezTo>
                  <a:cubicBezTo>
                    <a:pt x="40" y="0"/>
                    <a:pt x="40" y="0"/>
                    <a:pt x="40" y="0"/>
                  </a:cubicBezTo>
                  <a:cubicBezTo>
                    <a:pt x="18" y="0"/>
                    <a:pt x="0" y="18"/>
                    <a:pt x="0" y="40"/>
                  </a:cubicBezTo>
                  <a:cubicBezTo>
                    <a:pt x="0" y="62"/>
                    <a:pt x="18"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9"/>
            <p:cNvSpPr>
              <a:spLocks/>
            </p:cNvSpPr>
            <p:nvPr/>
          </p:nvSpPr>
          <p:spPr bwMode="auto">
            <a:xfrm>
              <a:off x="1415" y="1329"/>
              <a:ext cx="563" cy="151"/>
            </a:xfrm>
            <a:custGeom>
              <a:avLst/>
              <a:gdLst>
                <a:gd name="T0" fmla="*/ 40 w 297"/>
                <a:gd name="T1" fmla="*/ 80 h 80"/>
                <a:gd name="T2" fmla="*/ 257 w 297"/>
                <a:gd name="T3" fmla="*/ 80 h 80"/>
                <a:gd name="T4" fmla="*/ 297 w 297"/>
                <a:gd name="T5" fmla="*/ 40 h 80"/>
                <a:gd name="T6" fmla="*/ 257 w 297"/>
                <a:gd name="T7" fmla="*/ 0 h 80"/>
                <a:gd name="T8" fmla="*/ 40 w 297"/>
                <a:gd name="T9" fmla="*/ 0 h 80"/>
                <a:gd name="T10" fmla="*/ 0 w 297"/>
                <a:gd name="T11" fmla="*/ 40 h 80"/>
                <a:gd name="T12" fmla="*/ 40 w 297"/>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297" h="80">
                  <a:moveTo>
                    <a:pt x="40" y="80"/>
                  </a:moveTo>
                  <a:cubicBezTo>
                    <a:pt x="257" y="80"/>
                    <a:pt x="257" y="80"/>
                    <a:pt x="257" y="80"/>
                  </a:cubicBezTo>
                  <a:cubicBezTo>
                    <a:pt x="279" y="80"/>
                    <a:pt x="297" y="62"/>
                    <a:pt x="297" y="40"/>
                  </a:cubicBezTo>
                  <a:cubicBezTo>
                    <a:pt x="297" y="18"/>
                    <a:pt x="279" y="0"/>
                    <a:pt x="257" y="0"/>
                  </a:cubicBezTo>
                  <a:cubicBezTo>
                    <a:pt x="40" y="0"/>
                    <a:pt x="40" y="0"/>
                    <a:pt x="40" y="0"/>
                  </a:cubicBezTo>
                  <a:cubicBezTo>
                    <a:pt x="18" y="0"/>
                    <a:pt x="0" y="18"/>
                    <a:pt x="0" y="40"/>
                  </a:cubicBezTo>
                  <a:cubicBezTo>
                    <a:pt x="0" y="62"/>
                    <a:pt x="18"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0"/>
            <p:cNvSpPr>
              <a:spLocks/>
            </p:cNvSpPr>
            <p:nvPr/>
          </p:nvSpPr>
          <p:spPr bwMode="auto">
            <a:xfrm>
              <a:off x="2119" y="1329"/>
              <a:ext cx="152" cy="151"/>
            </a:xfrm>
            <a:custGeom>
              <a:avLst/>
              <a:gdLst>
                <a:gd name="T0" fmla="*/ 68 w 80"/>
                <a:gd name="T1" fmla="*/ 68 h 80"/>
                <a:gd name="T2" fmla="*/ 80 w 80"/>
                <a:gd name="T3" fmla="*/ 40 h 80"/>
                <a:gd name="T4" fmla="*/ 68 w 80"/>
                <a:gd name="T5" fmla="*/ 12 h 80"/>
                <a:gd name="T6" fmla="*/ 40 w 80"/>
                <a:gd name="T7" fmla="*/ 0 h 80"/>
                <a:gd name="T8" fmla="*/ 12 w 80"/>
                <a:gd name="T9" fmla="*/ 12 h 80"/>
                <a:gd name="T10" fmla="*/ 0 w 80"/>
                <a:gd name="T11" fmla="*/ 40 h 80"/>
                <a:gd name="T12" fmla="*/ 12 w 80"/>
                <a:gd name="T13" fmla="*/ 68 h 80"/>
                <a:gd name="T14" fmla="*/ 40 w 80"/>
                <a:gd name="T15" fmla="*/ 80 h 80"/>
                <a:gd name="T16" fmla="*/ 68 w 80"/>
                <a:gd name="T17"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68" y="68"/>
                  </a:moveTo>
                  <a:cubicBezTo>
                    <a:pt x="76" y="61"/>
                    <a:pt x="80" y="51"/>
                    <a:pt x="80" y="40"/>
                  </a:cubicBezTo>
                  <a:cubicBezTo>
                    <a:pt x="80" y="30"/>
                    <a:pt x="76" y="19"/>
                    <a:pt x="68" y="12"/>
                  </a:cubicBezTo>
                  <a:cubicBezTo>
                    <a:pt x="61" y="4"/>
                    <a:pt x="51" y="0"/>
                    <a:pt x="40" y="0"/>
                  </a:cubicBezTo>
                  <a:cubicBezTo>
                    <a:pt x="29" y="0"/>
                    <a:pt x="19" y="4"/>
                    <a:pt x="12" y="12"/>
                  </a:cubicBezTo>
                  <a:cubicBezTo>
                    <a:pt x="4" y="19"/>
                    <a:pt x="0" y="29"/>
                    <a:pt x="0" y="40"/>
                  </a:cubicBezTo>
                  <a:cubicBezTo>
                    <a:pt x="0" y="51"/>
                    <a:pt x="4" y="61"/>
                    <a:pt x="12" y="68"/>
                  </a:cubicBezTo>
                  <a:cubicBezTo>
                    <a:pt x="19" y="76"/>
                    <a:pt x="29" y="80"/>
                    <a:pt x="40" y="80"/>
                  </a:cubicBezTo>
                  <a:cubicBezTo>
                    <a:pt x="51" y="80"/>
                    <a:pt x="61" y="76"/>
                    <a:pt x="6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9" name="Group 86"/>
          <p:cNvGrpSpPr>
            <a:grpSpLocks noChangeAspect="1"/>
          </p:cNvGrpSpPr>
          <p:nvPr/>
        </p:nvGrpSpPr>
        <p:grpSpPr bwMode="auto">
          <a:xfrm>
            <a:off x="2464343" y="2984382"/>
            <a:ext cx="457200" cy="457200"/>
            <a:chOff x="1968" y="1145"/>
            <a:chExt cx="3101" cy="3101"/>
          </a:xfrm>
          <a:solidFill>
            <a:schemeClr val="accent1"/>
          </a:solidFill>
        </p:grpSpPr>
        <p:sp>
          <p:nvSpPr>
            <p:cNvPr id="91" name="Freeform 87"/>
            <p:cNvSpPr>
              <a:spLocks noEditPoints="1"/>
            </p:cNvSpPr>
            <p:nvPr/>
          </p:nvSpPr>
          <p:spPr bwMode="auto">
            <a:xfrm>
              <a:off x="1968" y="1145"/>
              <a:ext cx="2448" cy="1617"/>
            </a:xfrm>
            <a:custGeom>
              <a:avLst/>
              <a:gdLst>
                <a:gd name="T0" fmla="*/ 1133 w 1293"/>
                <a:gd name="T1" fmla="*/ 128 h 854"/>
                <a:gd name="T2" fmla="*/ 953 w 1293"/>
                <a:gd name="T3" fmla="*/ 128 h 854"/>
                <a:gd name="T4" fmla="*/ 953 w 1293"/>
                <a:gd name="T5" fmla="*/ 96 h 854"/>
                <a:gd name="T6" fmla="*/ 857 w 1293"/>
                <a:gd name="T7" fmla="*/ 0 h 854"/>
                <a:gd name="T8" fmla="*/ 761 w 1293"/>
                <a:gd name="T9" fmla="*/ 96 h 854"/>
                <a:gd name="T10" fmla="*/ 761 w 1293"/>
                <a:gd name="T11" fmla="*/ 128 h 854"/>
                <a:gd name="T12" fmla="*/ 492 w 1293"/>
                <a:gd name="T13" fmla="*/ 128 h 854"/>
                <a:gd name="T14" fmla="*/ 492 w 1293"/>
                <a:gd name="T15" fmla="*/ 96 h 854"/>
                <a:gd name="T16" fmla="*/ 396 w 1293"/>
                <a:gd name="T17" fmla="*/ 0 h 854"/>
                <a:gd name="T18" fmla="*/ 300 w 1293"/>
                <a:gd name="T19" fmla="*/ 96 h 854"/>
                <a:gd name="T20" fmla="*/ 300 w 1293"/>
                <a:gd name="T21" fmla="*/ 128 h 854"/>
                <a:gd name="T22" fmla="*/ 160 w 1293"/>
                <a:gd name="T23" fmla="*/ 128 h 854"/>
                <a:gd name="T24" fmla="*/ 0 w 1293"/>
                <a:gd name="T25" fmla="*/ 288 h 854"/>
                <a:gd name="T26" fmla="*/ 0 w 1293"/>
                <a:gd name="T27" fmla="*/ 822 h 854"/>
                <a:gd name="T28" fmla="*/ 32 w 1293"/>
                <a:gd name="T29" fmla="*/ 854 h 854"/>
                <a:gd name="T30" fmla="*/ 64 w 1293"/>
                <a:gd name="T31" fmla="*/ 822 h 854"/>
                <a:gd name="T32" fmla="*/ 64 w 1293"/>
                <a:gd name="T33" fmla="*/ 288 h 854"/>
                <a:gd name="T34" fmla="*/ 160 w 1293"/>
                <a:gd name="T35" fmla="*/ 192 h 854"/>
                <a:gd name="T36" fmla="*/ 427 w 1293"/>
                <a:gd name="T37" fmla="*/ 192 h 854"/>
                <a:gd name="T38" fmla="*/ 396 w 1293"/>
                <a:gd name="T39" fmla="*/ 216 h 854"/>
                <a:gd name="T40" fmla="*/ 364 w 1293"/>
                <a:gd name="T41" fmla="*/ 248 h 854"/>
                <a:gd name="T42" fmla="*/ 396 w 1293"/>
                <a:gd name="T43" fmla="*/ 280 h 854"/>
                <a:gd name="T44" fmla="*/ 491 w 1293"/>
                <a:gd name="T45" fmla="*/ 192 h 854"/>
                <a:gd name="T46" fmla="*/ 888 w 1293"/>
                <a:gd name="T47" fmla="*/ 192 h 854"/>
                <a:gd name="T48" fmla="*/ 857 w 1293"/>
                <a:gd name="T49" fmla="*/ 216 h 854"/>
                <a:gd name="T50" fmla="*/ 825 w 1293"/>
                <a:gd name="T51" fmla="*/ 248 h 854"/>
                <a:gd name="T52" fmla="*/ 857 w 1293"/>
                <a:gd name="T53" fmla="*/ 280 h 854"/>
                <a:gd name="T54" fmla="*/ 952 w 1293"/>
                <a:gd name="T55" fmla="*/ 192 h 854"/>
                <a:gd name="T56" fmla="*/ 1133 w 1293"/>
                <a:gd name="T57" fmla="*/ 192 h 854"/>
                <a:gd name="T58" fmla="*/ 1229 w 1293"/>
                <a:gd name="T59" fmla="*/ 288 h 854"/>
                <a:gd name="T60" fmla="*/ 1229 w 1293"/>
                <a:gd name="T61" fmla="*/ 361 h 854"/>
                <a:gd name="T62" fmla="*/ 1261 w 1293"/>
                <a:gd name="T63" fmla="*/ 393 h 854"/>
                <a:gd name="T64" fmla="*/ 1293 w 1293"/>
                <a:gd name="T65" fmla="*/ 361 h 854"/>
                <a:gd name="T66" fmla="*/ 1293 w 1293"/>
                <a:gd name="T67" fmla="*/ 288 h 854"/>
                <a:gd name="T68" fmla="*/ 1133 w 1293"/>
                <a:gd name="T69" fmla="*/ 128 h 854"/>
                <a:gd name="T70" fmla="*/ 428 w 1293"/>
                <a:gd name="T71" fmla="*/ 128 h 854"/>
                <a:gd name="T72" fmla="*/ 364 w 1293"/>
                <a:gd name="T73" fmla="*/ 128 h 854"/>
                <a:gd name="T74" fmla="*/ 364 w 1293"/>
                <a:gd name="T75" fmla="*/ 96 h 854"/>
                <a:gd name="T76" fmla="*/ 396 w 1293"/>
                <a:gd name="T77" fmla="*/ 64 h 854"/>
                <a:gd name="T78" fmla="*/ 428 w 1293"/>
                <a:gd name="T79" fmla="*/ 96 h 854"/>
                <a:gd name="T80" fmla="*/ 428 w 1293"/>
                <a:gd name="T81" fmla="*/ 128 h 854"/>
                <a:gd name="T82" fmla="*/ 889 w 1293"/>
                <a:gd name="T83" fmla="*/ 128 h 854"/>
                <a:gd name="T84" fmla="*/ 825 w 1293"/>
                <a:gd name="T85" fmla="*/ 128 h 854"/>
                <a:gd name="T86" fmla="*/ 825 w 1293"/>
                <a:gd name="T87" fmla="*/ 96 h 854"/>
                <a:gd name="T88" fmla="*/ 857 w 1293"/>
                <a:gd name="T89" fmla="*/ 64 h 854"/>
                <a:gd name="T90" fmla="*/ 889 w 1293"/>
                <a:gd name="T91" fmla="*/ 96 h 854"/>
                <a:gd name="T92" fmla="*/ 889 w 1293"/>
                <a:gd name="T93" fmla="*/ 128 h 854"/>
                <a:gd name="T94" fmla="*/ 889 w 1293"/>
                <a:gd name="T95" fmla="*/ 128 h 854"/>
                <a:gd name="T96" fmla="*/ 889 w 1293"/>
                <a:gd name="T97" fmla="*/ 12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3" h="854">
                  <a:moveTo>
                    <a:pt x="1133" y="128"/>
                  </a:moveTo>
                  <a:cubicBezTo>
                    <a:pt x="953" y="128"/>
                    <a:pt x="953" y="128"/>
                    <a:pt x="953" y="128"/>
                  </a:cubicBezTo>
                  <a:cubicBezTo>
                    <a:pt x="953" y="96"/>
                    <a:pt x="953" y="96"/>
                    <a:pt x="953" y="96"/>
                  </a:cubicBezTo>
                  <a:cubicBezTo>
                    <a:pt x="953" y="43"/>
                    <a:pt x="909" y="0"/>
                    <a:pt x="857" y="0"/>
                  </a:cubicBezTo>
                  <a:cubicBezTo>
                    <a:pt x="804" y="0"/>
                    <a:pt x="761" y="43"/>
                    <a:pt x="761" y="96"/>
                  </a:cubicBezTo>
                  <a:cubicBezTo>
                    <a:pt x="761" y="128"/>
                    <a:pt x="761" y="128"/>
                    <a:pt x="761" y="128"/>
                  </a:cubicBezTo>
                  <a:cubicBezTo>
                    <a:pt x="492" y="128"/>
                    <a:pt x="492" y="128"/>
                    <a:pt x="492" y="128"/>
                  </a:cubicBezTo>
                  <a:cubicBezTo>
                    <a:pt x="492" y="96"/>
                    <a:pt x="492" y="96"/>
                    <a:pt x="492" y="96"/>
                  </a:cubicBezTo>
                  <a:cubicBezTo>
                    <a:pt x="492" y="43"/>
                    <a:pt x="449" y="0"/>
                    <a:pt x="396" y="0"/>
                  </a:cubicBezTo>
                  <a:cubicBezTo>
                    <a:pt x="343" y="0"/>
                    <a:pt x="300" y="43"/>
                    <a:pt x="300" y="96"/>
                  </a:cubicBezTo>
                  <a:cubicBezTo>
                    <a:pt x="300" y="128"/>
                    <a:pt x="300" y="128"/>
                    <a:pt x="300" y="128"/>
                  </a:cubicBezTo>
                  <a:cubicBezTo>
                    <a:pt x="160" y="128"/>
                    <a:pt x="160" y="128"/>
                    <a:pt x="160" y="128"/>
                  </a:cubicBezTo>
                  <a:cubicBezTo>
                    <a:pt x="72" y="128"/>
                    <a:pt x="0" y="200"/>
                    <a:pt x="0" y="288"/>
                  </a:cubicBezTo>
                  <a:cubicBezTo>
                    <a:pt x="0" y="822"/>
                    <a:pt x="0" y="822"/>
                    <a:pt x="0" y="822"/>
                  </a:cubicBezTo>
                  <a:cubicBezTo>
                    <a:pt x="0" y="840"/>
                    <a:pt x="14" y="854"/>
                    <a:pt x="32" y="854"/>
                  </a:cubicBezTo>
                  <a:cubicBezTo>
                    <a:pt x="50" y="854"/>
                    <a:pt x="64" y="840"/>
                    <a:pt x="64" y="822"/>
                  </a:cubicBezTo>
                  <a:cubicBezTo>
                    <a:pt x="64" y="288"/>
                    <a:pt x="64" y="288"/>
                    <a:pt x="64" y="288"/>
                  </a:cubicBezTo>
                  <a:cubicBezTo>
                    <a:pt x="64" y="235"/>
                    <a:pt x="107" y="192"/>
                    <a:pt x="160" y="192"/>
                  </a:cubicBezTo>
                  <a:cubicBezTo>
                    <a:pt x="427" y="192"/>
                    <a:pt x="427" y="192"/>
                    <a:pt x="427" y="192"/>
                  </a:cubicBezTo>
                  <a:cubicBezTo>
                    <a:pt x="423" y="206"/>
                    <a:pt x="411" y="216"/>
                    <a:pt x="396" y="216"/>
                  </a:cubicBezTo>
                  <a:cubicBezTo>
                    <a:pt x="378" y="216"/>
                    <a:pt x="364" y="231"/>
                    <a:pt x="364" y="248"/>
                  </a:cubicBezTo>
                  <a:cubicBezTo>
                    <a:pt x="364" y="266"/>
                    <a:pt x="378" y="280"/>
                    <a:pt x="396" y="280"/>
                  </a:cubicBezTo>
                  <a:cubicBezTo>
                    <a:pt x="446" y="280"/>
                    <a:pt x="488" y="241"/>
                    <a:pt x="491" y="192"/>
                  </a:cubicBezTo>
                  <a:cubicBezTo>
                    <a:pt x="888" y="192"/>
                    <a:pt x="888" y="192"/>
                    <a:pt x="888" y="192"/>
                  </a:cubicBezTo>
                  <a:cubicBezTo>
                    <a:pt x="884" y="206"/>
                    <a:pt x="872" y="216"/>
                    <a:pt x="857" y="216"/>
                  </a:cubicBezTo>
                  <a:cubicBezTo>
                    <a:pt x="839" y="216"/>
                    <a:pt x="825" y="231"/>
                    <a:pt x="825" y="248"/>
                  </a:cubicBezTo>
                  <a:cubicBezTo>
                    <a:pt x="825" y="266"/>
                    <a:pt x="839" y="280"/>
                    <a:pt x="857" y="280"/>
                  </a:cubicBezTo>
                  <a:cubicBezTo>
                    <a:pt x="907" y="280"/>
                    <a:pt x="948" y="241"/>
                    <a:pt x="952" y="192"/>
                  </a:cubicBezTo>
                  <a:cubicBezTo>
                    <a:pt x="1133" y="192"/>
                    <a:pt x="1133" y="192"/>
                    <a:pt x="1133" y="192"/>
                  </a:cubicBezTo>
                  <a:cubicBezTo>
                    <a:pt x="1186" y="192"/>
                    <a:pt x="1229" y="235"/>
                    <a:pt x="1229" y="288"/>
                  </a:cubicBezTo>
                  <a:cubicBezTo>
                    <a:pt x="1229" y="361"/>
                    <a:pt x="1229" y="361"/>
                    <a:pt x="1229" y="361"/>
                  </a:cubicBezTo>
                  <a:cubicBezTo>
                    <a:pt x="1229" y="379"/>
                    <a:pt x="1243" y="393"/>
                    <a:pt x="1261" y="393"/>
                  </a:cubicBezTo>
                  <a:cubicBezTo>
                    <a:pt x="1278" y="393"/>
                    <a:pt x="1293" y="379"/>
                    <a:pt x="1293" y="361"/>
                  </a:cubicBezTo>
                  <a:cubicBezTo>
                    <a:pt x="1293" y="288"/>
                    <a:pt x="1293" y="288"/>
                    <a:pt x="1293" y="288"/>
                  </a:cubicBezTo>
                  <a:cubicBezTo>
                    <a:pt x="1293" y="200"/>
                    <a:pt x="1221" y="128"/>
                    <a:pt x="1133" y="128"/>
                  </a:cubicBezTo>
                  <a:close/>
                  <a:moveTo>
                    <a:pt x="428" y="128"/>
                  </a:moveTo>
                  <a:cubicBezTo>
                    <a:pt x="364" y="128"/>
                    <a:pt x="364" y="128"/>
                    <a:pt x="364" y="128"/>
                  </a:cubicBezTo>
                  <a:cubicBezTo>
                    <a:pt x="364" y="96"/>
                    <a:pt x="364" y="96"/>
                    <a:pt x="364" y="96"/>
                  </a:cubicBezTo>
                  <a:cubicBezTo>
                    <a:pt x="364" y="78"/>
                    <a:pt x="378" y="64"/>
                    <a:pt x="396" y="64"/>
                  </a:cubicBezTo>
                  <a:cubicBezTo>
                    <a:pt x="413" y="64"/>
                    <a:pt x="428" y="78"/>
                    <a:pt x="428" y="96"/>
                  </a:cubicBezTo>
                  <a:lnTo>
                    <a:pt x="428" y="128"/>
                  </a:lnTo>
                  <a:close/>
                  <a:moveTo>
                    <a:pt x="889" y="128"/>
                  </a:moveTo>
                  <a:cubicBezTo>
                    <a:pt x="825" y="128"/>
                    <a:pt x="825" y="128"/>
                    <a:pt x="825" y="128"/>
                  </a:cubicBezTo>
                  <a:cubicBezTo>
                    <a:pt x="825" y="96"/>
                    <a:pt x="825" y="96"/>
                    <a:pt x="825" y="96"/>
                  </a:cubicBezTo>
                  <a:cubicBezTo>
                    <a:pt x="825" y="78"/>
                    <a:pt x="839" y="64"/>
                    <a:pt x="857" y="64"/>
                  </a:cubicBezTo>
                  <a:cubicBezTo>
                    <a:pt x="874" y="64"/>
                    <a:pt x="889" y="78"/>
                    <a:pt x="889" y="96"/>
                  </a:cubicBezTo>
                  <a:lnTo>
                    <a:pt x="889" y="128"/>
                  </a:lnTo>
                  <a:close/>
                  <a:moveTo>
                    <a:pt x="889" y="128"/>
                  </a:moveTo>
                  <a:cubicBezTo>
                    <a:pt x="889" y="128"/>
                    <a:pt x="889" y="128"/>
                    <a:pt x="889"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8"/>
            <p:cNvSpPr>
              <a:spLocks noEditPoints="1"/>
            </p:cNvSpPr>
            <p:nvPr/>
          </p:nvSpPr>
          <p:spPr bwMode="auto">
            <a:xfrm>
              <a:off x="1968" y="2879"/>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9"/>
            <p:cNvSpPr>
              <a:spLocks noEditPoints="1"/>
            </p:cNvSpPr>
            <p:nvPr/>
          </p:nvSpPr>
          <p:spPr bwMode="auto">
            <a:xfrm>
              <a:off x="1968" y="3112"/>
              <a:ext cx="2065" cy="1134"/>
            </a:xfrm>
            <a:custGeom>
              <a:avLst/>
              <a:gdLst>
                <a:gd name="T0" fmla="*/ 1059 w 1091"/>
                <a:gd name="T1" fmla="*/ 535 h 599"/>
                <a:gd name="T2" fmla="*/ 160 w 1091"/>
                <a:gd name="T3" fmla="*/ 535 h 599"/>
                <a:gd name="T4" fmla="*/ 64 w 1091"/>
                <a:gd name="T5" fmla="*/ 439 h 599"/>
                <a:gd name="T6" fmla="*/ 64 w 1091"/>
                <a:gd name="T7" fmla="*/ 32 h 599"/>
                <a:gd name="T8" fmla="*/ 32 w 1091"/>
                <a:gd name="T9" fmla="*/ 0 h 599"/>
                <a:gd name="T10" fmla="*/ 0 w 1091"/>
                <a:gd name="T11" fmla="*/ 32 h 599"/>
                <a:gd name="T12" fmla="*/ 0 w 1091"/>
                <a:gd name="T13" fmla="*/ 439 h 599"/>
                <a:gd name="T14" fmla="*/ 160 w 1091"/>
                <a:gd name="T15" fmla="*/ 599 h 599"/>
                <a:gd name="T16" fmla="*/ 1059 w 1091"/>
                <a:gd name="T17" fmla="*/ 599 h 599"/>
                <a:gd name="T18" fmla="*/ 1091 w 1091"/>
                <a:gd name="T19" fmla="*/ 567 h 599"/>
                <a:gd name="T20" fmla="*/ 1059 w 1091"/>
                <a:gd name="T21" fmla="*/ 535 h 599"/>
                <a:gd name="T22" fmla="*/ 1059 w 1091"/>
                <a:gd name="T23" fmla="*/ 535 h 599"/>
                <a:gd name="T24" fmla="*/ 1059 w 1091"/>
                <a:gd name="T25" fmla="*/ 53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1" h="599">
                  <a:moveTo>
                    <a:pt x="1059" y="535"/>
                  </a:moveTo>
                  <a:cubicBezTo>
                    <a:pt x="160" y="535"/>
                    <a:pt x="160" y="535"/>
                    <a:pt x="160" y="535"/>
                  </a:cubicBezTo>
                  <a:cubicBezTo>
                    <a:pt x="107" y="535"/>
                    <a:pt x="64" y="492"/>
                    <a:pt x="64" y="439"/>
                  </a:cubicBezTo>
                  <a:cubicBezTo>
                    <a:pt x="64" y="32"/>
                    <a:pt x="64" y="32"/>
                    <a:pt x="64" y="32"/>
                  </a:cubicBezTo>
                  <a:cubicBezTo>
                    <a:pt x="64" y="14"/>
                    <a:pt x="50" y="0"/>
                    <a:pt x="32" y="0"/>
                  </a:cubicBezTo>
                  <a:cubicBezTo>
                    <a:pt x="14" y="0"/>
                    <a:pt x="0" y="14"/>
                    <a:pt x="0" y="32"/>
                  </a:cubicBezTo>
                  <a:cubicBezTo>
                    <a:pt x="0" y="439"/>
                    <a:pt x="0" y="439"/>
                    <a:pt x="0" y="439"/>
                  </a:cubicBezTo>
                  <a:cubicBezTo>
                    <a:pt x="0" y="528"/>
                    <a:pt x="72" y="599"/>
                    <a:pt x="160" y="599"/>
                  </a:cubicBezTo>
                  <a:cubicBezTo>
                    <a:pt x="1059" y="599"/>
                    <a:pt x="1059" y="599"/>
                    <a:pt x="1059" y="599"/>
                  </a:cubicBezTo>
                  <a:cubicBezTo>
                    <a:pt x="1077" y="599"/>
                    <a:pt x="1091" y="585"/>
                    <a:pt x="1091" y="567"/>
                  </a:cubicBezTo>
                  <a:cubicBezTo>
                    <a:pt x="1091" y="550"/>
                    <a:pt x="1077" y="535"/>
                    <a:pt x="1059" y="535"/>
                  </a:cubicBezTo>
                  <a:close/>
                  <a:moveTo>
                    <a:pt x="1059" y="535"/>
                  </a:moveTo>
                  <a:cubicBezTo>
                    <a:pt x="1059" y="535"/>
                    <a:pt x="1059" y="535"/>
                    <a:pt x="1059" y="5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90"/>
            <p:cNvSpPr>
              <a:spLocks noEditPoints="1"/>
            </p:cNvSpPr>
            <p:nvPr/>
          </p:nvSpPr>
          <p:spPr bwMode="auto">
            <a:xfrm>
              <a:off x="2235" y="1811"/>
              <a:ext cx="901" cy="945"/>
            </a:xfrm>
            <a:custGeom>
              <a:avLst/>
              <a:gdLst>
                <a:gd name="T0" fmla="*/ 346 w 476"/>
                <a:gd name="T1" fmla="*/ 207 h 499"/>
                <a:gd name="T2" fmla="*/ 362 w 476"/>
                <a:gd name="T3" fmla="*/ 147 h 499"/>
                <a:gd name="T4" fmla="*/ 362 w 476"/>
                <a:gd name="T5" fmla="*/ 124 h 499"/>
                <a:gd name="T6" fmla="*/ 238 w 476"/>
                <a:gd name="T7" fmla="*/ 0 h 499"/>
                <a:gd name="T8" fmla="*/ 114 w 476"/>
                <a:gd name="T9" fmla="*/ 124 h 499"/>
                <a:gd name="T10" fmla="*/ 114 w 476"/>
                <a:gd name="T11" fmla="*/ 147 h 499"/>
                <a:gd name="T12" fmla="*/ 130 w 476"/>
                <a:gd name="T13" fmla="*/ 207 h 499"/>
                <a:gd name="T14" fmla="*/ 0 w 476"/>
                <a:gd name="T15" fmla="*/ 353 h 499"/>
                <a:gd name="T16" fmla="*/ 0 w 476"/>
                <a:gd name="T17" fmla="*/ 467 h 499"/>
                <a:gd name="T18" fmla="*/ 32 w 476"/>
                <a:gd name="T19" fmla="*/ 499 h 499"/>
                <a:gd name="T20" fmla="*/ 444 w 476"/>
                <a:gd name="T21" fmla="*/ 499 h 499"/>
                <a:gd name="T22" fmla="*/ 476 w 476"/>
                <a:gd name="T23" fmla="*/ 467 h 499"/>
                <a:gd name="T24" fmla="*/ 476 w 476"/>
                <a:gd name="T25" fmla="*/ 353 h 499"/>
                <a:gd name="T26" fmla="*/ 346 w 476"/>
                <a:gd name="T27" fmla="*/ 207 h 499"/>
                <a:gd name="T28" fmla="*/ 238 w 476"/>
                <a:gd name="T29" fmla="*/ 64 h 499"/>
                <a:gd name="T30" fmla="*/ 298 w 476"/>
                <a:gd name="T31" fmla="*/ 124 h 499"/>
                <a:gd name="T32" fmla="*/ 298 w 476"/>
                <a:gd name="T33" fmla="*/ 147 h 499"/>
                <a:gd name="T34" fmla="*/ 238 w 476"/>
                <a:gd name="T35" fmla="*/ 206 h 499"/>
                <a:gd name="T36" fmla="*/ 178 w 476"/>
                <a:gd name="T37" fmla="*/ 147 h 499"/>
                <a:gd name="T38" fmla="*/ 178 w 476"/>
                <a:gd name="T39" fmla="*/ 124 h 499"/>
                <a:gd name="T40" fmla="*/ 238 w 476"/>
                <a:gd name="T41" fmla="*/ 64 h 499"/>
                <a:gd name="T42" fmla="*/ 412 w 476"/>
                <a:gd name="T43" fmla="*/ 435 h 499"/>
                <a:gd name="T44" fmla="*/ 64 w 476"/>
                <a:gd name="T45" fmla="*/ 435 h 499"/>
                <a:gd name="T46" fmla="*/ 64 w 476"/>
                <a:gd name="T47" fmla="*/ 353 h 499"/>
                <a:gd name="T48" fmla="*/ 146 w 476"/>
                <a:gd name="T49" fmla="*/ 270 h 499"/>
                <a:gd name="T50" fmla="*/ 330 w 476"/>
                <a:gd name="T51" fmla="*/ 270 h 499"/>
                <a:gd name="T52" fmla="*/ 412 w 476"/>
                <a:gd name="T53" fmla="*/ 353 h 499"/>
                <a:gd name="T54" fmla="*/ 412 w 476"/>
                <a:gd name="T55" fmla="*/ 435 h 499"/>
                <a:gd name="T56" fmla="*/ 412 w 476"/>
                <a:gd name="T57" fmla="*/ 435 h 499"/>
                <a:gd name="T58" fmla="*/ 412 w 476"/>
                <a:gd name="T59" fmla="*/ 43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499">
                  <a:moveTo>
                    <a:pt x="346" y="207"/>
                  </a:moveTo>
                  <a:cubicBezTo>
                    <a:pt x="356" y="189"/>
                    <a:pt x="362" y="168"/>
                    <a:pt x="362" y="147"/>
                  </a:cubicBezTo>
                  <a:cubicBezTo>
                    <a:pt x="362" y="124"/>
                    <a:pt x="362" y="124"/>
                    <a:pt x="362" y="124"/>
                  </a:cubicBezTo>
                  <a:cubicBezTo>
                    <a:pt x="362" y="55"/>
                    <a:pt x="306" y="0"/>
                    <a:pt x="238" y="0"/>
                  </a:cubicBezTo>
                  <a:cubicBezTo>
                    <a:pt x="170" y="0"/>
                    <a:pt x="114" y="55"/>
                    <a:pt x="114" y="124"/>
                  </a:cubicBezTo>
                  <a:cubicBezTo>
                    <a:pt x="114" y="147"/>
                    <a:pt x="114" y="147"/>
                    <a:pt x="114" y="147"/>
                  </a:cubicBezTo>
                  <a:cubicBezTo>
                    <a:pt x="114" y="168"/>
                    <a:pt x="120" y="189"/>
                    <a:pt x="130" y="207"/>
                  </a:cubicBezTo>
                  <a:cubicBezTo>
                    <a:pt x="57" y="215"/>
                    <a:pt x="0" y="277"/>
                    <a:pt x="0" y="353"/>
                  </a:cubicBezTo>
                  <a:cubicBezTo>
                    <a:pt x="0" y="467"/>
                    <a:pt x="0" y="467"/>
                    <a:pt x="0" y="467"/>
                  </a:cubicBezTo>
                  <a:cubicBezTo>
                    <a:pt x="0" y="485"/>
                    <a:pt x="14" y="499"/>
                    <a:pt x="32" y="499"/>
                  </a:cubicBezTo>
                  <a:cubicBezTo>
                    <a:pt x="444" y="499"/>
                    <a:pt x="444" y="499"/>
                    <a:pt x="444" y="499"/>
                  </a:cubicBezTo>
                  <a:cubicBezTo>
                    <a:pt x="462" y="499"/>
                    <a:pt x="476" y="485"/>
                    <a:pt x="476" y="467"/>
                  </a:cubicBezTo>
                  <a:cubicBezTo>
                    <a:pt x="476" y="353"/>
                    <a:pt x="476" y="353"/>
                    <a:pt x="476" y="353"/>
                  </a:cubicBezTo>
                  <a:cubicBezTo>
                    <a:pt x="476" y="277"/>
                    <a:pt x="419" y="215"/>
                    <a:pt x="346" y="207"/>
                  </a:cubicBezTo>
                  <a:close/>
                  <a:moveTo>
                    <a:pt x="238" y="64"/>
                  </a:moveTo>
                  <a:cubicBezTo>
                    <a:pt x="271" y="64"/>
                    <a:pt x="298" y="91"/>
                    <a:pt x="298" y="124"/>
                  </a:cubicBezTo>
                  <a:cubicBezTo>
                    <a:pt x="298" y="147"/>
                    <a:pt x="298" y="147"/>
                    <a:pt x="298" y="147"/>
                  </a:cubicBezTo>
                  <a:cubicBezTo>
                    <a:pt x="298" y="179"/>
                    <a:pt x="271" y="206"/>
                    <a:pt x="238" y="206"/>
                  </a:cubicBezTo>
                  <a:cubicBezTo>
                    <a:pt x="205" y="206"/>
                    <a:pt x="178" y="179"/>
                    <a:pt x="178" y="147"/>
                  </a:cubicBezTo>
                  <a:cubicBezTo>
                    <a:pt x="178" y="124"/>
                    <a:pt x="178" y="124"/>
                    <a:pt x="178" y="124"/>
                  </a:cubicBezTo>
                  <a:cubicBezTo>
                    <a:pt x="178" y="91"/>
                    <a:pt x="205" y="64"/>
                    <a:pt x="238" y="64"/>
                  </a:cubicBezTo>
                  <a:close/>
                  <a:moveTo>
                    <a:pt x="412" y="435"/>
                  </a:moveTo>
                  <a:cubicBezTo>
                    <a:pt x="64" y="435"/>
                    <a:pt x="64" y="435"/>
                    <a:pt x="64" y="435"/>
                  </a:cubicBezTo>
                  <a:cubicBezTo>
                    <a:pt x="64" y="353"/>
                    <a:pt x="64" y="353"/>
                    <a:pt x="64" y="353"/>
                  </a:cubicBezTo>
                  <a:cubicBezTo>
                    <a:pt x="64" y="307"/>
                    <a:pt x="101" y="270"/>
                    <a:pt x="146" y="270"/>
                  </a:cubicBezTo>
                  <a:cubicBezTo>
                    <a:pt x="330" y="270"/>
                    <a:pt x="330" y="270"/>
                    <a:pt x="330" y="270"/>
                  </a:cubicBezTo>
                  <a:cubicBezTo>
                    <a:pt x="375" y="270"/>
                    <a:pt x="412" y="307"/>
                    <a:pt x="412" y="353"/>
                  </a:cubicBezTo>
                  <a:lnTo>
                    <a:pt x="412" y="435"/>
                  </a:lnTo>
                  <a:close/>
                  <a:moveTo>
                    <a:pt x="412" y="435"/>
                  </a:moveTo>
                  <a:cubicBezTo>
                    <a:pt x="412" y="435"/>
                    <a:pt x="412" y="435"/>
                    <a:pt x="412" y="4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1"/>
            <p:cNvSpPr>
              <a:spLocks noEditPoints="1"/>
            </p:cNvSpPr>
            <p:nvPr/>
          </p:nvSpPr>
          <p:spPr bwMode="auto">
            <a:xfrm>
              <a:off x="2235" y="2974"/>
              <a:ext cx="901" cy="946"/>
            </a:xfrm>
            <a:custGeom>
              <a:avLst/>
              <a:gdLst>
                <a:gd name="T0" fmla="*/ 346 w 476"/>
                <a:gd name="T1" fmla="*/ 207 h 500"/>
                <a:gd name="T2" fmla="*/ 362 w 476"/>
                <a:gd name="T3" fmla="*/ 147 h 500"/>
                <a:gd name="T4" fmla="*/ 362 w 476"/>
                <a:gd name="T5" fmla="*/ 124 h 500"/>
                <a:gd name="T6" fmla="*/ 238 w 476"/>
                <a:gd name="T7" fmla="*/ 0 h 500"/>
                <a:gd name="T8" fmla="*/ 114 w 476"/>
                <a:gd name="T9" fmla="*/ 124 h 500"/>
                <a:gd name="T10" fmla="*/ 114 w 476"/>
                <a:gd name="T11" fmla="*/ 147 h 500"/>
                <a:gd name="T12" fmla="*/ 130 w 476"/>
                <a:gd name="T13" fmla="*/ 207 h 500"/>
                <a:gd name="T14" fmla="*/ 0 w 476"/>
                <a:gd name="T15" fmla="*/ 353 h 500"/>
                <a:gd name="T16" fmla="*/ 0 w 476"/>
                <a:gd name="T17" fmla="*/ 468 h 500"/>
                <a:gd name="T18" fmla="*/ 32 w 476"/>
                <a:gd name="T19" fmla="*/ 500 h 500"/>
                <a:gd name="T20" fmla="*/ 444 w 476"/>
                <a:gd name="T21" fmla="*/ 500 h 500"/>
                <a:gd name="T22" fmla="*/ 476 w 476"/>
                <a:gd name="T23" fmla="*/ 468 h 500"/>
                <a:gd name="T24" fmla="*/ 476 w 476"/>
                <a:gd name="T25" fmla="*/ 353 h 500"/>
                <a:gd name="T26" fmla="*/ 346 w 476"/>
                <a:gd name="T27" fmla="*/ 207 h 500"/>
                <a:gd name="T28" fmla="*/ 238 w 476"/>
                <a:gd name="T29" fmla="*/ 64 h 500"/>
                <a:gd name="T30" fmla="*/ 298 w 476"/>
                <a:gd name="T31" fmla="*/ 124 h 500"/>
                <a:gd name="T32" fmla="*/ 298 w 476"/>
                <a:gd name="T33" fmla="*/ 147 h 500"/>
                <a:gd name="T34" fmla="*/ 238 w 476"/>
                <a:gd name="T35" fmla="*/ 207 h 500"/>
                <a:gd name="T36" fmla="*/ 178 w 476"/>
                <a:gd name="T37" fmla="*/ 147 h 500"/>
                <a:gd name="T38" fmla="*/ 178 w 476"/>
                <a:gd name="T39" fmla="*/ 124 h 500"/>
                <a:gd name="T40" fmla="*/ 238 w 476"/>
                <a:gd name="T41" fmla="*/ 64 h 500"/>
                <a:gd name="T42" fmla="*/ 412 w 476"/>
                <a:gd name="T43" fmla="*/ 436 h 500"/>
                <a:gd name="T44" fmla="*/ 64 w 476"/>
                <a:gd name="T45" fmla="*/ 436 h 500"/>
                <a:gd name="T46" fmla="*/ 64 w 476"/>
                <a:gd name="T47" fmla="*/ 353 h 500"/>
                <a:gd name="T48" fmla="*/ 146 w 476"/>
                <a:gd name="T49" fmla="*/ 271 h 500"/>
                <a:gd name="T50" fmla="*/ 330 w 476"/>
                <a:gd name="T51" fmla="*/ 271 h 500"/>
                <a:gd name="T52" fmla="*/ 412 w 476"/>
                <a:gd name="T53" fmla="*/ 353 h 500"/>
                <a:gd name="T54" fmla="*/ 412 w 476"/>
                <a:gd name="T55" fmla="*/ 436 h 500"/>
                <a:gd name="T56" fmla="*/ 412 w 476"/>
                <a:gd name="T57" fmla="*/ 436 h 500"/>
                <a:gd name="T58" fmla="*/ 412 w 476"/>
                <a:gd name="T59" fmla="*/ 43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500">
                  <a:moveTo>
                    <a:pt x="346" y="207"/>
                  </a:moveTo>
                  <a:cubicBezTo>
                    <a:pt x="356" y="190"/>
                    <a:pt x="362" y="169"/>
                    <a:pt x="362" y="147"/>
                  </a:cubicBezTo>
                  <a:cubicBezTo>
                    <a:pt x="362" y="124"/>
                    <a:pt x="362" y="124"/>
                    <a:pt x="362" y="124"/>
                  </a:cubicBezTo>
                  <a:cubicBezTo>
                    <a:pt x="362" y="56"/>
                    <a:pt x="306" y="0"/>
                    <a:pt x="238" y="0"/>
                  </a:cubicBezTo>
                  <a:cubicBezTo>
                    <a:pt x="170" y="0"/>
                    <a:pt x="114" y="56"/>
                    <a:pt x="114" y="124"/>
                  </a:cubicBezTo>
                  <a:cubicBezTo>
                    <a:pt x="114" y="147"/>
                    <a:pt x="114" y="147"/>
                    <a:pt x="114" y="147"/>
                  </a:cubicBezTo>
                  <a:cubicBezTo>
                    <a:pt x="114" y="169"/>
                    <a:pt x="120" y="190"/>
                    <a:pt x="130" y="207"/>
                  </a:cubicBezTo>
                  <a:cubicBezTo>
                    <a:pt x="57" y="216"/>
                    <a:pt x="0" y="278"/>
                    <a:pt x="0" y="353"/>
                  </a:cubicBezTo>
                  <a:cubicBezTo>
                    <a:pt x="0" y="468"/>
                    <a:pt x="0" y="468"/>
                    <a:pt x="0" y="468"/>
                  </a:cubicBezTo>
                  <a:cubicBezTo>
                    <a:pt x="0" y="485"/>
                    <a:pt x="14" y="500"/>
                    <a:pt x="32" y="500"/>
                  </a:cubicBezTo>
                  <a:cubicBezTo>
                    <a:pt x="444" y="500"/>
                    <a:pt x="444" y="500"/>
                    <a:pt x="444" y="500"/>
                  </a:cubicBezTo>
                  <a:cubicBezTo>
                    <a:pt x="462" y="500"/>
                    <a:pt x="476" y="485"/>
                    <a:pt x="476" y="468"/>
                  </a:cubicBezTo>
                  <a:cubicBezTo>
                    <a:pt x="476" y="353"/>
                    <a:pt x="476" y="353"/>
                    <a:pt x="476" y="353"/>
                  </a:cubicBezTo>
                  <a:cubicBezTo>
                    <a:pt x="476" y="278"/>
                    <a:pt x="419" y="216"/>
                    <a:pt x="346" y="207"/>
                  </a:cubicBezTo>
                  <a:close/>
                  <a:moveTo>
                    <a:pt x="238" y="64"/>
                  </a:moveTo>
                  <a:cubicBezTo>
                    <a:pt x="271" y="64"/>
                    <a:pt x="298" y="91"/>
                    <a:pt x="298" y="124"/>
                  </a:cubicBezTo>
                  <a:cubicBezTo>
                    <a:pt x="298" y="147"/>
                    <a:pt x="298" y="147"/>
                    <a:pt x="298" y="147"/>
                  </a:cubicBezTo>
                  <a:cubicBezTo>
                    <a:pt x="298" y="180"/>
                    <a:pt x="271" y="207"/>
                    <a:pt x="238" y="207"/>
                  </a:cubicBezTo>
                  <a:cubicBezTo>
                    <a:pt x="205" y="207"/>
                    <a:pt x="178" y="180"/>
                    <a:pt x="178" y="147"/>
                  </a:cubicBezTo>
                  <a:cubicBezTo>
                    <a:pt x="178" y="124"/>
                    <a:pt x="178" y="124"/>
                    <a:pt x="178" y="124"/>
                  </a:cubicBezTo>
                  <a:cubicBezTo>
                    <a:pt x="178" y="91"/>
                    <a:pt x="205" y="64"/>
                    <a:pt x="238" y="64"/>
                  </a:cubicBezTo>
                  <a:close/>
                  <a:moveTo>
                    <a:pt x="412" y="436"/>
                  </a:moveTo>
                  <a:cubicBezTo>
                    <a:pt x="64" y="436"/>
                    <a:pt x="64" y="436"/>
                    <a:pt x="64" y="436"/>
                  </a:cubicBezTo>
                  <a:cubicBezTo>
                    <a:pt x="64" y="353"/>
                    <a:pt x="64" y="353"/>
                    <a:pt x="64" y="353"/>
                  </a:cubicBezTo>
                  <a:cubicBezTo>
                    <a:pt x="64" y="308"/>
                    <a:pt x="101" y="271"/>
                    <a:pt x="146" y="271"/>
                  </a:cubicBezTo>
                  <a:cubicBezTo>
                    <a:pt x="330" y="271"/>
                    <a:pt x="330" y="271"/>
                    <a:pt x="330" y="271"/>
                  </a:cubicBezTo>
                  <a:cubicBezTo>
                    <a:pt x="375" y="271"/>
                    <a:pt x="412" y="308"/>
                    <a:pt x="412" y="353"/>
                  </a:cubicBezTo>
                  <a:lnTo>
                    <a:pt x="412" y="436"/>
                  </a:lnTo>
                  <a:close/>
                  <a:moveTo>
                    <a:pt x="412" y="436"/>
                  </a:moveTo>
                  <a:cubicBezTo>
                    <a:pt x="412" y="436"/>
                    <a:pt x="412" y="436"/>
                    <a:pt x="412" y="4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2"/>
            <p:cNvSpPr>
              <a:spLocks noEditPoints="1"/>
            </p:cNvSpPr>
            <p:nvPr/>
          </p:nvSpPr>
          <p:spPr bwMode="auto">
            <a:xfrm>
              <a:off x="3314" y="2345"/>
              <a:ext cx="399" cy="121"/>
            </a:xfrm>
            <a:custGeom>
              <a:avLst/>
              <a:gdLst>
                <a:gd name="T0" fmla="*/ 179 w 211"/>
                <a:gd name="T1" fmla="*/ 0 h 64"/>
                <a:gd name="T2" fmla="*/ 32 w 211"/>
                <a:gd name="T3" fmla="*/ 0 h 64"/>
                <a:gd name="T4" fmla="*/ 0 w 211"/>
                <a:gd name="T5" fmla="*/ 32 h 64"/>
                <a:gd name="T6" fmla="*/ 32 w 211"/>
                <a:gd name="T7" fmla="*/ 64 h 64"/>
                <a:gd name="T8" fmla="*/ 179 w 211"/>
                <a:gd name="T9" fmla="*/ 64 h 64"/>
                <a:gd name="T10" fmla="*/ 211 w 211"/>
                <a:gd name="T11" fmla="*/ 32 h 64"/>
                <a:gd name="T12" fmla="*/ 179 w 211"/>
                <a:gd name="T13" fmla="*/ 0 h 64"/>
                <a:gd name="T14" fmla="*/ 179 w 211"/>
                <a:gd name="T15" fmla="*/ 0 h 64"/>
                <a:gd name="T16" fmla="*/ 179 w 21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64">
                  <a:moveTo>
                    <a:pt x="179" y="0"/>
                  </a:moveTo>
                  <a:cubicBezTo>
                    <a:pt x="32" y="0"/>
                    <a:pt x="32" y="0"/>
                    <a:pt x="32" y="0"/>
                  </a:cubicBezTo>
                  <a:cubicBezTo>
                    <a:pt x="15" y="0"/>
                    <a:pt x="0" y="14"/>
                    <a:pt x="0" y="32"/>
                  </a:cubicBezTo>
                  <a:cubicBezTo>
                    <a:pt x="0" y="49"/>
                    <a:pt x="15" y="64"/>
                    <a:pt x="32" y="64"/>
                  </a:cubicBezTo>
                  <a:cubicBezTo>
                    <a:pt x="179" y="64"/>
                    <a:pt x="179" y="64"/>
                    <a:pt x="179" y="64"/>
                  </a:cubicBezTo>
                  <a:cubicBezTo>
                    <a:pt x="196" y="64"/>
                    <a:pt x="211" y="49"/>
                    <a:pt x="211" y="32"/>
                  </a:cubicBezTo>
                  <a:cubicBezTo>
                    <a:pt x="211" y="14"/>
                    <a:pt x="196" y="0"/>
                    <a:pt x="179" y="0"/>
                  </a:cubicBezTo>
                  <a:close/>
                  <a:moveTo>
                    <a:pt x="179" y="0"/>
                  </a:moveTo>
                  <a:cubicBezTo>
                    <a:pt x="179" y="0"/>
                    <a:pt x="179" y="0"/>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93"/>
            <p:cNvSpPr>
              <a:spLocks noEditPoints="1"/>
            </p:cNvSpPr>
            <p:nvPr/>
          </p:nvSpPr>
          <p:spPr bwMode="auto">
            <a:xfrm>
              <a:off x="3314" y="2635"/>
              <a:ext cx="399" cy="121"/>
            </a:xfrm>
            <a:custGeom>
              <a:avLst/>
              <a:gdLst>
                <a:gd name="T0" fmla="*/ 179 w 211"/>
                <a:gd name="T1" fmla="*/ 0 h 64"/>
                <a:gd name="T2" fmla="*/ 32 w 211"/>
                <a:gd name="T3" fmla="*/ 0 h 64"/>
                <a:gd name="T4" fmla="*/ 0 w 211"/>
                <a:gd name="T5" fmla="*/ 32 h 64"/>
                <a:gd name="T6" fmla="*/ 32 w 211"/>
                <a:gd name="T7" fmla="*/ 64 h 64"/>
                <a:gd name="T8" fmla="*/ 179 w 211"/>
                <a:gd name="T9" fmla="*/ 64 h 64"/>
                <a:gd name="T10" fmla="*/ 211 w 211"/>
                <a:gd name="T11" fmla="*/ 32 h 64"/>
                <a:gd name="T12" fmla="*/ 179 w 211"/>
                <a:gd name="T13" fmla="*/ 0 h 64"/>
                <a:gd name="T14" fmla="*/ 179 w 211"/>
                <a:gd name="T15" fmla="*/ 0 h 64"/>
                <a:gd name="T16" fmla="*/ 179 w 21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64">
                  <a:moveTo>
                    <a:pt x="179" y="0"/>
                  </a:moveTo>
                  <a:cubicBezTo>
                    <a:pt x="32" y="0"/>
                    <a:pt x="32" y="0"/>
                    <a:pt x="32" y="0"/>
                  </a:cubicBezTo>
                  <a:cubicBezTo>
                    <a:pt x="15" y="0"/>
                    <a:pt x="0" y="15"/>
                    <a:pt x="0" y="32"/>
                  </a:cubicBezTo>
                  <a:cubicBezTo>
                    <a:pt x="0" y="50"/>
                    <a:pt x="15" y="64"/>
                    <a:pt x="32" y="64"/>
                  </a:cubicBezTo>
                  <a:cubicBezTo>
                    <a:pt x="179" y="64"/>
                    <a:pt x="179" y="64"/>
                    <a:pt x="179" y="64"/>
                  </a:cubicBezTo>
                  <a:cubicBezTo>
                    <a:pt x="196" y="64"/>
                    <a:pt x="211" y="50"/>
                    <a:pt x="211" y="32"/>
                  </a:cubicBezTo>
                  <a:cubicBezTo>
                    <a:pt x="211" y="15"/>
                    <a:pt x="196" y="0"/>
                    <a:pt x="179" y="0"/>
                  </a:cubicBezTo>
                  <a:close/>
                  <a:moveTo>
                    <a:pt x="179" y="0"/>
                  </a:moveTo>
                  <a:cubicBezTo>
                    <a:pt x="179" y="0"/>
                    <a:pt x="179" y="0"/>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4"/>
            <p:cNvSpPr>
              <a:spLocks noEditPoints="1"/>
            </p:cNvSpPr>
            <p:nvPr/>
          </p:nvSpPr>
          <p:spPr bwMode="auto">
            <a:xfrm>
              <a:off x="3314" y="2054"/>
              <a:ext cx="284" cy="121"/>
            </a:xfrm>
            <a:custGeom>
              <a:avLst/>
              <a:gdLst>
                <a:gd name="T0" fmla="*/ 118 w 150"/>
                <a:gd name="T1" fmla="*/ 0 h 64"/>
                <a:gd name="T2" fmla="*/ 32 w 150"/>
                <a:gd name="T3" fmla="*/ 0 h 64"/>
                <a:gd name="T4" fmla="*/ 0 w 150"/>
                <a:gd name="T5" fmla="*/ 32 h 64"/>
                <a:gd name="T6" fmla="*/ 32 w 150"/>
                <a:gd name="T7" fmla="*/ 64 h 64"/>
                <a:gd name="T8" fmla="*/ 118 w 150"/>
                <a:gd name="T9" fmla="*/ 64 h 64"/>
                <a:gd name="T10" fmla="*/ 150 w 150"/>
                <a:gd name="T11" fmla="*/ 32 h 64"/>
                <a:gd name="T12" fmla="*/ 118 w 150"/>
                <a:gd name="T13" fmla="*/ 0 h 64"/>
                <a:gd name="T14" fmla="*/ 118 w 150"/>
                <a:gd name="T15" fmla="*/ 0 h 64"/>
                <a:gd name="T16" fmla="*/ 118 w 15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64">
                  <a:moveTo>
                    <a:pt x="118" y="0"/>
                  </a:moveTo>
                  <a:cubicBezTo>
                    <a:pt x="32" y="0"/>
                    <a:pt x="32" y="0"/>
                    <a:pt x="32" y="0"/>
                  </a:cubicBezTo>
                  <a:cubicBezTo>
                    <a:pt x="15" y="0"/>
                    <a:pt x="0" y="14"/>
                    <a:pt x="0" y="32"/>
                  </a:cubicBezTo>
                  <a:cubicBezTo>
                    <a:pt x="0" y="50"/>
                    <a:pt x="15" y="64"/>
                    <a:pt x="32" y="64"/>
                  </a:cubicBezTo>
                  <a:cubicBezTo>
                    <a:pt x="118" y="64"/>
                    <a:pt x="118" y="64"/>
                    <a:pt x="118" y="64"/>
                  </a:cubicBezTo>
                  <a:cubicBezTo>
                    <a:pt x="135" y="64"/>
                    <a:pt x="150" y="50"/>
                    <a:pt x="150" y="32"/>
                  </a:cubicBezTo>
                  <a:cubicBezTo>
                    <a:pt x="150" y="14"/>
                    <a:pt x="135" y="0"/>
                    <a:pt x="118" y="0"/>
                  </a:cubicBezTo>
                  <a:close/>
                  <a:moveTo>
                    <a:pt x="118" y="0"/>
                  </a:moveTo>
                  <a:cubicBezTo>
                    <a:pt x="118" y="0"/>
                    <a:pt x="118" y="0"/>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5"/>
            <p:cNvSpPr>
              <a:spLocks noEditPoints="1"/>
            </p:cNvSpPr>
            <p:nvPr/>
          </p:nvSpPr>
          <p:spPr bwMode="auto">
            <a:xfrm>
              <a:off x="3314" y="3508"/>
              <a:ext cx="719" cy="121"/>
            </a:xfrm>
            <a:custGeom>
              <a:avLst/>
              <a:gdLst>
                <a:gd name="T0" fmla="*/ 348 w 380"/>
                <a:gd name="T1" fmla="*/ 0 h 64"/>
                <a:gd name="T2" fmla="*/ 32 w 380"/>
                <a:gd name="T3" fmla="*/ 0 h 64"/>
                <a:gd name="T4" fmla="*/ 0 w 380"/>
                <a:gd name="T5" fmla="*/ 32 h 64"/>
                <a:gd name="T6" fmla="*/ 32 w 380"/>
                <a:gd name="T7" fmla="*/ 64 h 64"/>
                <a:gd name="T8" fmla="*/ 348 w 380"/>
                <a:gd name="T9" fmla="*/ 64 h 64"/>
                <a:gd name="T10" fmla="*/ 380 w 380"/>
                <a:gd name="T11" fmla="*/ 32 h 64"/>
                <a:gd name="T12" fmla="*/ 348 w 380"/>
                <a:gd name="T13" fmla="*/ 0 h 64"/>
                <a:gd name="T14" fmla="*/ 348 w 380"/>
                <a:gd name="T15" fmla="*/ 0 h 64"/>
                <a:gd name="T16" fmla="*/ 348 w 38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64">
                  <a:moveTo>
                    <a:pt x="348" y="0"/>
                  </a:moveTo>
                  <a:cubicBezTo>
                    <a:pt x="32" y="0"/>
                    <a:pt x="32" y="0"/>
                    <a:pt x="32" y="0"/>
                  </a:cubicBezTo>
                  <a:cubicBezTo>
                    <a:pt x="15" y="0"/>
                    <a:pt x="0" y="14"/>
                    <a:pt x="0" y="32"/>
                  </a:cubicBezTo>
                  <a:cubicBezTo>
                    <a:pt x="0" y="50"/>
                    <a:pt x="15" y="64"/>
                    <a:pt x="32" y="64"/>
                  </a:cubicBezTo>
                  <a:cubicBezTo>
                    <a:pt x="348" y="64"/>
                    <a:pt x="348" y="64"/>
                    <a:pt x="348" y="64"/>
                  </a:cubicBezTo>
                  <a:cubicBezTo>
                    <a:pt x="366" y="64"/>
                    <a:pt x="380" y="50"/>
                    <a:pt x="380" y="32"/>
                  </a:cubicBezTo>
                  <a:cubicBezTo>
                    <a:pt x="380" y="14"/>
                    <a:pt x="366" y="0"/>
                    <a:pt x="348" y="0"/>
                  </a:cubicBezTo>
                  <a:close/>
                  <a:moveTo>
                    <a:pt x="348" y="0"/>
                  </a:moveTo>
                  <a:cubicBezTo>
                    <a:pt x="348" y="0"/>
                    <a:pt x="348" y="0"/>
                    <a:pt x="3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96"/>
            <p:cNvSpPr>
              <a:spLocks noEditPoints="1"/>
            </p:cNvSpPr>
            <p:nvPr/>
          </p:nvSpPr>
          <p:spPr bwMode="auto">
            <a:xfrm>
              <a:off x="3314" y="3799"/>
              <a:ext cx="719" cy="121"/>
            </a:xfrm>
            <a:custGeom>
              <a:avLst/>
              <a:gdLst>
                <a:gd name="T0" fmla="*/ 348 w 380"/>
                <a:gd name="T1" fmla="*/ 0 h 64"/>
                <a:gd name="T2" fmla="*/ 32 w 380"/>
                <a:gd name="T3" fmla="*/ 0 h 64"/>
                <a:gd name="T4" fmla="*/ 0 w 380"/>
                <a:gd name="T5" fmla="*/ 32 h 64"/>
                <a:gd name="T6" fmla="*/ 32 w 380"/>
                <a:gd name="T7" fmla="*/ 64 h 64"/>
                <a:gd name="T8" fmla="*/ 348 w 380"/>
                <a:gd name="T9" fmla="*/ 64 h 64"/>
                <a:gd name="T10" fmla="*/ 380 w 380"/>
                <a:gd name="T11" fmla="*/ 32 h 64"/>
                <a:gd name="T12" fmla="*/ 348 w 380"/>
                <a:gd name="T13" fmla="*/ 0 h 64"/>
                <a:gd name="T14" fmla="*/ 348 w 380"/>
                <a:gd name="T15" fmla="*/ 0 h 64"/>
                <a:gd name="T16" fmla="*/ 348 w 38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64">
                  <a:moveTo>
                    <a:pt x="348" y="0"/>
                  </a:moveTo>
                  <a:cubicBezTo>
                    <a:pt x="32" y="0"/>
                    <a:pt x="32" y="0"/>
                    <a:pt x="32" y="0"/>
                  </a:cubicBezTo>
                  <a:cubicBezTo>
                    <a:pt x="15" y="0"/>
                    <a:pt x="0" y="14"/>
                    <a:pt x="0" y="32"/>
                  </a:cubicBezTo>
                  <a:cubicBezTo>
                    <a:pt x="0" y="49"/>
                    <a:pt x="15" y="64"/>
                    <a:pt x="32" y="64"/>
                  </a:cubicBezTo>
                  <a:cubicBezTo>
                    <a:pt x="348" y="64"/>
                    <a:pt x="348" y="64"/>
                    <a:pt x="348" y="64"/>
                  </a:cubicBezTo>
                  <a:cubicBezTo>
                    <a:pt x="366" y="64"/>
                    <a:pt x="380" y="49"/>
                    <a:pt x="380" y="32"/>
                  </a:cubicBezTo>
                  <a:cubicBezTo>
                    <a:pt x="380" y="14"/>
                    <a:pt x="366" y="0"/>
                    <a:pt x="348" y="0"/>
                  </a:cubicBezTo>
                  <a:close/>
                  <a:moveTo>
                    <a:pt x="348" y="0"/>
                  </a:moveTo>
                  <a:cubicBezTo>
                    <a:pt x="348" y="0"/>
                    <a:pt x="348" y="0"/>
                    <a:pt x="3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7"/>
            <p:cNvSpPr>
              <a:spLocks noEditPoints="1"/>
            </p:cNvSpPr>
            <p:nvPr/>
          </p:nvSpPr>
          <p:spPr bwMode="auto">
            <a:xfrm>
              <a:off x="3314" y="3216"/>
              <a:ext cx="475" cy="121"/>
            </a:xfrm>
            <a:custGeom>
              <a:avLst/>
              <a:gdLst>
                <a:gd name="T0" fmla="*/ 219 w 251"/>
                <a:gd name="T1" fmla="*/ 0 h 64"/>
                <a:gd name="T2" fmla="*/ 32 w 251"/>
                <a:gd name="T3" fmla="*/ 0 h 64"/>
                <a:gd name="T4" fmla="*/ 0 w 251"/>
                <a:gd name="T5" fmla="*/ 32 h 64"/>
                <a:gd name="T6" fmla="*/ 32 w 251"/>
                <a:gd name="T7" fmla="*/ 64 h 64"/>
                <a:gd name="T8" fmla="*/ 219 w 251"/>
                <a:gd name="T9" fmla="*/ 64 h 64"/>
                <a:gd name="T10" fmla="*/ 251 w 251"/>
                <a:gd name="T11" fmla="*/ 32 h 64"/>
                <a:gd name="T12" fmla="*/ 219 w 251"/>
                <a:gd name="T13" fmla="*/ 0 h 64"/>
                <a:gd name="T14" fmla="*/ 219 w 251"/>
                <a:gd name="T15" fmla="*/ 0 h 64"/>
                <a:gd name="T16" fmla="*/ 219 w 25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64">
                  <a:moveTo>
                    <a:pt x="219" y="0"/>
                  </a:moveTo>
                  <a:cubicBezTo>
                    <a:pt x="32" y="0"/>
                    <a:pt x="32" y="0"/>
                    <a:pt x="32" y="0"/>
                  </a:cubicBezTo>
                  <a:cubicBezTo>
                    <a:pt x="15" y="0"/>
                    <a:pt x="0" y="15"/>
                    <a:pt x="0" y="32"/>
                  </a:cubicBezTo>
                  <a:cubicBezTo>
                    <a:pt x="0" y="50"/>
                    <a:pt x="15" y="64"/>
                    <a:pt x="32" y="64"/>
                  </a:cubicBezTo>
                  <a:cubicBezTo>
                    <a:pt x="219" y="64"/>
                    <a:pt x="219" y="64"/>
                    <a:pt x="219" y="64"/>
                  </a:cubicBezTo>
                  <a:cubicBezTo>
                    <a:pt x="237" y="64"/>
                    <a:pt x="251" y="50"/>
                    <a:pt x="251" y="32"/>
                  </a:cubicBezTo>
                  <a:cubicBezTo>
                    <a:pt x="251" y="15"/>
                    <a:pt x="237" y="0"/>
                    <a:pt x="219" y="0"/>
                  </a:cubicBezTo>
                  <a:close/>
                  <a:moveTo>
                    <a:pt x="219" y="0"/>
                  </a:moveTo>
                  <a:cubicBezTo>
                    <a:pt x="219" y="0"/>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8"/>
            <p:cNvSpPr>
              <a:spLocks noEditPoints="1"/>
            </p:cNvSpPr>
            <p:nvPr/>
          </p:nvSpPr>
          <p:spPr bwMode="auto">
            <a:xfrm>
              <a:off x="3912" y="3216"/>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9"/>
            <p:cNvSpPr>
              <a:spLocks noEditPoints="1"/>
            </p:cNvSpPr>
            <p:nvPr/>
          </p:nvSpPr>
          <p:spPr bwMode="auto">
            <a:xfrm>
              <a:off x="3785" y="2005"/>
              <a:ext cx="1284" cy="2241"/>
            </a:xfrm>
            <a:custGeom>
              <a:avLst/>
              <a:gdLst>
                <a:gd name="T0" fmla="*/ 339 w 678"/>
                <a:gd name="T1" fmla="*/ 0 h 1184"/>
                <a:gd name="T2" fmla="*/ 0 w 678"/>
                <a:gd name="T3" fmla="*/ 339 h 1184"/>
                <a:gd name="T4" fmla="*/ 240 w 678"/>
                <a:gd name="T5" fmla="*/ 664 h 1184"/>
                <a:gd name="T6" fmla="*/ 240 w 678"/>
                <a:gd name="T7" fmla="*/ 1085 h 1184"/>
                <a:gd name="T8" fmla="*/ 339 w 678"/>
                <a:gd name="T9" fmla="*/ 1184 h 1184"/>
                <a:gd name="T10" fmla="*/ 438 w 678"/>
                <a:gd name="T11" fmla="*/ 1085 h 1184"/>
                <a:gd name="T12" fmla="*/ 438 w 678"/>
                <a:gd name="T13" fmla="*/ 664 h 1184"/>
                <a:gd name="T14" fmla="*/ 678 w 678"/>
                <a:gd name="T15" fmla="*/ 339 h 1184"/>
                <a:gd name="T16" fmla="*/ 339 w 678"/>
                <a:gd name="T17" fmla="*/ 0 h 1184"/>
                <a:gd name="T18" fmla="*/ 371 w 678"/>
                <a:gd name="T19" fmla="*/ 66 h 1184"/>
                <a:gd name="T20" fmla="*/ 612 w 678"/>
                <a:gd name="T21" fmla="*/ 307 h 1184"/>
                <a:gd name="T22" fmla="*/ 371 w 678"/>
                <a:gd name="T23" fmla="*/ 307 h 1184"/>
                <a:gd name="T24" fmla="*/ 371 w 678"/>
                <a:gd name="T25" fmla="*/ 66 h 1184"/>
                <a:gd name="T26" fmla="*/ 307 w 678"/>
                <a:gd name="T27" fmla="*/ 66 h 1184"/>
                <a:gd name="T28" fmla="*/ 307 w 678"/>
                <a:gd name="T29" fmla="*/ 279 h 1184"/>
                <a:gd name="T30" fmla="*/ 131 w 678"/>
                <a:gd name="T31" fmla="*/ 159 h 1184"/>
                <a:gd name="T32" fmla="*/ 307 w 678"/>
                <a:gd name="T33" fmla="*/ 66 h 1184"/>
                <a:gd name="T34" fmla="*/ 374 w 678"/>
                <a:gd name="T35" fmla="*/ 1085 h 1184"/>
                <a:gd name="T36" fmla="*/ 339 w 678"/>
                <a:gd name="T37" fmla="*/ 1120 h 1184"/>
                <a:gd name="T38" fmla="*/ 304 w 678"/>
                <a:gd name="T39" fmla="*/ 1085 h 1184"/>
                <a:gd name="T40" fmla="*/ 304 w 678"/>
                <a:gd name="T41" fmla="*/ 677 h 1184"/>
                <a:gd name="T42" fmla="*/ 339 w 678"/>
                <a:gd name="T43" fmla="*/ 678 h 1184"/>
                <a:gd name="T44" fmla="*/ 374 w 678"/>
                <a:gd name="T45" fmla="*/ 677 h 1184"/>
                <a:gd name="T46" fmla="*/ 374 w 678"/>
                <a:gd name="T47" fmla="*/ 1085 h 1184"/>
                <a:gd name="T48" fmla="*/ 339 w 678"/>
                <a:gd name="T49" fmla="*/ 614 h 1184"/>
                <a:gd name="T50" fmla="*/ 64 w 678"/>
                <a:gd name="T51" fmla="*/ 339 h 1184"/>
                <a:gd name="T52" fmla="*/ 95 w 678"/>
                <a:gd name="T53" fmla="*/ 212 h 1184"/>
                <a:gd name="T54" fmla="*/ 321 w 678"/>
                <a:gd name="T55" fmla="*/ 366 h 1184"/>
                <a:gd name="T56" fmla="*/ 339 w 678"/>
                <a:gd name="T57" fmla="*/ 371 h 1184"/>
                <a:gd name="T58" fmla="*/ 612 w 678"/>
                <a:gd name="T59" fmla="*/ 371 h 1184"/>
                <a:gd name="T60" fmla="*/ 339 w 678"/>
                <a:gd name="T61" fmla="*/ 614 h 1184"/>
                <a:gd name="T62" fmla="*/ 339 w 678"/>
                <a:gd name="T63" fmla="*/ 614 h 1184"/>
                <a:gd name="T64" fmla="*/ 339 w 678"/>
                <a:gd name="T65" fmla="*/ 61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8" h="1184">
                  <a:moveTo>
                    <a:pt x="339" y="0"/>
                  </a:moveTo>
                  <a:cubicBezTo>
                    <a:pt x="152" y="0"/>
                    <a:pt x="0" y="152"/>
                    <a:pt x="0" y="339"/>
                  </a:cubicBezTo>
                  <a:cubicBezTo>
                    <a:pt x="0" y="492"/>
                    <a:pt x="101" y="621"/>
                    <a:pt x="240" y="664"/>
                  </a:cubicBezTo>
                  <a:cubicBezTo>
                    <a:pt x="240" y="1085"/>
                    <a:pt x="240" y="1085"/>
                    <a:pt x="240" y="1085"/>
                  </a:cubicBezTo>
                  <a:cubicBezTo>
                    <a:pt x="240" y="1140"/>
                    <a:pt x="285" y="1184"/>
                    <a:pt x="339" y="1184"/>
                  </a:cubicBezTo>
                  <a:cubicBezTo>
                    <a:pt x="394" y="1184"/>
                    <a:pt x="438" y="1140"/>
                    <a:pt x="438" y="1085"/>
                  </a:cubicBezTo>
                  <a:cubicBezTo>
                    <a:pt x="438" y="664"/>
                    <a:pt x="438" y="664"/>
                    <a:pt x="438" y="664"/>
                  </a:cubicBezTo>
                  <a:cubicBezTo>
                    <a:pt x="577" y="621"/>
                    <a:pt x="678" y="492"/>
                    <a:pt x="678" y="339"/>
                  </a:cubicBezTo>
                  <a:cubicBezTo>
                    <a:pt x="678" y="152"/>
                    <a:pt x="526" y="0"/>
                    <a:pt x="339" y="0"/>
                  </a:cubicBezTo>
                  <a:close/>
                  <a:moveTo>
                    <a:pt x="371" y="66"/>
                  </a:moveTo>
                  <a:cubicBezTo>
                    <a:pt x="497" y="81"/>
                    <a:pt x="598" y="181"/>
                    <a:pt x="612" y="307"/>
                  </a:cubicBezTo>
                  <a:cubicBezTo>
                    <a:pt x="371" y="307"/>
                    <a:pt x="371" y="307"/>
                    <a:pt x="371" y="307"/>
                  </a:cubicBezTo>
                  <a:lnTo>
                    <a:pt x="371" y="66"/>
                  </a:lnTo>
                  <a:close/>
                  <a:moveTo>
                    <a:pt x="307" y="66"/>
                  </a:moveTo>
                  <a:cubicBezTo>
                    <a:pt x="307" y="279"/>
                    <a:pt x="307" y="279"/>
                    <a:pt x="307" y="279"/>
                  </a:cubicBezTo>
                  <a:cubicBezTo>
                    <a:pt x="131" y="159"/>
                    <a:pt x="131" y="159"/>
                    <a:pt x="131" y="159"/>
                  </a:cubicBezTo>
                  <a:cubicBezTo>
                    <a:pt x="175" y="109"/>
                    <a:pt x="237" y="74"/>
                    <a:pt x="307" y="66"/>
                  </a:cubicBezTo>
                  <a:close/>
                  <a:moveTo>
                    <a:pt x="374" y="1085"/>
                  </a:moveTo>
                  <a:cubicBezTo>
                    <a:pt x="374" y="1105"/>
                    <a:pt x="359" y="1120"/>
                    <a:pt x="339" y="1120"/>
                  </a:cubicBezTo>
                  <a:cubicBezTo>
                    <a:pt x="320" y="1120"/>
                    <a:pt x="304" y="1105"/>
                    <a:pt x="304" y="1085"/>
                  </a:cubicBezTo>
                  <a:cubicBezTo>
                    <a:pt x="304" y="677"/>
                    <a:pt x="304" y="677"/>
                    <a:pt x="304" y="677"/>
                  </a:cubicBezTo>
                  <a:cubicBezTo>
                    <a:pt x="316" y="678"/>
                    <a:pt x="327" y="678"/>
                    <a:pt x="339" y="678"/>
                  </a:cubicBezTo>
                  <a:cubicBezTo>
                    <a:pt x="351" y="678"/>
                    <a:pt x="363" y="678"/>
                    <a:pt x="374" y="677"/>
                  </a:cubicBezTo>
                  <a:lnTo>
                    <a:pt x="374" y="1085"/>
                  </a:lnTo>
                  <a:close/>
                  <a:moveTo>
                    <a:pt x="339" y="614"/>
                  </a:moveTo>
                  <a:cubicBezTo>
                    <a:pt x="187" y="614"/>
                    <a:pt x="64" y="491"/>
                    <a:pt x="64" y="339"/>
                  </a:cubicBezTo>
                  <a:cubicBezTo>
                    <a:pt x="64" y="293"/>
                    <a:pt x="75" y="250"/>
                    <a:pt x="95" y="212"/>
                  </a:cubicBezTo>
                  <a:cubicBezTo>
                    <a:pt x="321" y="366"/>
                    <a:pt x="321" y="366"/>
                    <a:pt x="321" y="366"/>
                  </a:cubicBezTo>
                  <a:cubicBezTo>
                    <a:pt x="326" y="369"/>
                    <a:pt x="333" y="371"/>
                    <a:pt x="339" y="371"/>
                  </a:cubicBezTo>
                  <a:cubicBezTo>
                    <a:pt x="612" y="371"/>
                    <a:pt x="612" y="371"/>
                    <a:pt x="612" y="371"/>
                  </a:cubicBezTo>
                  <a:cubicBezTo>
                    <a:pt x="597" y="508"/>
                    <a:pt x="480" y="614"/>
                    <a:pt x="339" y="614"/>
                  </a:cubicBezTo>
                  <a:close/>
                  <a:moveTo>
                    <a:pt x="339" y="614"/>
                  </a:moveTo>
                  <a:cubicBezTo>
                    <a:pt x="339" y="614"/>
                    <a:pt x="339" y="614"/>
                    <a:pt x="339" y="6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4" name="Group 102"/>
          <p:cNvGrpSpPr>
            <a:grpSpLocks noChangeAspect="1"/>
          </p:cNvGrpSpPr>
          <p:nvPr/>
        </p:nvGrpSpPr>
        <p:grpSpPr bwMode="auto">
          <a:xfrm>
            <a:off x="837458" y="2984382"/>
            <a:ext cx="457200" cy="457200"/>
            <a:chOff x="1779" y="956"/>
            <a:chExt cx="3101" cy="3101"/>
          </a:xfrm>
          <a:solidFill>
            <a:schemeClr val="accent1"/>
          </a:solidFill>
        </p:grpSpPr>
        <p:sp>
          <p:nvSpPr>
            <p:cNvPr id="106" name="Freeform 103"/>
            <p:cNvSpPr>
              <a:spLocks noEditPoints="1"/>
            </p:cNvSpPr>
            <p:nvPr/>
          </p:nvSpPr>
          <p:spPr bwMode="auto">
            <a:xfrm>
              <a:off x="1779" y="956"/>
              <a:ext cx="3101" cy="3101"/>
            </a:xfrm>
            <a:custGeom>
              <a:avLst/>
              <a:gdLst>
                <a:gd name="T0" fmla="*/ 1440 w 1638"/>
                <a:gd name="T1" fmla="*/ 298 h 1638"/>
                <a:gd name="T2" fmla="*/ 1478 w 1638"/>
                <a:gd name="T3" fmla="*/ 249 h 1638"/>
                <a:gd name="T4" fmla="*/ 1317 w 1638"/>
                <a:gd name="T5" fmla="*/ 79 h 1638"/>
                <a:gd name="T6" fmla="*/ 1237 w 1638"/>
                <a:gd name="T7" fmla="*/ 298 h 1638"/>
                <a:gd name="T8" fmla="*/ 1280 w 1638"/>
                <a:gd name="T9" fmla="*/ 950 h 1638"/>
                <a:gd name="T10" fmla="*/ 1293 w 1638"/>
                <a:gd name="T11" fmla="*/ 237 h 1638"/>
                <a:gd name="T12" fmla="*/ 1376 w 1638"/>
                <a:gd name="T13" fmla="*/ 266 h 1638"/>
                <a:gd name="T14" fmla="*/ 1050 w 1638"/>
                <a:gd name="T15" fmla="*/ 1235 h 1638"/>
                <a:gd name="T16" fmla="*/ 874 w 1638"/>
                <a:gd name="T17" fmla="*/ 1242 h 1638"/>
                <a:gd name="T18" fmla="*/ 676 w 1638"/>
                <a:gd name="T19" fmla="*/ 729 h 1638"/>
                <a:gd name="T20" fmla="*/ 886 w 1638"/>
                <a:gd name="T21" fmla="*/ 700 h 1638"/>
                <a:gd name="T22" fmla="*/ 804 w 1638"/>
                <a:gd name="T23" fmla="*/ 510 h 1638"/>
                <a:gd name="T24" fmla="*/ 682 w 1638"/>
                <a:gd name="T25" fmla="*/ 178 h 1638"/>
                <a:gd name="T26" fmla="*/ 384 w 1638"/>
                <a:gd name="T27" fmla="*/ 149 h 1638"/>
                <a:gd name="T28" fmla="*/ 256 w 1638"/>
                <a:gd name="T29" fmla="*/ 474 h 1638"/>
                <a:gd name="T30" fmla="*/ 384 w 1638"/>
                <a:gd name="T31" fmla="*/ 978 h 1638"/>
                <a:gd name="T32" fmla="*/ 448 w 1638"/>
                <a:gd name="T33" fmla="*/ 793 h 1638"/>
                <a:gd name="T34" fmla="*/ 810 w 1638"/>
                <a:gd name="T35" fmla="*/ 1242 h 1638"/>
                <a:gd name="T36" fmla="*/ 701 w 1638"/>
                <a:gd name="T37" fmla="*/ 896 h 1638"/>
                <a:gd name="T38" fmla="*/ 525 w 1638"/>
                <a:gd name="T39" fmla="*/ 1395 h 1638"/>
                <a:gd name="T40" fmla="*/ 416 w 1638"/>
                <a:gd name="T41" fmla="*/ 1206 h 1638"/>
                <a:gd name="T42" fmla="*/ 96 w 1638"/>
                <a:gd name="T43" fmla="*/ 1395 h 1638"/>
                <a:gd name="T44" fmla="*/ 32 w 1638"/>
                <a:gd name="T45" fmla="*/ 1638 h 1638"/>
                <a:gd name="T46" fmla="*/ 1638 w 1638"/>
                <a:gd name="T47" fmla="*/ 1235 h 1638"/>
                <a:gd name="T48" fmla="*/ 533 w 1638"/>
                <a:gd name="T49" fmla="*/ 64 h 1638"/>
                <a:gd name="T50" fmla="*/ 533 w 1638"/>
                <a:gd name="T51" fmla="*/ 263 h 1638"/>
                <a:gd name="T52" fmla="*/ 644 w 1638"/>
                <a:gd name="T53" fmla="*/ 474 h 1638"/>
                <a:gd name="T54" fmla="*/ 448 w 1638"/>
                <a:gd name="T55" fmla="*/ 729 h 1638"/>
                <a:gd name="T56" fmla="*/ 384 w 1638"/>
                <a:gd name="T57" fmla="*/ 506 h 1638"/>
                <a:gd name="T58" fmla="*/ 320 w 1638"/>
                <a:gd name="T59" fmla="*/ 474 h 1638"/>
                <a:gd name="T60" fmla="*/ 740 w 1638"/>
                <a:gd name="T61" fmla="*/ 474 h 1638"/>
                <a:gd name="T62" fmla="*/ 886 w 1638"/>
                <a:gd name="T63" fmla="*/ 574 h 1638"/>
                <a:gd name="T64" fmla="*/ 720 w 1638"/>
                <a:gd name="T65" fmla="*/ 636 h 1638"/>
                <a:gd name="T66" fmla="*/ 644 w 1638"/>
                <a:gd name="T67" fmla="*/ 474 h 1638"/>
                <a:gd name="T68" fmla="*/ 64 w 1638"/>
                <a:gd name="T69" fmla="*/ 1491 h 1638"/>
                <a:gd name="T70" fmla="*/ 525 w 1638"/>
                <a:gd name="T71" fmla="*/ 1491 h 1638"/>
                <a:gd name="T72" fmla="*/ 669 w 1638"/>
                <a:gd name="T73" fmla="*/ 960 h 1638"/>
                <a:gd name="T74" fmla="*/ 589 w 1638"/>
                <a:gd name="T75" fmla="*/ 1247 h 1638"/>
                <a:gd name="T76" fmla="*/ 589 w 1638"/>
                <a:gd name="T77" fmla="*/ 1574 h 1638"/>
                <a:gd name="T78" fmla="*/ 1018 w 1638"/>
                <a:gd name="T79" fmla="*/ 1306 h 1638"/>
                <a:gd name="T80" fmla="*/ 1574 w 1638"/>
                <a:gd name="T81" fmla="*/ 1574 h 1638"/>
                <a:gd name="T82" fmla="*/ 1146 w 1638"/>
                <a:gd name="T83" fmla="*/ 1203 h 1638"/>
                <a:gd name="T84" fmla="*/ 1574 w 1638"/>
                <a:gd name="T85" fmla="*/ 1574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 h="1638">
                  <a:moveTo>
                    <a:pt x="1542" y="1139"/>
                  </a:moveTo>
                  <a:cubicBezTo>
                    <a:pt x="1440" y="1139"/>
                    <a:pt x="1440" y="1139"/>
                    <a:pt x="1440" y="1139"/>
                  </a:cubicBezTo>
                  <a:cubicBezTo>
                    <a:pt x="1440" y="298"/>
                    <a:pt x="1440" y="298"/>
                    <a:pt x="1440" y="298"/>
                  </a:cubicBezTo>
                  <a:cubicBezTo>
                    <a:pt x="1451" y="298"/>
                    <a:pt x="1451" y="298"/>
                    <a:pt x="1451" y="298"/>
                  </a:cubicBezTo>
                  <a:cubicBezTo>
                    <a:pt x="1462" y="298"/>
                    <a:pt x="1473" y="292"/>
                    <a:pt x="1479" y="282"/>
                  </a:cubicBezTo>
                  <a:cubicBezTo>
                    <a:pt x="1484" y="272"/>
                    <a:pt x="1484" y="259"/>
                    <a:pt x="1478" y="249"/>
                  </a:cubicBezTo>
                  <a:cubicBezTo>
                    <a:pt x="1371" y="79"/>
                    <a:pt x="1371" y="79"/>
                    <a:pt x="1371" y="79"/>
                  </a:cubicBezTo>
                  <a:cubicBezTo>
                    <a:pt x="1365" y="70"/>
                    <a:pt x="1355" y="64"/>
                    <a:pt x="1344" y="64"/>
                  </a:cubicBezTo>
                  <a:cubicBezTo>
                    <a:pt x="1333" y="64"/>
                    <a:pt x="1323" y="70"/>
                    <a:pt x="1317" y="79"/>
                  </a:cubicBezTo>
                  <a:cubicBezTo>
                    <a:pt x="1210" y="249"/>
                    <a:pt x="1210" y="249"/>
                    <a:pt x="1210" y="249"/>
                  </a:cubicBezTo>
                  <a:cubicBezTo>
                    <a:pt x="1204" y="259"/>
                    <a:pt x="1204" y="272"/>
                    <a:pt x="1209" y="282"/>
                  </a:cubicBezTo>
                  <a:cubicBezTo>
                    <a:pt x="1215" y="292"/>
                    <a:pt x="1226" y="298"/>
                    <a:pt x="1237" y="298"/>
                  </a:cubicBezTo>
                  <a:cubicBezTo>
                    <a:pt x="1248" y="298"/>
                    <a:pt x="1248" y="298"/>
                    <a:pt x="1248" y="298"/>
                  </a:cubicBezTo>
                  <a:cubicBezTo>
                    <a:pt x="1248" y="918"/>
                    <a:pt x="1248" y="918"/>
                    <a:pt x="1248" y="918"/>
                  </a:cubicBezTo>
                  <a:cubicBezTo>
                    <a:pt x="1248" y="936"/>
                    <a:pt x="1262" y="950"/>
                    <a:pt x="1280" y="950"/>
                  </a:cubicBezTo>
                  <a:cubicBezTo>
                    <a:pt x="1298" y="950"/>
                    <a:pt x="1312" y="936"/>
                    <a:pt x="1312" y="918"/>
                  </a:cubicBezTo>
                  <a:cubicBezTo>
                    <a:pt x="1312" y="266"/>
                    <a:pt x="1312" y="266"/>
                    <a:pt x="1312" y="266"/>
                  </a:cubicBezTo>
                  <a:cubicBezTo>
                    <a:pt x="1312" y="253"/>
                    <a:pt x="1304" y="242"/>
                    <a:pt x="1293" y="237"/>
                  </a:cubicBezTo>
                  <a:cubicBezTo>
                    <a:pt x="1344" y="156"/>
                    <a:pt x="1344" y="156"/>
                    <a:pt x="1344" y="156"/>
                  </a:cubicBezTo>
                  <a:cubicBezTo>
                    <a:pt x="1395" y="237"/>
                    <a:pt x="1395" y="237"/>
                    <a:pt x="1395" y="237"/>
                  </a:cubicBezTo>
                  <a:cubicBezTo>
                    <a:pt x="1384" y="242"/>
                    <a:pt x="1376" y="253"/>
                    <a:pt x="1376" y="266"/>
                  </a:cubicBezTo>
                  <a:cubicBezTo>
                    <a:pt x="1376" y="1139"/>
                    <a:pt x="1376" y="1139"/>
                    <a:pt x="1376" y="1139"/>
                  </a:cubicBezTo>
                  <a:cubicBezTo>
                    <a:pt x="1146" y="1139"/>
                    <a:pt x="1146" y="1139"/>
                    <a:pt x="1146" y="1139"/>
                  </a:cubicBezTo>
                  <a:cubicBezTo>
                    <a:pt x="1093" y="1139"/>
                    <a:pt x="1050" y="1182"/>
                    <a:pt x="1050" y="1235"/>
                  </a:cubicBezTo>
                  <a:cubicBezTo>
                    <a:pt x="1050" y="1247"/>
                    <a:pt x="1050" y="1247"/>
                    <a:pt x="1050" y="1247"/>
                  </a:cubicBezTo>
                  <a:cubicBezTo>
                    <a:pt x="1040" y="1244"/>
                    <a:pt x="1029" y="1242"/>
                    <a:pt x="1018" y="1242"/>
                  </a:cubicBezTo>
                  <a:cubicBezTo>
                    <a:pt x="874" y="1242"/>
                    <a:pt x="874" y="1242"/>
                    <a:pt x="874" y="1242"/>
                  </a:cubicBezTo>
                  <a:cubicBezTo>
                    <a:pt x="874" y="889"/>
                    <a:pt x="874" y="889"/>
                    <a:pt x="874" y="889"/>
                  </a:cubicBezTo>
                  <a:cubicBezTo>
                    <a:pt x="874" y="801"/>
                    <a:pt x="802" y="729"/>
                    <a:pt x="714" y="729"/>
                  </a:cubicBezTo>
                  <a:cubicBezTo>
                    <a:pt x="676" y="729"/>
                    <a:pt x="676" y="729"/>
                    <a:pt x="676" y="729"/>
                  </a:cubicBezTo>
                  <a:cubicBezTo>
                    <a:pt x="676" y="690"/>
                    <a:pt x="676" y="690"/>
                    <a:pt x="676" y="690"/>
                  </a:cubicBezTo>
                  <a:cubicBezTo>
                    <a:pt x="689" y="696"/>
                    <a:pt x="704" y="700"/>
                    <a:pt x="720" y="700"/>
                  </a:cubicBezTo>
                  <a:cubicBezTo>
                    <a:pt x="886" y="700"/>
                    <a:pt x="886" y="700"/>
                    <a:pt x="886" y="700"/>
                  </a:cubicBezTo>
                  <a:cubicBezTo>
                    <a:pt x="938" y="700"/>
                    <a:pt x="981" y="657"/>
                    <a:pt x="981" y="605"/>
                  </a:cubicBezTo>
                  <a:cubicBezTo>
                    <a:pt x="981" y="552"/>
                    <a:pt x="938" y="510"/>
                    <a:pt x="886" y="510"/>
                  </a:cubicBezTo>
                  <a:cubicBezTo>
                    <a:pt x="804" y="510"/>
                    <a:pt x="804" y="510"/>
                    <a:pt x="804" y="510"/>
                  </a:cubicBezTo>
                  <a:cubicBezTo>
                    <a:pt x="804" y="474"/>
                    <a:pt x="804" y="474"/>
                    <a:pt x="804" y="474"/>
                  </a:cubicBezTo>
                  <a:cubicBezTo>
                    <a:pt x="804" y="377"/>
                    <a:pt x="738" y="295"/>
                    <a:pt x="649" y="271"/>
                  </a:cubicBezTo>
                  <a:cubicBezTo>
                    <a:pt x="670" y="245"/>
                    <a:pt x="682" y="213"/>
                    <a:pt x="682" y="178"/>
                  </a:cubicBezTo>
                  <a:cubicBezTo>
                    <a:pt x="682" y="149"/>
                    <a:pt x="682" y="149"/>
                    <a:pt x="682" y="149"/>
                  </a:cubicBezTo>
                  <a:cubicBezTo>
                    <a:pt x="682" y="67"/>
                    <a:pt x="615" y="0"/>
                    <a:pt x="533" y="0"/>
                  </a:cubicBezTo>
                  <a:cubicBezTo>
                    <a:pt x="451" y="0"/>
                    <a:pt x="384" y="67"/>
                    <a:pt x="384" y="149"/>
                  </a:cubicBezTo>
                  <a:cubicBezTo>
                    <a:pt x="384" y="178"/>
                    <a:pt x="384" y="178"/>
                    <a:pt x="384" y="178"/>
                  </a:cubicBezTo>
                  <a:cubicBezTo>
                    <a:pt x="384" y="212"/>
                    <a:pt x="396" y="244"/>
                    <a:pt x="416" y="269"/>
                  </a:cubicBezTo>
                  <a:cubicBezTo>
                    <a:pt x="324" y="292"/>
                    <a:pt x="256" y="375"/>
                    <a:pt x="256" y="474"/>
                  </a:cubicBezTo>
                  <a:cubicBezTo>
                    <a:pt x="256" y="640"/>
                    <a:pt x="256" y="640"/>
                    <a:pt x="256" y="640"/>
                  </a:cubicBezTo>
                  <a:cubicBezTo>
                    <a:pt x="256" y="717"/>
                    <a:pt x="311" y="782"/>
                    <a:pt x="384" y="796"/>
                  </a:cubicBezTo>
                  <a:cubicBezTo>
                    <a:pt x="384" y="978"/>
                    <a:pt x="384" y="978"/>
                    <a:pt x="384" y="978"/>
                  </a:cubicBezTo>
                  <a:cubicBezTo>
                    <a:pt x="384" y="995"/>
                    <a:pt x="399" y="1010"/>
                    <a:pt x="416" y="1010"/>
                  </a:cubicBezTo>
                  <a:cubicBezTo>
                    <a:pt x="434" y="1010"/>
                    <a:pt x="448" y="995"/>
                    <a:pt x="448" y="978"/>
                  </a:cubicBezTo>
                  <a:cubicBezTo>
                    <a:pt x="448" y="793"/>
                    <a:pt x="448" y="793"/>
                    <a:pt x="448" y="793"/>
                  </a:cubicBezTo>
                  <a:cubicBezTo>
                    <a:pt x="714" y="793"/>
                    <a:pt x="714" y="793"/>
                    <a:pt x="714" y="793"/>
                  </a:cubicBezTo>
                  <a:cubicBezTo>
                    <a:pt x="767" y="793"/>
                    <a:pt x="810" y="836"/>
                    <a:pt x="810" y="889"/>
                  </a:cubicBezTo>
                  <a:cubicBezTo>
                    <a:pt x="810" y="1242"/>
                    <a:pt x="810" y="1242"/>
                    <a:pt x="810" y="1242"/>
                  </a:cubicBezTo>
                  <a:cubicBezTo>
                    <a:pt x="733" y="1242"/>
                    <a:pt x="733" y="1242"/>
                    <a:pt x="733" y="1242"/>
                  </a:cubicBezTo>
                  <a:cubicBezTo>
                    <a:pt x="733" y="928"/>
                    <a:pt x="733" y="928"/>
                    <a:pt x="733" y="928"/>
                  </a:cubicBezTo>
                  <a:cubicBezTo>
                    <a:pt x="733" y="910"/>
                    <a:pt x="719" y="896"/>
                    <a:pt x="701" y="896"/>
                  </a:cubicBezTo>
                  <a:cubicBezTo>
                    <a:pt x="557" y="896"/>
                    <a:pt x="557" y="896"/>
                    <a:pt x="557" y="896"/>
                  </a:cubicBezTo>
                  <a:cubicBezTo>
                    <a:pt x="539" y="896"/>
                    <a:pt x="525" y="910"/>
                    <a:pt x="525" y="928"/>
                  </a:cubicBezTo>
                  <a:cubicBezTo>
                    <a:pt x="525" y="1395"/>
                    <a:pt x="525" y="1395"/>
                    <a:pt x="525" y="1395"/>
                  </a:cubicBezTo>
                  <a:cubicBezTo>
                    <a:pt x="448" y="1395"/>
                    <a:pt x="448" y="1395"/>
                    <a:pt x="448" y="1395"/>
                  </a:cubicBezTo>
                  <a:cubicBezTo>
                    <a:pt x="448" y="1238"/>
                    <a:pt x="448" y="1238"/>
                    <a:pt x="448" y="1238"/>
                  </a:cubicBezTo>
                  <a:cubicBezTo>
                    <a:pt x="448" y="1221"/>
                    <a:pt x="434" y="1206"/>
                    <a:pt x="416" y="1206"/>
                  </a:cubicBezTo>
                  <a:cubicBezTo>
                    <a:pt x="399" y="1206"/>
                    <a:pt x="384" y="1221"/>
                    <a:pt x="384" y="1238"/>
                  </a:cubicBezTo>
                  <a:cubicBezTo>
                    <a:pt x="384" y="1395"/>
                    <a:pt x="384" y="1395"/>
                    <a:pt x="384" y="1395"/>
                  </a:cubicBezTo>
                  <a:cubicBezTo>
                    <a:pt x="96" y="1395"/>
                    <a:pt x="96" y="1395"/>
                    <a:pt x="96" y="1395"/>
                  </a:cubicBezTo>
                  <a:cubicBezTo>
                    <a:pt x="43" y="1395"/>
                    <a:pt x="0" y="1438"/>
                    <a:pt x="0" y="1491"/>
                  </a:cubicBezTo>
                  <a:cubicBezTo>
                    <a:pt x="0" y="1606"/>
                    <a:pt x="0" y="1606"/>
                    <a:pt x="0" y="1606"/>
                  </a:cubicBezTo>
                  <a:cubicBezTo>
                    <a:pt x="0" y="1624"/>
                    <a:pt x="14" y="1638"/>
                    <a:pt x="32" y="1638"/>
                  </a:cubicBezTo>
                  <a:cubicBezTo>
                    <a:pt x="1606" y="1638"/>
                    <a:pt x="1606" y="1638"/>
                    <a:pt x="1606" y="1638"/>
                  </a:cubicBezTo>
                  <a:cubicBezTo>
                    <a:pt x="1624" y="1638"/>
                    <a:pt x="1638" y="1624"/>
                    <a:pt x="1638" y="1606"/>
                  </a:cubicBezTo>
                  <a:cubicBezTo>
                    <a:pt x="1638" y="1235"/>
                    <a:pt x="1638" y="1235"/>
                    <a:pt x="1638" y="1235"/>
                  </a:cubicBezTo>
                  <a:cubicBezTo>
                    <a:pt x="1638" y="1182"/>
                    <a:pt x="1595" y="1139"/>
                    <a:pt x="1542" y="1139"/>
                  </a:cubicBezTo>
                  <a:close/>
                  <a:moveTo>
                    <a:pt x="448" y="149"/>
                  </a:moveTo>
                  <a:cubicBezTo>
                    <a:pt x="448" y="102"/>
                    <a:pt x="486" y="64"/>
                    <a:pt x="533" y="64"/>
                  </a:cubicBezTo>
                  <a:cubicBezTo>
                    <a:pt x="580" y="64"/>
                    <a:pt x="618" y="102"/>
                    <a:pt x="618" y="149"/>
                  </a:cubicBezTo>
                  <a:cubicBezTo>
                    <a:pt x="618" y="178"/>
                    <a:pt x="618" y="178"/>
                    <a:pt x="618" y="178"/>
                  </a:cubicBezTo>
                  <a:cubicBezTo>
                    <a:pt x="618" y="225"/>
                    <a:pt x="580" y="263"/>
                    <a:pt x="533" y="263"/>
                  </a:cubicBezTo>
                  <a:cubicBezTo>
                    <a:pt x="486" y="263"/>
                    <a:pt x="448" y="225"/>
                    <a:pt x="448" y="178"/>
                  </a:cubicBezTo>
                  <a:lnTo>
                    <a:pt x="448" y="149"/>
                  </a:lnTo>
                  <a:close/>
                  <a:moveTo>
                    <a:pt x="644" y="474"/>
                  </a:moveTo>
                  <a:cubicBezTo>
                    <a:pt x="626" y="474"/>
                    <a:pt x="612" y="489"/>
                    <a:pt x="612" y="506"/>
                  </a:cubicBezTo>
                  <a:cubicBezTo>
                    <a:pt x="612" y="729"/>
                    <a:pt x="612" y="729"/>
                    <a:pt x="612" y="729"/>
                  </a:cubicBezTo>
                  <a:cubicBezTo>
                    <a:pt x="448" y="729"/>
                    <a:pt x="448" y="729"/>
                    <a:pt x="448" y="729"/>
                  </a:cubicBezTo>
                  <a:cubicBezTo>
                    <a:pt x="448" y="506"/>
                    <a:pt x="448" y="506"/>
                    <a:pt x="448" y="506"/>
                  </a:cubicBezTo>
                  <a:cubicBezTo>
                    <a:pt x="448" y="489"/>
                    <a:pt x="434" y="474"/>
                    <a:pt x="416" y="474"/>
                  </a:cubicBezTo>
                  <a:cubicBezTo>
                    <a:pt x="399" y="474"/>
                    <a:pt x="384" y="489"/>
                    <a:pt x="384" y="506"/>
                  </a:cubicBezTo>
                  <a:cubicBezTo>
                    <a:pt x="384" y="730"/>
                    <a:pt x="384" y="730"/>
                    <a:pt x="384" y="730"/>
                  </a:cubicBezTo>
                  <a:cubicBezTo>
                    <a:pt x="347" y="717"/>
                    <a:pt x="320" y="681"/>
                    <a:pt x="320" y="640"/>
                  </a:cubicBezTo>
                  <a:cubicBezTo>
                    <a:pt x="320" y="474"/>
                    <a:pt x="320" y="474"/>
                    <a:pt x="320" y="474"/>
                  </a:cubicBezTo>
                  <a:cubicBezTo>
                    <a:pt x="320" y="393"/>
                    <a:pt x="386" y="327"/>
                    <a:pt x="467" y="327"/>
                  </a:cubicBezTo>
                  <a:cubicBezTo>
                    <a:pt x="593" y="327"/>
                    <a:pt x="593" y="327"/>
                    <a:pt x="593" y="327"/>
                  </a:cubicBezTo>
                  <a:cubicBezTo>
                    <a:pt x="674" y="327"/>
                    <a:pt x="740" y="393"/>
                    <a:pt x="740" y="474"/>
                  </a:cubicBezTo>
                  <a:cubicBezTo>
                    <a:pt x="740" y="542"/>
                    <a:pt x="740" y="542"/>
                    <a:pt x="740" y="542"/>
                  </a:cubicBezTo>
                  <a:cubicBezTo>
                    <a:pt x="740" y="560"/>
                    <a:pt x="754" y="574"/>
                    <a:pt x="772" y="574"/>
                  </a:cubicBezTo>
                  <a:cubicBezTo>
                    <a:pt x="886" y="574"/>
                    <a:pt x="886" y="574"/>
                    <a:pt x="886" y="574"/>
                  </a:cubicBezTo>
                  <a:cubicBezTo>
                    <a:pt x="903" y="574"/>
                    <a:pt x="917" y="588"/>
                    <a:pt x="917" y="605"/>
                  </a:cubicBezTo>
                  <a:cubicBezTo>
                    <a:pt x="917" y="622"/>
                    <a:pt x="903" y="636"/>
                    <a:pt x="886" y="636"/>
                  </a:cubicBezTo>
                  <a:cubicBezTo>
                    <a:pt x="720" y="636"/>
                    <a:pt x="720" y="636"/>
                    <a:pt x="720" y="636"/>
                  </a:cubicBezTo>
                  <a:cubicBezTo>
                    <a:pt x="696" y="636"/>
                    <a:pt x="676" y="616"/>
                    <a:pt x="676" y="591"/>
                  </a:cubicBezTo>
                  <a:cubicBezTo>
                    <a:pt x="676" y="506"/>
                    <a:pt x="676" y="506"/>
                    <a:pt x="676" y="506"/>
                  </a:cubicBezTo>
                  <a:cubicBezTo>
                    <a:pt x="676" y="489"/>
                    <a:pt x="662" y="474"/>
                    <a:pt x="644" y="474"/>
                  </a:cubicBezTo>
                  <a:close/>
                  <a:moveTo>
                    <a:pt x="525" y="1574"/>
                  </a:moveTo>
                  <a:cubicBezTo>
                    <a:pt x="64" y="1574"/>
                    <a:pt x="64" y="1574"/>
                    <a:pt x="64" y="1574"/>
                  </a:cubicBezTo>
                  <a:cubicBezTo>
                    <a:pt x="64" y="1491"/>
                    <a:pt x="64" y="1491"/>
                    <a:pt x="64" y="1491"/>
                  </a:cubicBezTo>
                  <a:cubicBezTo>
                    <a:pt x="64" y="1474"/>
                    <a:pt x="78" y="1459"/>
                    <a:pt x="96" y="1459"/>
                  </a:cubicBezTo>
                  <a:cubicBezTo>
                    <a:pt x="493" y="1459"/>
                    <a:pt x="493" y="1459"/>
                    <a:pt x="493" y="1459"/>
                  </a:cubicBezTo>
                  <a:cubicBezTo>
                    <a:pt x="510" y="1459"/>
                    <a:pt x="525" y="1474"/>
                    <a:pt x="525" y="1491"/>
                  </a:cubicBezTo>
                  <a:lnTo>
                    <a:pt x="525" y="1574"/>
                  </a:lnTo>
                  <a:close/>
                  <a:moveTo>
                    <a:pt x="589" y="960"/>
                  </a:moveTo>
                  <a:cubicBezTo>
                    <a:pt x="669" y="960"/>
                    <a:pt x="669" y="960"/>
                    <a:pt x="669" y="960"/>
                  </a:cubicBezTo>
                  <a:cubicBezTo>
                    <a:pt x="669" y="1242"/>
                    <a:pt x="669" y="1242"/>
                    <a:pt x="669" y="1242"/>
                  </a:cubicBezTo>
                  <a:cubicBezTo>
                    <a:pt x="621" y="1242"/>
                    <a:pt x="621" y="1242"/>
                    <a:pt x="621" y="1242"/>
                  </a:cubicBezTo>
                  <a:cubicBezTo>
                    <a:pt x="610" y="1242"/>
                    <a:pt x="599" y="1244"/>
                    <a:pt x="589" y="1247"/>
                  </a:cubicBezTo>
                  <a:lnTo>
                    <a:pt x="589" y="960"/>
                  </a:lnTo>
                  <a:close/>
                  <a:moveTo>
                    <a:pt x="1050" y="1574"/>
                  </a:moveTo>
                  <a:cubicBezTo>
                    <a:pt x="589" y="1574"/>
                    <a:pt x="589" y="1574"/>
                    <a:pt x="589" y="1574"/>
                  </a:cubicBezTo>
                  <a:cubicBezTo>
                    <a:pt x="589" y="1338"/>
                    <a:pt x="589" y="1338"/>
                    <a:pt x="589" y="1338"/>
                  </a:cubicBezTo>
                  <a:cubicBezTo>
                    <a:pt x="589" y="1320"/>
                    <a:pt x="603" y="1306"/>
                    <a:pt x="621" y="1306"/>
                  </a:cubicBezTo>
                  <a:cubicBezTo>
                    <a:pt x="1018" y="1306"/>
                    <a:pt x="1018" y="1306"/>
                    <a:pt x="1018" y="1306"/>
                  </a:cubicBezTo>
                  <a:cubicBezTo>
                    <a:pt x="1035" y="1306"/>
                    <a:pt x="1050" y="1320"/>
                    <a:pt x="1050" y="1338"/>
                  </a:cubicBezTo>
                  <a:lnTo>
                    <a:pt x="1050" y="1574"/>
                  </a:lnTo>
                  <a:close/>
                  <a:moveTo>
                    <a:pt x="1574" y="1574"/>
                  </a:moveTo>
                  <a:cubicBezTo>
                    <a:pt x="1114" y="1574"/>
                    <a:pt x="1114" y="1574"/>
                    <a:pt x="1114" y="1574"/>
                  </a:cubicBezTo>
                  <a:cubicBezTo>
                    <a:pt x="1114" y="1235"/>
                    <a:pt x="1114" y="1235"/>
                    <a:pt x="1114" y="1235"/>
                  </a:cubicBezTo>
                  <a:cubicBezTo>
                    <a:pt x="1114" y="1218"/>
                    <a:pt x="1128" y="1203"/>
                    <a:pt x="1146" y="1203"/>
                  </a:cubicBezTo>
                  <a:cubicBezTo>
                    <a:pt x="1542" y="1203"/>
                    <a:pt x="1542" y="1203"/>
                    <a:pt x="1542" y="1203"/>
                  </a:cubicBezTo>
                  <a:cubicBezTo>
                    <a:pt x="1560" y="1203"/>
                    <a:pt x="1574" y="1218"/>
                    <a:pt x="1574" y="1235"/>
                  </a:cubicBezTo>
                  <a:lnTo>
                    <a:pt x="1574" y="1574"/>
                  </a:lnTo>
                  <a:close/>
                  <a:moveTo>
                    <a:pt x="1574" y="1574"/>
                  </a:moveTo>
                  <a:cubicBezTo>
                    <a:pt x="1574" y="1574"/>
                    <a:pt x="1574" y="1574"/>
                    <a:pt x="1574" y="15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4"/>
            <p:cNvSpPr>
              <a:spLocks noEditPoints="1"/>
            </p:cNvSpPr>
            <p:nvPr/>
          </p:nvSpPr>
          <p:spPr bwMode="auto">
            <a:xfrm>
              <a:off x="2506" y="2982"/>
              <a:ext cx="121" cy="121"/>
            </a:xfrm>
            <a:custGeom>
              <a:avLst/>
              <a:gdLst>
                <a:gd name="T0" fmla="*/ 55 w 64"/>
                <a:gd name="T1" fmla="*/ 9 h 64"/>
                <a:gd name="T2" fmla="*/ 32 w 64"/>
                <a:gd name="T3" fmla="*/ 0 h 64"/>
                <a:gd name="T4" fmla="*/ 10 w 64"/>
                <a:gd name="T5" fmla="*/ 9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4"/>
                    <a:pt x="0" y="32"/>
                  </a:cubicBezTo>
                  <a:cubicBezTo>
                    <a:pt x="0" y="40"/>
                    <a:pt x="4" y="49"/>
                    <a:pt x="10" y="55"/>
                  </a:cubicBezTo>
                  <a:cubicBezTo>
                    <a:pt x="16" y="61"/>
                    <a:pt x="24" y="64"/>
                    <a:pt x="32" y="64"/>
                  </a:cubicBezTo>
                  <a:cubicBezTo>
                    <a:pt x="41"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05"/>
            <p:cNvSpPr>
              <a:spLocks noEditPoints="1"/>
            </p:cNvSpPr>
            <p:nvPr/>
          </p:nvSpPr>
          <p:spPr bwMode="auto">
            <a:xfrm>
              <a:off x="4142" y="2864"/>
              <a:ext cx="121" cy="122"/>
            </a:xfrm>
            <a:custGeom>
              <a:avLst/>
              <a:gdLst>
                <a:gd name="T0" fmla="*/ 55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4"/>
                    <a:pt x="0" y="32"/>
                  </a:cubicBezTo>
                  <a:cubicBezTo>
                    <a:pt x="0" y="40"/>
                    <a:pt x="3" y="49"/>
                    <a:pt x="9" y="55"/>
                  </a:cubicBezTo>
                  <a:cubicBezTo>
                    <a:pt x="15" y="61"/>
                    <a:pt x="24" y="64"/>
                    <a:pt x="32" y="64"/>
                  </a:cubicBezTo>
                  <a:cubicBezTo>
                    <a:pt x="40"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108"/>
          <p:cNvGrpSpPr>
            <a:grpSpLocks noChangeAspect="1"/>
          </p:cNvGrpSpPr>
          <p:nvPr/>
        </p:nvGrpSpPr>
        <p:grpSpPr bwMode="auto">
          <a:xfrm>
            <a:off x="1902986" y="2984382"/>
            <a:ext cx="457347" cy="457200"/>
            <a:chOff x="1873" y="1051"/>
            <a:chExt cx="3102" cy="3101"/>
          </a:xfrm>
          <a:solidFill>
            <a:schemeClr val="accent1"/>
          </a:solidFill>
        </p:grpSpPr>
        <p:sp>
          <p:nvSpPr>
            <p:cNvPr id="114" name="Freeform 109"/>
            <p:cNvSpPr>
              <a:spLocks noEditPoints="1"/>
            </p:cNvSpPr>
            <p:nvPr/>
          </p:nvSpPr>
          <p:spPr bwMode="auto">
            <a:xfrm>
              <a:off x="1873" y="1276"/>
              <a:ext cx="1848" cy="2876"/>
            </a:xfrm>
            <a:custGeom>
              <a:avLst/>
              <a:gdLst>
                <a:gd name="T0" fmla="*/ 754 w 976"/>
                <a:gd name="T1" fmla="*/ 0 h 1519"/>
                <a:gd name="T2" fmla="*/ 223 w 976"/>
                <a:gd name="T3" fmla="*/ 0 h 1519"/>
                <a:gd name="T4" fmla="*/ 0 w 976"/>
                <a:gd name="T5" fmla="*/ 223 h 1519"/>
                <a:gd name="T6" fmla="*/ 0 w 976"/>
                <a:gd name="T7" fmla="*/ 509 h 1519"/>
                <a:gd name="T8" fmla="*/ 223 w 976"/>
                <a:gd name="T9" fmla="*/ 732 h 1519"/>
                <a:gd name="T10" fmla="*/ 337 w 976"/>
                <a:gd name="T11" fmla="*/ 732 h 1519"/>
                <a:gd name="T12" fmla="*/ 337 w 976"/>
                <a:gd name="T13" fmla="*/ 802 h 1519"/>
                <a:gd name="T14" fmla="*/ 208 w 976"/>
                <a:gd name="T15" fmla="*/ 966 h 1519"/>
                <a:gd name="T16" fmla="*/ 208 w 976"/>
                <a:gd name="T17" fmla="*/ 1000 h 1519"/>
                <a:gd name="T18" fmla="*/ 245 w 976"/>
                <a:gd name="T19" fmla="*/ 1106 h 1519"/>
                <a:gd name="T20" fmla="*/ 182 w 976"/>
                <a:gd name="T21" fmla="*/ 1106 h 1519"/>
                <a:gd name="T22" fmla="*/ 0 w 976"/>
                <a:gd name="T23" fmla="*/ 1288 h 1519"/>
                <a:gd name="T24" fmla="*/ 0 w 976"/>
                <a:gd name="T25" fmla="*/ 1487 h 1519"/>
                <a:gd name="T26" fmla="*/ 32 w 976"/>
                <a:gd name="T27" fmla="*/ 1519 h 1519"/>
                <a:gd name="T28" fmla="*/ 723 w 976"/>
                <a:gd name="T29" fmla="*/ 1519 h 1519"/>
                <a:gd name="T30" fmla="*/ 755 w 976"/>
                <a:gd name="T31" fmla="*/ 1487 h 1519"/>
                <a:gd name="T32" fmla="*/ 755 w 976"/>
                <a:gd name="T33" fmla="*/ 1288 h 1519"/>
                <a:gd name="T34" fmla="*/ 573 w 976"/>
                <a:gd name="T35" fmla="*/ 1106 h 1519"/>
                <a:gd name="T36" fmla="*/ 510 w 976"/>
                <a:gd name="T37" fmla="*/ 1106 h 1519"/>
                <a:gd name="T38" fmla="*/ 547 w 976"/>
                <a:gd name="T39" fmla="*/ 1000 h 1519"/>
                <a:gd name="T40" fmla="*/ 547 w 976"/>
                <a:gd name="T41" fmla="*/ 966 h 1519"/>
                <a:gd name="T42" fmla="*/ 429 w 976"/>
                <a:gd name="T43" fmla="*/ 805 h 1519"/>
                <a:gd name="T44" fmla="*/ 501 w 976"/>
                <a:gd name="T45" fmla="*/ 732 h 1519"/>
                <a:gd name="T46" fmla="*/ 754 w 976"/>
                <a:gd name="T47" fmla="*/ 732 h 1519"/>
                <a:gd name="T48" fmla="*/ 976 w 976"/>
                <a:gd name="T49" fmla="*/ 509 h 1519"/>
                <a:gd name="T50" fmla="*/ 976 w 976"/>
                <a:gd name="T51" fmla="*/ 223 h 1519"/>
                <a:gd name="T52" fmla="*/ 754 w 976"/>
                <a:gd name="T53" fmla="*/ 0 h 1519"/>
                <a:gd name="T54" fmla="*/ 573 w 976"/>
                <a:gd name="T55" fmla="*/ 1170 h 1519"/>
                <a:gd name="T56" fmla="*/ 691 w 976"/>
                <a:gd name="T57" fmla="*/ 1288 h 1519"/>
                <a:gd name="T58" fmla="*/ 691 w 976"/>
                <a:gd name="T59" fmla="*/ 1455 h 1519"/>
                <a:gd name="T60" fmla="*/ 64 w 976"/>
                <a:gd name="T61" fmla="*/ 1455 h 1519"/>
                <a:gd name="T62" fmla="*/ 64 w 976"/>
                <a:gd name="T63" fmla="*/ 1288 h 1519"/>
                <a:gd name="T64" fmla="*/ 182 w 976"/>
                <a:gd name="T65" fmla="*/ 1170 h 1519"/>
                <a:gd name="T66" fmla="*/ 346 w 976"/>
                <a:gd name="T67" fmla="*/ 1170 h 1519"/>
                <a:gd name="T68" fmla="*/ 346 w 976"/>
                <a:gd name="T69" fmla="*/ 1234 h 1519"/>
                <a:gd name="T70" fmla="*/ 378 w 976"/>
                <a:gd name="T71" fmla="*/ 1266 h 1519"/>
                <a:gd name="T72" fmla="*/ 410 w 976"/>
                <a:gd name="T73" fmla="*/ 1234 h 1519"/>
                <a:gd name="T74" fmla="*/ 410 w 976"/>
                <a:gd name="T75" fmla="*/ 1170 h 1519"/>
                <a:gd name="T76" fmla="*/ 573 w 976"/>
                <a:gd name="T77" fmla="*/ 1170 h 1519"/>
                <a:gd name="T78" fmla="*/ 483 w 976"/>
                <a:gd name="T79" fmla="*/ 966 h 1519"/>
                <a:gd name="T80" fmla="*/ 483 w 976"/>
                <a:gd name="T81" fmla="*/ 1000 h 1519"/>
                <a:gd name="T82" fmla="*/ 378 w 976"/>
                <a:gd name="T83" fmla="*/ 1106 h 1519"/>
                <a:gd name="T84" fmla="*/ 272 w 976"/>
                <a:gd name="T85" fmla="*/ 1000 h 1519"/>
                <a:gd name="T86" fmla="*/ 272 w 976"/>
                <a:gd name="T87" fmla="*/ 966 h 1519"/>
                <a:gd name="T88" fmla="*/ 378 w 976"/>
                <a:gd name="T89" fmla="*/ 861 h 1519"/>
                <a:gd name="T90" fmla="*/ 483 w 976"/>
                <a:gd name="T91" fmla="*/ 966 h 1519"/>
                <a:gd name="T92" fmla="*/ 912 w 976"/>
                <a:gd name="T93" fmla="*/ 509 h 1519"/>
                <a:gd name="T94" fmla="*/ 754 w 976"/>
                <a:gd name="T95" fmla="*/ 668 h 1519"/>
                <a:gd name="T96" fmla="*/ 488 w 976"/>
                <a:gd name="T97" fmla="*/ 668 h 1519"/>
                <a:gd name="T98" fmla="*/ 466 w 976"/>
                <a:gd name="T99" fmla="*/ 678 h 1519"/>
                <a:gd name="T100" fmla="*/ 401 w 976"/>
                <a:gd name="T101" fmla="*/ 742 h 1519"/>
                <a:gd name="T102" fmla="*/ 401 w 976"/>
                <a:gd name="T103" fmla="*/ 700 h 1519"/>
                <a:gd name="T104" fmla="*/ 369 w 976"/>
                <a:gd name="T105" fmla="*/ 668 h 1519"/>
                <a:gd name="T106" fmla="*/ 223 w 976"/>
                <a:gd name="T107" fmla="*/ 668 h 1519"/>
                <a:gd name="T108" fmla="*/ 64 w 976"/>
                <a:gd name="T109" fmla="*/ 509 h 1519"/>
                <a:gd name="T110" fmla="*/ 64 w 976"/>
                <a:gd name="T111" fmla="*/ 223 h 1519"/>
                <a:gd name="T112" fmla="*/ 223 w 976"/>
                <a:gd name="T113" fmla="*/ 64 h 1519"/>
                <a:gd name="T114" fmla="*/ 754 w 976"/>
                <a:gd name="T115" fmla="*/ 64 h 1519"/>
                <a:gd name="T116" fmla="*/ 912 w 976"/>
                <a:gd name="T117" fmla="*/ 223 h 1519"/>
                <a:gd name="T118" fmla="*/ 912 w 976"/>
                <a:gd name="T119" fmla="*/ 509 h 1519"/>
                <a:gd name="T120" fmla="*/ 912 w 976"/>
                <a:gd name="T121" fmla="*/ 509 h 1519"/>
                <a:gd name="T122" fmla="*/ 912 w 976"/>
                <a:gd name="T123" fmla="*/ 509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76" h="1519">
                  <a:moveTo>
                    <a:pt x="754" y="0"/>
                  </a:moveTo>
                  <a:cubicBezTo>
                    <a:pt x="223" y="0"/>
                    <a:pt x="223" y="0"/>
                    <a:pt x="223" y="0"/>
                  </a:cubicBezTo>
                  <a:cubicBezTo>
                    <a:pt x="100" y="0"/>
                    <a:pt x="0" y="100"/>
                    <a:pt x="0" y="223"/>
                  </a:cubicBezTo>
                  <a:cubicBezTo>
                    <a:pt x="0" y="509"/>
                    <a:pt x="0" y="509"/>
                    <a:pt x="0" y="509"/>
                  </a:cubicBezTo>
                  <a:cubicBezTo>
                    <a:pt x="0" y="632"/>
                    <a:pt x="100" y="732"/>
                    <a:pt x="223" y="732"/>
                  </a:cubicBezTo>
                  <a:cubicBezTo>
                    <a:pt x="337" y="732"/>
                    <a:pt x="337" y="732"/>
                    <a:pt x="337" y="732"/>
                  </a:cubicBezTo>
                  <a:cubicBezTo>
                    <a:pt x="337" y="802"/>
                    <a:pt x="337" y="802"/>
                    <a:pt x="337" y="802"/>
                  </a:cubicBezTo>
                  <a:cubicBezTo>
                    <a:pt x="263" y="820"/>
                    <a:pt x="208" y="887"/>
                    <a:pt x="208" y="966"/>
                  </a:cubicBezTo>
                  <a:cubicBezTo>
                    <a:pt x="208" y="1000"/>
                    <a:pt x="208" y="1000"/>
                    <a:pt x="208" y="1000"/>
                  </a:cubicBezTo>
                  <a:cubicBezTo>
                    <a:pt x="208" y="1040"/>
                    <a:pt x="222" y="1077"/>
                    <a:pt x="245" y="1106"/>
                  </a:cubicBezTo>
                  <a:cubicBezTo>
                    <a:pt x="182" y="1106"/>
                    <a:pt x="182" y="1106"/>
                    <a:pt x="182" y="1106"/>
                  </a:cubicBezTo>
                  <a:cubicBezTo>
                    <a:pt x="82" y="1106"/>
                    <a:pt x="0" y="1187"/>
                    <a:pt x="0" y="1288"/>
                  </a:cubicBezTo>
                  <a:cubicBezTo>
                    <a:pt x="0" y="1487"/>
                    <a:pt x="0" y="1487"/>
                    <a:pt x="0" y="1487"/>
                  </a:cubicBezTo>
                  <a:cubicBezTo>
                    <a:pt x="0" y="1505"/>
                    <a:pt x="14" y="1519"/>
                    <a:pt x="32" y="1519"/>
                  </a:cubicBezTo>
                  <a:cubicBezTo>
                    <a:pt x="723" y="1519"/>
                    <a:pt x="723" y="1519"/>
                    <a:pt x="723" y="1519"/>
                  </a:cubicBezTo>
                  <a:cubicBezTo>
                    <a:pt x="741" y="1519"/>
                    <a:pt x="755" y="1505"/>
                    <a:pt x="755" y="1487"/>
                  </a:cubicBezTo>
                  <a:cubicBezTo>
                    <a:pt x="755" y="1288"/>
                    <a:pt x="755" y="1288"/>
                    <a:pt x="755" y="1288"/>
                  </a:cubicBezTo>
                  <a:cubicBezTo>
                    <a:pt x="755" y="1187"/>
                    <a:pt x="673" y="1106"/>
                    <a:pt x="573" y="1106"/>
                  </a:cubicBezTo>
                  <a:cubicBezTo>
                    <a:pt x="510" y="1106"/>
                    <a:pt x="510" y="1106"/>
                    <a:pt x="510" y="1106"/>
                  </a:cubicBezTo>
                  <a:cubicBezTo>
                    <a:pt x="533" y="1077"/>
                    <a:pt x="547" y="1040"/>
                    <a:pt x="547" y="1000"/>
                  </a:cubicBezTo>
                  <a:cubicBezTo>
                    <a:pt x="547" y="966"/>
                    <a:pt x="547" y="966"/>
                    <a:pt x="547" y="966"/>
                  </a:cubicBezTo>
                  <a:cubicBezTo>
                    <a:pt x="547" y="890"/>
                    <a:pt x="497" y="826"/>
                    <a:pt x="429" y="805"/>
                  </a:cubicBezTo>
                  <a:cubicBezTo>
                    <a:pt x="501" y="732"/>
                    <a:pt x="501" y="732"/>
                    <a:pt x="501" y="732"/>
                  </a:cubicBezTo>
                  <a:cubicBezTo>
                    <a:pt x="754" y="732"/>
                    <a:pt x="754" y="732"/>
                    <a:pt x="754" y="732"/>
                  </a:cubicBezTo>
                  <a:cubicBezTo>
                    <a:pt x="876" y="732"/>
                    <a:pt x="976" y="632"/>
                    <a:pt x="976" y="509"/>
                  </a:cubicBezTo>
                  <a:cubicBezTo>
                    <a:pt x="976" y="223"/>
                    <a:pt x="976" y="223"/>
                    <a:pt x="976" y="223"/>
                  </a:cubicBezTo>
                  <a:cubicBezTo>
                    <a:pt x="976" y="100"/>
                    <a:pt x="876" y="0"/>
                    <a:pt x="754" y="0"/>
                  </a:cubicBezTo>
                  <a:close/>
                  <a:moveTo>
                    <a:pt x="573" y="1170"/>
                  </a:moveTo>
                  <a:cubicBezTo>
                    <a:pt x="638" y="1170"/>
                    <a:pt x="691" y="1223"/>
                    <a:pt x="691" y="1288"/>
                  </a:cubicBezTo>
                  <a:cubicBezTo>
                    <a:pt x="691" y="1455"/>
                    <a:pt x="691" y="1455"/>
                    <a:pt x="691" y="1455"/>
                  </a:cubicBezTo>
                  <a:cubicBezTo>
                    <a:pt x="64" y="1455"/>
                    <a:pt x="64" y="1455"/>
                    <a:pt x="64" y="1455"/>
                  </a:cubicBezTo>
                  <a:cubicBezTo>
                    <a:pt x="64" y="1288"/>
                    <a:pt x="64" y="1288"/>
                    <a:pt x="64" y="1288"/>
                  </a:cubicBezTo>
                  <a:cubicBezTo>
                    <a:pt x="64" y="1223"/>
                    <a:pt x="117" y="1170"/>
                    <a:pt x="182" y="1170"/>
                  </a:cubicBezTo>
                  <a:cubicBezTo>
                    <a:pt x="346" y="1170"/>
                    <a:pt x="346" y="1170"/>
                    <a:pt x="346" y="1170"/>
                  </a:cubicBezTo>
                  <a:cubicBezTo>
                    <a:pt x="346" y="1234"/>
                    <a:pt x="346" y="1234"/>
                    <a:pt x="346" y="1234"/>
                  </a:cubicBezTo>
                  <a:cubicBezTo>
                    <a:pt x="346" y="1252"/>
                    <a:pt x="360" y="1266"/>
                    <a:pt x="378" y="1266"/>
                  </a:cubicBezTo>
                  <a:cubicBezTo>
                    <a:pt x="395" y="1266"/>
                    <a:pt x="410" y="1252"/>
                    <a:pt x="410" y="1234"/>
                  </a:cubicBezTo>
                  <a:cubicBezTo>
                    <a:pt x="410" y="1170"/>
                    <a:pt x="410" y="1170"/>
                    <a:pt x="410" y="1170"/>
                  </a:cubicBezTo>
                  <a:lnTo>
                    <a:pt x="573" y="1170"/>
                  </a:lnTo>
                  <a:close/>
                  <a:moveTo>
                    <a:pt x="483" y="966"/>
                  </a:moveTo>
                  <a:cubicBezTo>
                    <a:pt x="483" y="1000"/>
                    <a:pt x="483" y="1000"/>
                    <a:pt x="483" y="1000"/>
                  </a:cubicBezTo>
                  <a:cubicBezTo>
                    <a:pt x="483" y="1058"/>
                    <a:pt x="436" y="1106"/>
                    <a:pt x="378" y="1106"/>
                  </a:cubicBezTo>
                  <a:cubicBezTo>
                    <a:pt x="320" y="1106"/>
                    <a:pt x="272" y="1058"/>
                    <a:pt x="272" y="1000"/>
                  </a:cubicBezTo>
                  <a:cubicBezTo>
                    <a:pt x="272" y="966"/>
                    <a:pt x="272" y="966"/>
                    <a:pt x="272" y="966"/>
                  </a:cubicBezTo>
                  <a:cubicBezTo>
                    <a:pt x="272" y="908"/>
                    <a:pt x="320" y="861"/>
                    <a:pt x="378" y="861"/>
                  </a:cubicBezTo>
                  <a:cubicBezTo>
                    <a:pt x="436" y="861"/>
                    <a:pt x="483" y="908"/>
                    <a:pt x="483" y="966"/>
                  </a:cubicBezTo>
                  <a:close/>
                  <a:moveTo>
                    <a:pt x="912" y="509"/>
                  </a:moveTo>
                  <a:cubicBezTo>
                    <a:pt x="912" y="597"/>
                    <a:pt x="841" y="668"/>
                    <a:pt x="754" y="668"/>
                  </a:cubicBezTo>
                  <a:cubicBezTo>
                    <a:pt x="488" y="668"/>
                    <a:pt x="488" y="668"/>
                    <a:pt x="488" y="668"/>
                  </a:cubicBezTo>
                  <a:cubicBezTo>
                    <a:pt x="480" y="668"/>
                    <a:pt x="472" y="672"/>
                    <a:pt x="466" y="678"/>
                  </a:cubicBezTo>
                  <a:cubicBezTo>
                    <a:pt x="401" y="742"/>
                    <a:pt x="401" y="742"/>
                    <a:pt x="401" y="742"/>
                  </a:cubicBezTo>
                  <a:cubicBezTo>
                    <a:pt x="401" y="700"/>
                    <a:pt x="401" y="700"/>
                    <a:pt x="401" y="700"/>
                  </a:cubicBezTo>
                  <a:cubicBezTo>
                    <a:pt x="401" y="683"/>
                    <a:pt x="387" y="668"/>
                    <a:pt x="369" y="668"/>
                  </a:cubicBezTo>
                  <a:cubicBezTo>
                    <a:pt x="223" y="668"/>
                    <a:pt x="223" y="668"/>
                    <a:pt x="223" y="668"/>
                  </a:cubicBezTo>
                  <a:cubicBezTo>
                    <a:pt x="135" y="668"/>
                    <a:pt x="64" y="597"/>
                    <a:pt x="64" y="509"/>
                  </a:cubicBezTo>
                  <a:cubicBezTo>
                    <a:pt x="64" y="223"/>
                    <a:pt x="64" y="223"/>
                    <a:pt x="64" y="223"/>
                  </a:cubicBezTo>
                  <a:cubicBezTo>
                    <a:pt x="64" y="136"/>
                    <a:pt x="135" y="64"/>
                    <a:pt x="223" y="64"/>
                  </a:cubicBezTo>
                  <a:cubicBezTo>
                    <a:pt x="754" y="64"/>
                    <a:pt x="754" y="64"/>
                    <a:pt x="754" y="64"/>
                  </a:cubicBezTo>
                  <a:cubicBezTo>
                    <a:pt x="841" y="64"/>
                    <a:pt x="912" y="136"/>
                    <a:pt x="912" y="223"/>
                  </a:cubicBezTo>
                  <a:lnTo>
                    <a:pt x="912" y="509"/>
                  </a:lnTo>
                  <a:close/>
                  <a:moveTo>
                    <a:pt x="912" y="509"/>
                  </a:moveTo>
                  <a:cubicBezTo>
                    <a:pt x="912" y="509"/>
                    <a:pt x="912" y="509"/>
                    <a:pt x="912" y="5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10"/>
            <p:cNvSpPr>
              <a:spLocks noEditPoints="1"/>
            </p:cNvSpPr>
            <p:nvPr/>
          </p:nvSpPr>
          <p:spPr bwMode="auto">
            <a:xfrm>
              <a:off x="3545" y="2785"/>
              <a:ext cx="1430" cy="1367"/>
            </a:xfrm>
            <a:custGeom>
              <a:avLst/>
              <a:gdLst>
                <a:gd name="T0" fmla="*/ 573 w 755"/>
                <a:gd name="T1" fmla="*/ 309 h 722"/>
                <a:gd name="T2" fmla="*/ 510 w 755"/>
                <a:gd name="T3" fmla="*/ 309 h 722"/>
                <a:gd name="T4" fmla="*/ 547 w 755"/>
                <a:gd name="T5" fmla="*/ 203 h 722"/>
                <a:gd name="T6" fmla="*/ 547 w 755"/>
                <a:gd name="T7" fmla="*/ 169 h 722"/>
                <a:gd name="T8" fmla="*/ 378 w 755"/>
                <a:gd name="T9" fmla="*/ 0 h 722"/>
                <a:gd name="T10" fmla="*/ 208 w 755"/>
                <a:gd name="T11" fmla="*/ 169 h 722"/>
                <a:gd name="T12" fmla="*/ 208 w 755"/>
                <a:gd name="T13" fmla="*/ 203 h 722"/>
                <a:gd name="T14" fmla="*/ 245 w 755"/>
                <a:gd name="T15" fmla="*/ 309 h 722"/>
                <a:gd name="T16" fmla="*/ 182 w 755"/>
                <a:gd name="T17" fmla="*/ 309 h 722"/>
                <a:gd name="T18" fmla="*/ 0 w 755"/>
                <a:gd name="T19" fmla="*/ 491 h 722"/>
                <a:gd name="T20" fmla="*/ 0 w 755"/>
                <a:gd name="T21" fmla="*/ 690 h 722"/>
                <a:gd name="T22" fmla="*/ 32 w 755"/>
                <a:gd name="T23" fmla="*/ 722 h 722"/>
                <a:gd name="T24" fmla="*/ 723 w 755"/>
                <a:gd name="T25" fmla="*/ 722 h 722"/>
                <a:gd name="T26" fmla="*/ 755 w 755"/>
                <a:gd name="T27" fmla="*/ 690 h 722"/>
                <a:gd name="T28" fmla="*/ 755 w 755"/>
                <a:gd name="T29" fmla="*/ 491 h 722"/>
                <a:gd name="T30" fmla="*/ 573 w 755"/>
                <a:gd name="T31" fmla="*/ 309 h 722"/>
                <a:gd name="T32" fmla="*/ 272 w 755"/>
                <a:gd name="T33" fmla="*/ 169 h 722"/>
                <a:gd name="T34" fmla="*/ 378 w 755"/>
                <a:gd name="T35" fmla="*/ 64 h 722"/>
                <a:gd name="T36" fmla="*/ 483 w 755"/>
                <a:gd name="T37" fmla="*/ 169 h 722"/>
                <a:gd name="T38" fmla="*/ 483 w 755"/>
                <a:gd name="T39" fmla="*/ 203 h 722"/>
                <a:gd name="T40" fmla="*/ 378 w 755"/>
                <a:gd name="T41" fmla="*/ 309 h 722"/>
                <a:gd name="T42" fmla="*/ 272 w 755"/>
                <a:gd name="T43" fmla="*/ 203 h 722"/>
                <a:gd name="T44" fmla="*/ 272 w 755"/>
                <a:gd name="T45" fmla="*/ 169 h 722"/>
                <a:gd name="T46" fmla="*/ 691 w 755"/>
                <a:gd name="T47" fmla="*/ 658 h 722"/>
                <a:gd name="T48" fmla="*/ 64 w 755"/>
                <a:gd name="T49" fmla="*/ 658 h 722"/>
                <a:gd name="T50" fmla="*/ 64 w 755"/>
                <a:gd name="T51" fmla="*/ 491 h 722"/>
                <a:gd name="T52" fmla="*/ 182 w 755"/>
                <a:gd name="T53" fmla="*/ 373 h 722"/>
                <a:gd name="T54" fmla="*/ 346 w 755"/>
                <a:gd name="T55" fmla="*/ 373 h 722"/>
                <a:gd name="T56" fmla="*/ 346 w 755"/>
                <a:gd name="T57" fmla="*/ 454 h 722"/>
                <a:gd name="T58" fmla="*/ 378 w 755"/>
                <a:gd name="T59" fmla="*/ 486 h 722"/>
                <a:gd name="T60" fmla="*/ 410 w 755"/>
                <a:gd name="T61" fmla="*/ 454 h 722"/>
                <a:gd name="T62" fmla="*/ 410 w 755"/>
                <a:gd name="T63" fmla="*/ 373 h 722"/>
                <a:gd name="T64" fmla="*/ 573 w 755"/>
                <a:gd name="T65" fmla="*/ 373 h 722"/>
                <a:gd name="T66" fmla="*/ 691 w 755"/>
                <a:gd name="T67" fmla="*/ 491 h 722"/>
                <a:gd name="T68" fmla="*/ 691 w 755"/>
                <a:gd name="T69" fmla="*/ 658 h 722"/>
                <a:gd name="T70" fmla="*/ 691 w 755"/>
                <a:gd name="T71" fmla="*/ 658 h 722"/>
                <a:gd name="T72" fmla="*/ 691 w 755"/>
                <a:gd name="T73" fmla="*/ 658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5" h="722">
                  <a:moveTo>
                    <a:pt x="573" y="309"/>
                  </a:moveTo>
                  <a:cubicBezTo>
                    <a:pt x="510" y="309"/>
                    <a:pt x="510" y="309"/>
                    <a:pt x="510" y="309"/>
                  </a:cubicBezTo>
                  <a:cubicBezTo>
                    <a:pt x="533" y="280"/>
                    <a:pt x="547" y="243"/>
                    <a:pt x="547" y="203"/>
                  </a:cubicBezTo>
                  <a:cubicBezTo>
                    <a:pt x="547" y="169"/>
                    <a:pt x="547" y="169"/>
                    <a:pt x="547" y="169"/>
                  </a:cubicBezTo>
                  <a:cubicBezTo>
                    <a:pt x="547" y="76"/>
                    <a:pt x="471" y="0"/>
                    <a:pt x="378" y="0"/>
                  </a:cubicBezTo>
                  <a:cubicBezTo>
                    <a:pt x="284" y="0"/>
                    <a:pt x="208" y="76"/>
                    <a:pt x="208" y="169"/>
                  </a:cubicBezTo>
                  <a:cubicBezTo>
                    <a:pt x="208" y="203"/>
                    <a:pt x="208" y="203"/>
                    <a:pt x="208" y="203"/>
                  </a:cubicBezTo>
                  <a:cubicBezTo>
                    <a:pt x="208" y="243"/>
                    <a:pt x="222" y="280"/>
                    <a:pt x="245" y="309"/>
                  </a:cubicBezTo>
                  <a:cubicBezTo>
                    <a:pt x="182" y="309"/>
                    <a:pt x="182" y="309"/>
                    <a:pt x="182" y="309"/>
                  </a:cubicBezTo>
                  <a:cubicBezTo>
                    <a:pt x="82" y="309"/>
                    <a:pt x="0" y="390"/>
                    <a:pt x="0" y="491"/>
                  </a:cubicBezTo>
                  <a:cubicBezTo>
                    <a:pt x="0" y="690"/>
                    <a:pt x="0" y="690"/>
                    <a:pt x="0" y="690"/>
                  </a:cubicBezTo>
                  <a:cubicBezTo>
                    <a:pt x="0" y="708"/>
                    <a:pt x="15" y="722"/>
                    <a:pt x="32" y="722"/>
                  </a:cubicBezTo>
                  <a:cubicBezTo>
                    <a:pt x="723" y="722"/>
                    <a:pt x="723" y="722"/>
                    <a:pt x="723" y="722"/>
                  </a:cubicBezTo>
                  <a:cubicBezTo>
                    <a:pt x="741" y="722"/>
                    <a:pt x="755" y="708"/>
                    <a:pt x="755" y="690"/>
                  </a:cubicBezTo>
                  <a:cubicBezTo>
                    <a:pt x="755" y="491"/>
                    <a:pt x="755" y="491"/>
                    <a:pt x="755" y="491"/>
                  </a:cubicBezTo>
                  <a:cubicBezTo>
                    <a:pt x="755" y="390"/>
                    <a:pt x="674" y="309"/>
                    <a:pt x="573" y="309"/>
                  </a:cubicBezTo>
                  <a:close/>
                  <a:moveTo>
                    <a:pt x="272" y="169"/>
                  </a:moveTo>
                  <a:cubicBezTo>
                    <a:pt x="272" y="111"/>
                    <a:pt x="320" y="64"/>
                    <a:pt x="378" y="64"/>
                  </a:cubicBezTo>
                  <a:cubicBezTo>
                    <a:pt x="436" y="64"/>
                    <a:pt x="483" y="111"/>
                    <a:pt x="483" y="169"/>
                  </a:cubicBezTo>
                  <a:cubicBezTo>
                    <a:pt x="483" y="203"/>
                    <a:pt x="483" y="203"/>
                    <a:pt x="483" y="203"/>
                  </a:cubicBezTo>
                  <a:cubicBezTo>
                    <a:pt x="483" y="261"/>
                    <a:pt x="436" y="309"/>
                    <a:pt x="378" y="309"/>
                  </a:cubicBezTo>
                  <a:cubicBezTo>
                    <a:pt x="320" y="309"/>
                    <a:pt x="272" y="261"/>
                    <a:pt x="272" y="203"/>
                  </a:cubicBezTo>
                  <a:lnTo>
                    <a:pt x="272" y="169"/>
                  </a:lnTo>
                  <a:close/>
                  <a:moveTo>
                    <a:pt x="691" y="658"/>
                  </a:moveTo>
                  <a:cubicBezTo>
                    <a:pt x="64" y="658"/>
                    <a:pt x="64" y="658"/>
                    <a:pt x="64" y="658"/>
                  </a:cubicBezTo>
                  <a:cubicBezTo>
                    <a:pt x="64" y="491"/>
                    <a:pt x="64" y="491"/>
                    <a:pt x="64" y="491"/>
                  </a:cubicBezTo>
                  <a:cubicBezTo>
                    <a:pt x="64" y="426"/>
                    <a:pt x="117" y="373"/>
                    <a:pt x="182" y="373"/>
                  </a:cubicBezTo>
                  <a:cubicBezTo>
                    <a:pt x="346" y="373"/>
                    <a:pt x="346" y="373"/>
                    <a:pt x="346" y="373"/>
                  </a:cubicBezTo>
                  <a:cubicBezTo>
                    <a:pt x="346" y="454"/>
                    <a:pt x="346" y="454"/>
                    <a:pt x="346" y="454"/>
                  </a:cubicBezTo>
                  <a:cubicBezTo>
                    <a:pt x="346" y="471"/>
                    <a:pt x="360" y="486"/>
                    <a:pt x="378" y="486"/>
                  </a:cubicBezTo>
                  <a:cubicBezTo>
                    <a:pt x="395" y="486"/>
                    <a:pt x="410" y="471"/>
                    <a:pt x="410" y="454"/>
                  </a:cubicBezTo>
                  <a:cubicBezTo>
                    <a:pt x="410" y="373"/>
                    <a:pt x="410" y="373"/>
                    <a:pt x="410" y="373"/>
                  </a:cubicBezTo>
                  <a:cubicBezTo>
                    <a:pt x="573" y="373"/>
                    <a:pt x="573" y="373"/>
                    <a:pt x="573" y="373"/>
                  </a:cubicBezTo>
                  <a:cubicBezTo>
                    <a:pt x="638" y="373"/>
                    <a:pt x="691" y="426"/>
                    <a:pt x="691" y="491"/>
                  </a:cubicBezTo>
                  <a:lnTo>
                    <a:pt x="691" y="658"/>
                  </a:lnTo>
                  <a:close/>
                  <a:moveTo>
                    <a:pt x="691" y="658"/>
                  </a:moveTo>
                  <a:cubicBezTo>
                    <a:pt x="691" y="658"/>
                    <a:pt x="691" y="658"/>
                    <a:pt x="691" y="6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1"/>
            <p:cNvSpPr>
              <a:spLocks noEditPoints="1"/>
            </p:cNvSpPr>
            <p:nvPr/>
          </p:nvSpPr>
          <p:spPr bwMode="auto">
            <a:xfrm>
              <a:off x="2528" y="3775"/>
              <a:ext cx="121" cy="122"/>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8"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12"/>
            <p:cNvSpPr>
              <a:spLocks noEditPoints="1"/>
            </p:cNvSpPr>
            <p:nvPr/>
          </p:nvSpPr>
          <p:spPr bwMode="auto">
            <a:xfrm>
              <a:off x="3488" y="1051"/>
              <a:ext cx="1487" cy="1611"/>
            </a:xfrm>
            <a:custGeom>
              <a:avLst/>
              <a:gdLst>
                <a:gd name="T0" fmla="*/ 563 w 785"/>
                <a:gd name="T1" fmla="*/ 0 h 851"/>
                <a:gd name="T2" fmla="*/ 32 w 785"/>
                <a:gd name="T3" fmla="*/ 0 h 851"/>
                <a:gd name="T4" fmla="*/ 0 w 785"/>
                <a:gd name="T5" fmla="*/ 32 h 851"/>
                <a:gd name="T6" fmla="*/ 32 w 785"/>
                <a:gd name="T7" fmla="*/ 64 h 851"/>
                <a:gd name="T8" fmla="*/ 563 w 785"/>
                <a:gd name="T9" fmla="*/ 64 h 851"/>
                <a:gd name="T10" fmla="*/ 721 w 785"/>
                <a:gd name="T11" fmla="*/ 223 h 851"/>
                <a:gd name="T12" fmla="*/ 721 w 785"/>
                <a:gd name="T13" fmla="*/ 509 h 851"/>
                <a:gd name="T14" fmla="*/ 563 w 785"/>
                <a:gd name="T15" fmla="*/ 668 h 851"/>
                <a:gd name="T16" fmla="*/ 416 w 785"/>
                <a:gd name="T17" fmla="*/ 668 h 851"/>
                <a:gd name="T18" fmla="*/ 384 w 785"/>
                <a:gd name="T19" fmla="*/ 700 h 851"/>
                <a:gd name="T20" fmla="*/ 384 w 785"/>
                <a:gd name="T21" fmla="*/ 742 h 851"/>
                <a:gd name="T22" fmla="*/ 320 w 785"/>
                <a:gd name="T23" fmla="*/ 677 h 851"/>
                <a:gd name="T24" fmla="*/ 297 w 785"/>
                <a:gd name="T25" fmla="*/ 668 h 851"/>
                <a:gd name="T26" fmla="*/ 228 w 785"/>
                <a:gd name="T27" fmla="*/ 668 h 851"/>
                <a:gd name="T28" fmla="*/ 196 w 785"/>
                <a:gd name="T29" fmla="*/ 700 h 851"/>
                <a:gd name="T30" fmla="*/ 228 w 785"/>
                <a:gd name="T31" fmla="*/ 732 h 851"/>
                <a:gd name="T32" fmla="*/ 284 w 785"/>
                <a:gd name="T33" fmla="*/ 732 h 851"/>
                <a:gd name="T34" fmla="*/ 394 w 785"/>
                <a:gd name="T35" fmla="*/ 842 h 851"/>
                <a:gd name="T36" fmla="*/ 416 w 785"/>
                <a:gd name="T37" fmla="*/ 851 h 851"/>
                <a:gd name="T38" fmla="*/ 429 w 785"/>
                <a:gd name="T39" fmla="*/ 849 h 851"/>
                <a:gd name="T40" fmla="*/ 448 w 785"/>
                <a:gd name="T41" fmla="*/ 819 h 851"/>
                <a:gd name="T42" fmla="*/ 448 w 785"/>
                <a:gd name="T43" fmla="*/ 732 h 851"/>
                <a:gd name="T44" fmla="*/ 563 w 785"/>
                <a:gd name="T45" fmla="*/ 732 h 851"/>
                <a:gd name="T46" fmla="*/ 785 w 785"/>
                <a:gd name="T47" fmla="*/ 509 h 851"/>
                <a:gd name="T48" fmla="*/ 785 w 785"/>
                <a:gd name="T49" fmla="*/ 223 h 851"/>
                <a:gd name="T50" fmla="*/ 563 w 785"/>
                <a:gd name="T51" fmla="*/ 0 h 851"/>
                <a:gd name="T52" fmla="*/ 563 w 785"/>
                <a:gd name="T53" fmla="*/ 0 h 851"/>
                <a:gd name="T54" fmla="*/ 563 w 785"/>
                <a:gd name="T55" fmla="*/ 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85" h="851">
                  <a:moveTo>
                    <a:pt x="563" y="0"/>
                  </a:moveTo>
                  <a:cubicBezTo>
                    <a:pt x="32" y="0"/>
                    <a:pt x="32" y="0"/>
                    <a:pt x="32" y="0"/>
                  </a:cubicBezTo>
                  <a:cubicBezTo>
                    <a:pt x="14" y="0"/>
                    <a:pt x="0" y="14"/>
                    <a:pt x="0" y="32"/>
                  </a:cubicBezTo>
                  <a:cubicBezTo>
                    <a:pt x="0" y="50"/>
                    <a:pt x="14" y="64"/>
                    <a:pt x="32" y="64"/>
                  </a:cubicBezTo>
                  <a:cubicBezTo>
                    <a:pt x="563" y="64"/>
                    <a:pt x="563" y="64"/>
                    <a:pt x="563" y="64"/>
                  </a:cubicBezTo>
                  <a:cubicBezTo>
                    <a:pt x="650" y="64"/>
                    <a:pt x="721" y="135"/>
                    <a:pt x="721" y="223"/>
                  </a:cubicBezTo>
                  <a:cubicBezTo>
                    <a:pt x="721" y="509"/>
                    <a:pt x="721" y="509"/>
                    <a:pt x="721" y="509"/>
                  </a:cubicBezTo>
                  <a:cubicBezTo>
                    <a:pt x="721" y="597"/>
                    <a:pt x="650" y="668"/>
                    <a:pt x="563" y="668"/>
                  </a:cubicBezTo>
                  <a:cubicBezTo>
                    <a:pt x="416" y="668"/>
                    <a:pt x="416" y="668"/>
                    <a:pt x="416" y="668"/>
                  </a:cubicBezTo>
                  <a:cubicBezTo>
                    <a:pt x="399" y="668"/>
                    <a:pt x="384" y="682"/>
                    <a:pt x="384" y="700"/>
                  </a:cubicBezTo>
                  <a:cubicBezTo>
                    <a:pt x="384" y="742"/>
                    <a:pt x="384" y="742"/>
                    <a:pt x="384" y="742"/>
                  </a:cubicBezTo>
                  <a:cubicBezTo>
                    <a:pt x="320" y="677"/>
                    <a:pt x="320" y="677"/>
                    <a:pt x="320" y="677"/>
                  </a:cubicBezTo>
                  <a:cubicBezTo>
                    <a:pt x="314" y="671"/>
                    <a:pt x="306" y="668"/>
                    <a:pt x="297" y="668"/>
                  </a:cubicBezTo>
                  <a:cubicBezTo>
                    <a:pt x="228" y="668"/>
                    <a:pt x="228" y="668"/>
                    <a:pt x="228" y="668"/>
                  </a:cubicBezTo>
                  <a:cubicBezTo>
                    <a:pt x="210" y="668"/>
                    <a:pt x="196" y="682"/>
                    <a:pt x="196" y="700"/>
                  </a:cubicBezTo>
                  <a:cubicBezTo>
                    <a:pt x="196" y="718"/>
                    <a:pt x="210" y="732"/>
                    <a:pt x="228" y="732"/>
                  </a:cubicBezTo>
                  <a:cubicBezTo>
                    <a:pt x="284" y="732"/>
                    <a:pt x="284" y="732"/>
                    <a:pt x="284" y="732"/>
                  </a:cubicBezTo>
                  <a:cubicBezTo>
                    <a:pt x="394" y="842"/>
                    <a:pt x="394" y="842"/>
                    <a:pt x="394" y="842"/>
                  </a:cubicBezTo>
                  <a:cubicBezTo>
                    <a:pt x="400" y="848"/>
                    <a:pt x="408" y="851"/>
                    <a:pt x="416" y="851"/>
                  </a:cubicBezTo>
                  <a:cubicBezTo>
                    <a:pt x="421" y="851"/>
                    <a:pt x="425" y="850"/>
                    <a:pt x="429" y="849"/>
                  </a:cubicBezTo>
                  <a:cubicBezTo>
                    <a:pt x="441" y="844"/>
                    <a:pt x="448" y="832"/>
                    <a:pt x="448" y="819"/>
                  </a:cubicBezTo>
                  <a:cubicBezTo>
                    <a:pt x="448" y="732"/>
                    <a:pt x="448" y="732"/>
                    <a:pt x="448" y="732"/>
                  </a:cubicBezTo>
                  <a:cubicBezTo>
                    <a:pt x="563" y="732"/>
                    <a:pt x="563" y="732"/>
                    <a:pt x="563" y="732"/>
                  </a:cubicBezTo>
                  <a:cubicBezTo>
                    <a:pt x="685" y="732"/>
                    <a:pt x="785" y="632"/>
                    <a:pt x="785" y="509"/>
                  </a:cubicBezTo>
                  <a:cubicBezTo>
                    <a:pt x="785" y="223"/>
                    <a:pt x="785" y="223"/>
                    <a:pt x="785" y="223"/>
                  </a:cubicBezTo>
                  <a:cubicBezTo>
                    <a:pt x="785" y="100"/>
                    <a:pt x="685" y="0"/>
                    <a:pt x="563" y="0"/>
                  </a:cubicBezTo>
                  <a:close/>
                  <a:moveTo>
                    <a:pt x="563" y="0"/>
                  </a:moveTo>
                  <a:cubicBezTo>
                    <a:pt x="563" y="0"/>
                    <a:pt x="563" y="0"/>
                    <a:pt x="5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13"/>
            <p:cNvSpPr>
              <a:spLocks noEditPoints="1"/>
            </p:cNvSpPr>
            <p:nvPr/>
          </p:nvSpPr>
          <p:spPr bwMode="auto">
            <a:xfrm>
              <a:off x="2261" y="1602"/>
              <a:ext cx="1017" cy="655"/>
            </a:xfrm>
            <a:custGeom>
              <a:avLst/>
              <a:gdLst>
                <a:gd name="T0" fmla="*/ 505 w 537"/>
                <a:gd name="T1" fmla="*/ 0 h 346"/>
                <a:gd name="T2" fmla="*/ 434 w 537"/>
                <a:gd name="T3" fmla="*/ 0 h 346"/>
                <a:gd name="T4" fmla="*/ 402 w 537"/>
                <a:gd name="T5" fmla="*/ 32 h 346"/>
                <a:gd name="T6" fmla="*/ 429 w 537"/>
                <a:gd name="T7" fmla="*/ 63 h 346"/>
                <a:gd name="T8" fmla="*/ 312 w 537"/>
                <a:gd name="T9" fmla="*/ 180 h 346"/>
                <a:gd name="T10" fmla="*/ 241 w 537"/>
                <a:gd name="T11" fmla="*/ 109 h 346"/>
                <a:gd name="T12" fmla="*/ 195 w 537"/>
                <a:gd name="T13" fmla="*/ 109 h 346"/>
                <a:gd name="T14" fmla="*/ 13 w 537"/>
                <a:gd name="T15" fmla="*/ 292 h 346"/>
                <a:gd name="T16" fmla="*/ 13 w 537"/>
                <a:gd name="T17" fmla="*/ 337 h 346"/>
                <a:gd name="T18" fmla="*/ 35 w 537"/>
                <a:gd name="T19" fmla="*/ 346 h 346"/>
                <a:gd name="T20" fmla="*/ 58 w 537"/>
                <a:gd name="T21" fmla="*/ 337 h 346"/>
                <a:gd name="T22" fmla="*/ 218 w 537"/>
                <a:gd name="T23" fmla="*/ 177 h 346"/>
                <a:gd name="T24" fmla="*/ 289 w 537"/>
                <a:gd name="T25" fmla="*/ 248 h 346"/>
                <a:gd name="T26" fmla="*/ 334 w 537"/>
                <a:gd name="T27" fmla="*/ 248 h 346"/>
                <a:gd name="T28" fmla="*/ 474 w 537"/>
                <a:gd name="T29" fmla="*/ 108 h 346"/>
                <a:gd name="T30" fmla="*/ 505 w 537"/>
                <a:gd name="T31" fmla="*/ 135 h 346"/>
                <a:gd name="T32" fmla="*/ 537 w 537"/>
                <a:gd name="T33" fmla="*/ 103 h 346"/>
                <a:gd name="T34" fmla="*/ 537 w 537"/>
                <a:gd name="T35" fmla="*/ 32 h 346"/>
                <a:gd name="T36" fmla="*/ 505 w 537"/>
                <a:gd name="T37" fmla="*/ 0 h 346"/>
                <a:gd name="T38" fmla="*/ 505 w 537"/>
                <a:gd name="T39" fmla="*/ 0 h 346"/>
                <a:gd name="T40" fmla="*/ 505 w 537"/>
                <a:gd name="T41"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7" h="346">
                  <a:moveTo>
                    <a:pt x="505" y="0"/>
                  </a:moveTo>
                  <a:cubicBezTo>
                    <a:pt x="434" y="0"/>
                    <a:pt x="434" y="0"/>
                    <a:pt x="434" y="0"/>
                  </a:cubicBezTo>
                  <a:cubicBezTo>
                    <a:pt x="416" y="0"/>
                    <a:pt x="402" y="14"/>
                    <a:pt x="402" y="32"/>
                  </a:cubicBezTo>
                  <a:cubicBezTo>
                    <a:pt x="402" y="48"/>
                    <a:pt x="413" y="61"/>
                    <a:pt x="429" y="63"/>
                  </a:cubicBezTo>
                  <a:cubicBezTo>
                    <a:pt x="312" y="180"/>
                    <a:pt x="312" y="180"/>
                    <a:pt x="312" y="180"/>
                  </a:cubicBezTo>
                  <a:cubicBezTo>
                    <a:pt x="241" y="109"/>
                    <a:pt x="241" y="109"/>
                    <a:pt x="241" y="109"/>
                  </a:cubicBezTo>
                  <a:cubicBezTo>
                    <a:pt x="228" y="97"/>
                    <a:pt x="208" y="97"/>
                    <a:pt x="195" y="109"/>
                  </a:cubicBezTo>
                  <a:cubicBezTo>
                    <a:pt x="13" y="292"/>
                    <a:pt x="13" y="292"/>
                    <a:pt x="13" y="292"/>
                  </a:cubicBezTo>
                  <a:cubicBezTo>
                    <a:pt x="0" y="304"/>
                    <a:pt x="0" y="324"/>
                    <a:pt x="13" y="337"/>
                  </a:cubicBezTo>
                  <a:cubicBezTo>
                    <a:pt x="19" y="343"/>
                    <a:pt x="27" y="346"/>
                    <a:pt x="35" y="346"/>
                  </a:cubicBezTo>
                  <a:cubicBezTo>
                    <a:pt x="44" y="346"/>
                    <a:pt x="52" y="343"/>
                    <a:pt x="58" y="337"/>
                  </a:cubicBezTo>
                  <a:cubicBezTo>
                    <a:pt x="218" y="177"/>
                    <a:pt x="218" y="177"/>
                    <a:pt x="218" y="177"/>
                  </a:cubicBezTo>
                  <a:cubicBezTo>
                    <a:pt x="289" y="248"/>
                    <a:pt x="289" y="248"/>
                    <a:pt x="289" y="248"/>
                  </a:cubicBezTo>
                  <a:cubicBezTo>
                    <a:pt x="301" y="261"/>
                    <a:pt x="322" y="261"/>
                    <a:pt x="334" y="248"/>
                  </a:cubicBezTo>
                  <a:cubicBezTo>
                    <a:pt x="474" y="108"/>
                    <a:pt x="474" y="108"/>
                    <a:pt x="474" y="108"/>
                  </a:cubicBezTo>
                  <a:cubicBezTo>
                    <a:pt x="476" y="124"/>
                    <a:pt x="489" y="135"/>
                    <a:pt x="505" y="135"/>
                  </a:cubicBezTo>
                  <a:cubicBezTo>
                    <a:pt x="523" y="135"/>
                    <a:pt x="537" y="121"/>
                    <a:pt x="537" y="103"/>
                  </a:cubicBezTo>
                  <a:cubicBezTo>
                    <a:pt x="537" y="32"/>
                    <a:pt x="537" y="32"/>
                    <a:pt x="537" y="32"/>
                  </a:cubicBezTo>
                  <a:cubicBezTo>
                    <a:pt x="537" y="14"/>
                    <a:pt x="523" y="0"/>
                    <a:pt x="505" y="0"/>
                  </a:cubicBezTo>
                  <a:close/>
                  <a:moveTo>
                    <a:pt x="505" y="0"/>
                  </a:moveTo>
                  <a:cubicBezTo>
                    <a:pt x="505" y="0"/>
                    <a:pt x="505" y="0"/>
                    <a:pt x="5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4"/>
            <p:cNvSpPr>
              <a:spLocks noEditPoints="1"/>
            </p:cNvSpPr>
            <p:nvPr/>
          </p:nvSpPr>
          <p:spPr bwMode="auto">
            <a:xfrm>
              <a:off x="3844" y="1960"/>
              <a:ext cx="417" cy="121"/>
            </a:xfrm>
            <a:custGeom>
              <a:avLst/>
              <a:gdLst>
                <a:gd name="T0" fmla="*/ 188 w 220"/>
                <a:gd name="T1" fmla="*/ 0 h 64"/>
                <a:gd name="T2" fmla="*/ 32 w 220"/>
                <a:gd name="T3" fmla="*/ 0 h 64"/>
                <a:gd name="T4" fmla="*/ 0 w 220"/>
                <a:gd name="T5" fmla="*/ 32 h 64"/>
                <a:gd name="T6" fmla="*/ 32 w 220"/>
                <a:gd name="T7" fmla="*/ 64 h 64"/>
                <a:gd name="T8" fmla="*/ 188 w 220"/>
                <a:gd name="T9" fmla="*/ 64 h 64"/>
                <a:gd name="T10" fmla="*/ 220 w 220"/>
                <a:gd name="T11" fmla="*/ 32 h 64"/>
                <a:gd name="T12" fmla="*/ 188 w 220"/>
                <a:gd name="T13" fmla="*/ 0 h 64"/>
                <a:gd name="T14" fmla="*/ 188 w 220"/>
                <a:gd name="T15" fmla="*/ 0 h 64"/>
                <a:gd name="T16" fmla="*/ 188 w 22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64">
                  <a:moveTo>
                    <a:pt x="188" y="0"/>
                  </a:moveTo>
                  <a:cubicBezTo>
                    <a:pt x="32" y="0"/>
                    <a:pt x="32" y="0"/>
                    <a:pt x="32" y="0"/>
                  </a:cubicBezTo>
                  <a:cubicBezTo>
                    <a:pt x="14" y="0"/>
                    <a:pt x="0" y="14"/>
                    <a:pt x="0" y="32"/>
                  </a:cubicBezTo>
                  <a:cubicBezTo>
                    <a:pt x="0" y="50"/>
                    <a:pt x="14" y="64"/>
                    <a:pt x="32" y="64"/>
                  </a:cubicBezTo>
                  <a:cubicBezTo>
                    <a:pt x="188" y="64"/>
                    <a:pt x="188" y="64"/>
                    <a:pt x="188" y="64"/>
                  </a:cubicBezTo>
                  <a:cubicBezTo>
                    <a:pt x="205" y="64"/>
                    <a:pt x="220" y="50"/>
                    <a:pt x="220" y="32"/>
                  </a:cubicBezTo>
                  <a:cubicBezTo>
                    <a:pt x="220" y="14"/>
                    <a:pt x="205" y="0"/>
                    <a:pt x="188" y="0"/>
                  </a:cubicBezTo>
                  <a:close/>
                  <a:moveTo>
                    <a:pt x="188" y="0"/>
                  </a:moveTo>
                  <a:cubicBezTo>
                    <a:pt x="188" y="0"/>
                    <a:pt x="188" y="0"/>
                    <a:pt x="1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5"/>
            <p:cNvSpPr>
              <a:spLocks noEditPoints="1"/>
            </p:cNvSpPr>
            <p:nvPr/>
          </p:nvSpPr>
          <p:spPr bwMode="auto">
            <a:xfrm>
              <a:off x="4394" y="1960"/>
              <a:ext cx="121" cy="121"/>
            </a:xfrm>
            <a:custGeom>
              <a:avLst/>
              <a:gdLst>
                <a:gd name="T0" fmla="*/ 55 w 64"/>
                <a:gd name="T1" fmla="*/ 9 h 64"/>
                <a:gd name="T2" fmla="*/ 32 w 64"/>
                <a:gd name="T3" fmla="*/ 0 h 64"/>
                <a:gd name="T4" fmla="*/ 10 w 64"/>
                <a:gd name="T5" fmla="*/ 9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4"/>
                    <a:pt x="0" y="32"/>
                  </a:cubicBezTo>
                  <a:cubicBezTo>
                    <a:pt x="0" y="40"/>
                    <a:pt x="4" y="49"/>
                    <a:pt x="10" y="55"/>
                  </a:cubicBezTo>
                  <a:cubicBezTo>
                    <a:pt x="16" y="61"/>
                    <a:pt x="24" y="64"/>
                    <a:pt x="32" y="64"/>
                  </a:cubicBezTo>
                  <a:cubicBezTo>
                    <a:pt x="41"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6"/>
            <p:cNvSpPr>
              <a:spLocks noEditPoints="1"/>
            </p:cNvSpPr>
            <p:nvPr/>
          </p:nvSpPr>
          <p:spPr bwMode="auto">
            <a:xfrm>
              <a:off x="3844" y="1379"/>
              <a:ext cx="805" cy="121"/>
            </a:xfrm>
            <a:custGeom>
              <a:avLst/>
              <a:gdLst>
                <a:gd name="T0" fmla="*/ 393 w 425"/>
                <a:gd name="T1" fmla="*/ 0 h 64"/>
                <a:gd name="T2" fmla="*/ 32 w 425"/>
                <a:gd name="T3" fmla="*/ 0 h 64"/>
                <a:gd name="T4" fmla="*/ 0 w 425"/>
                <a:gd name="T5" fmla="*/ 32 h 64"/>
                <a:gd name="T6" fmla="*/ 32 w 425"/>
                <a:gd name="T7" fmla="*/ 64 h 64"/>
                <a:gd name="T8" fmla="*/ 393 w 425"/>
                <a:gd name="T9" fmla="*/ 64 h 64"/>
                <a:gd name="T10" fmla="*/ 425 w 425"/>
                <a:gd name="T11" fmla="*/ 32 h 64"/>
                <a:gd name="T12" fmla="*/ 393 w 425"/>
                <a:gd name="T13" fmla="*/ 0 h 64"/>
                <a:gd name="T14" fmla="*/ 393 w 425"/>
                <a:gd name="T15" fmla="*/ 0 h 64"/>
                <a:gd name="T16" fmla="*/ 393 w 42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64">
                  <a:moveTo>
                    <a:pt x="393" y="0"/>
                  </a:moveTo>
                  <a:cubicBezTo>
                    <a:pt x="32" y="0"/>
                    <a:pt x="32" y="0"/>
                    <a:pt x="32" y="0"/>
                  </a:cubicBezTo>
                  <a:cubicBezTo>
                    <a:pt x="14" y="0"/>
                    <a:pt x="0" y="14"/>
                    <a:pt x="0" y="32"/>
                  </a:cubicBezTo>
                  <a:cubicBezTo>
                    <a:pt x="0" y="49"/>
                    <a:pt x="14" y="64"/>
                    <a:pt x="32" y="64"/>
                  </a:cubicBezTo>
                  <a:cubicBezTo>
                    <a:pt x="393" y="64"/>
                    <a:pt x="393" y="64"/>
                    <a:pt x="393" y="64"/>
                  </a:cubicBezTo>
                  <a:cubicBezTo>
                    <a:pt x="410" y="64"/>
                    <a:pt x="425" y="49"/>
                    <a:pt x="425" y="32"/>
                  </a:cubicBezTo>
                  <a:cubicBezTo>
                    <a:pt x="425" y="14"/>
                    <a:pt x="410" y="0"/>
                    <a:pt x="393" y="0"/>
                  </a:cubicBezTo>
                  <a:close/>
                  <a:moveTo>
                    <a:pt x="393" y="0"/>
                  </a:moveTo>
                  <a:cubicBezTo>
                    <a:pt x="393" y="0"/>
                    <a:pt x="393" y="0"/>
                    <a:pt x="3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7"/>
            <p:cNvSpPr>
              <a:spLocks noEditPoints="1"/>
            </p:cNvSpPr>
            <p:nvPr/>
          </p:nvSpPr>
          <p:spPr bwMode="auto">
            <a:xfrm>
              <a:off x="3844" y="1668"/>
              <a:ext cx="805" cy="121"/>
            </a:xfrm>
            <a:custGeom>
              <a:avLst/>
              <a:gdLst>
                <a:gd name="T0" fmla="*/ 393 w 425"/>
                <a:gd name="T1" fmla="*/ 0 h 64"/>
                <a:gd name="T2" fmla="*/ 32 w 425"/>
                <a:gd name="T3" fmla="*/ 0 h 64"/>
                <a:gd name="T4" fmla="*/ 0 w 425"/>
                <a:gd name="T5" fmla="*/ 32 h 64"/>
                <a:gd name="T6" fmla="*/ 32 w 425"/>
                <a:gd name="T7" fmla="*/ 64 h 64"/>
                <a:gd name="T8" fmla="*/ 393 w 425"/>
                <a:gd name="T9" fmla="*/ 64 h 64"/>
                <a:gd name="T10" fmla="*/ 425 w 425"/>
                <a:gd name="T11" fmla="*/ 32 h 64"/>
                <a:gd name="T12" fmla="*/ 393 w 425"/>
                <a:gd name="T13" fmla="*/ 0 h 64"/>
                <a:gd name="T14" fmla="*/ 393 w 425"/>
                <a:gd name="T15" fmla="*/ 0 h 64"/>
                <a:gd name="T16" fmla="*/ 393 w 42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64">
                  <a:moveTo>
                    <a:pt x="393" y="0"/>
                  </a:moveTo>
                  <a:cubicBezTo>
                    <a:pt x="32" y="0"/>
                    <a:pt x="32" y="0"/>
                    <a:pt x="32" y="0"/>
                  </a:cubicBezTo>
                  <a:cubicBezTo>
                    <a:pt x="14" y="0"/>
                    <a:pt x="0" y="15"/>
                    <a:pt x="0" y="32"/>
                  </a:cubicBezTo>
                  <a:cubicBezTo>
                    <a:pt x="0" y="50"/>
                    <a:pt x="14" y="64"/>
                    <a:pt x="32" y="64"/>
                  </a:cubicBezTo>
                  <a:cubicBezTo>
                    <a:pt x="393" y="64"/>
                    <a:pt x="393" y="64"/>
                    <a:pt x="393" y="64"/>
                  </a:cubicBezTo>
                  <a:cubicBezTo>
                    <a:pt x="410" y="64"/>
                    <a:pt x="425" y="50"/>
                    <a:pt x="425" y="32"/>
                  </a:cubicBezTo>
                  <a:cubicBezTo>
                    <a:pt x="425" y="15"/>
                    <a:pt x="410" y="0"/>
                    <a:pt x="393" y="0"/>
                  </a:cubicBezTo>
                  <a:close/>
                  <a:moveTo>
                    <a:pt x="393" y="0"/>
                  </a:moveTo>
                  <a:cubicBezTo>
                    <a:pt x="393" y="0"/>
                    <a:pt x="393" y="0"/>
                    <a:pt x="3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0" name="Group 147"/>
          <p:cNvGrpSpPr>
            <a:grpSpLocks noChangeAspect="1"/>
          </p:cNvGrpSpPr>
          <p:nvPr/>
        </p:nvGrpSpPr>
        <p:grpSpPr bwMode="auto">
          <a:xfrm>
            <a:off x="5774409" y="2984382"/>
            <a:ext cx="457053" cy="457200"/>
            <a:chOff x="2629" y="1806"/>
            <a:chExt cx="3101" cy="3102"/>
          </a:xfrm>
          <a:solidFill>
            <a:schemeClr val="accent1"/>
          </a:solidFill>
        </p:grpSpPr>
        <p:sp>
          <p:nvSpPr>
            <p:cNvPr id="152" name="Freeform 148"/>
            <p:cNvSpPr>
              <a:spLocks noEditPoints="1"/>
            </p:cNvSpPr>
            <p:nvPr/>
          </p:nvSpPr>
          <p:spPr bwMode="auto">
            <a:xfrm>
              <a:off x="2629" y="2048"/>
              <a:ext cx="1066" cy="2534"/>
            </a:xfrm>
            <a:custGeom>
              <a:avLst/>
              <a:gdLst>
                <a:gd name="T0" fmla="*/ 390 w 563"/>
                <a:gd name="T1" fmla="*/ 239 h 1338"/>
                <a:gd name="T2" fmla="*/ 416 w 563"/>
                <a:gd name="T3" fmla="*/ 160 h 1338"/>
                <a:gd name="T4" fmla="*/ 416 w 563"/>
                <a:gd name="T5" fmla="*/ 134 h 1338"/>
                <a:gd name="T6" fmla="*/ 282 w 563"/>
                <a:gd name="T7" fmla="*/ 0 h 1338"/>
                <a:gd name="T8" fmla="*/ 147 w 563"/>
                <a:gd name="T9" fmla="*/ 134 h 1338"/>
                <a:gd name="T10" fmla="*/ 147 w 563"/>
                <a:gd name="T11" fmla="*/ 160 h 1338"/>
                <a:gd name="T12" fmla="*/ 173 w 563"/>
                <a:gd name="T13" fmla="*/ 239 h 1338"/>
                <a:gd name="T14" fmla="*/ 0 w 563"/>
                <a:gd name="T15" fmla="*/ 467 h 1338"/>
                <a:gd name="T16" fmla="*/ 0 w 563"/>
                <a:gd name="T17" fmla="*/ 710 h 1338"/>
                <a:gd name="T18" fmla="*/ 96 w 563"/>
                <a:gd name="T19" fmla="*/ 806 h 1338"/>
                <a:gd name="T20" fmla="*/ 122 w 563"/>
                <a:gd name="T21" fmla="*/ 806 h 1338"/>
                <a:gd name="T22" fmla="*/ 122 w 563"/>
                <a:gd name="T23" fmla="*/ 1306 h 1338"/>
                <a:gd name="T24" fmla="*/ 154 w 563"/>
                <a:gd name="T25" fmla="*/ 1338 h 1338"/>
                <a:gd name="T26" fmla="*/ 410 w 563"/>
                <a:gd name="T27" fmla="*/ 1338 h 1338"/>
                <a:gd name="T28" fmla="*/ 442 w 563"/>
                <a:gd name="T29" fmla="*/ 1306 h 1338"/>
                <a:gd name="T30" fmla="*/ 442 w 563"/>
                <a:gd name="T31" fmla="*/ 1162 h 1338"/>
                <a:gd name="T32" fmla="*/ 410 w 563"/>
                <a:gd name="T33" fmla="*/ 1130 h 1338"/>
                <a:gd name="T34" fmla="*/ 378 w 563"/>
                <a:gd name="T35" fmla="*/ 1162 h 1338"/>
                <a:gd name="T36" fmla="*/ 378 w 563"/>
                <a:gd name="T37" fmla="*/ 1274 h 1338"/>
                <a:gd name="T38" fmla="*/ 314 w 563"/>
                <a:gd name="T39" fmla="*/ 1274 h 1338"/>
                <a:gd name="T40" fmla="*/ 314 w 563"/>
                <a:gd name="T41" fmla="*/ 797 h 1338"/>
                <a:gd name="T42" fmla="*/ 282 w 563"/>
                <a:gd name="T43" fmla="*/ 765 h 1338"/>
                <a:gd name="T44" fmla="*/ 250 w 563"/>
                <a:gd name="T45" fmla="*/ 797 h 1338"/>
                <a:gd name="T46" fmla="*/ 250 w 563"/>
                <a:gd name="T47" fmla="*/ 1274 h 1338"/>
                <a:gd name="T48" fmla="*/ 186 w 563"/>
                <a:gd name="T49" fmla="*/ 1274 h 1338"/>
                <a:gd name="T50" fmla="*/ 186 w 563"/>
                <a:gd name="T51" fmla="*/ 648 h 1338"/>
                <a:gd name="T52" fmla="*/ 378 w 563"/>
                <a:gd name="T53" fmla="*/ 648 h 1338"/>
                <a:gd name="T54" fmla="*/ 378 w 563"/>
                <a:gd name="T55" fmla="*/ 914 h 1338"/>
                <a:gd name="T56" fmla="*/ 410 w 563"/>
                <a:gd name="T57" fmla="*/ 946 h 1338"/>
                <a:gd name="T58" fmla="*/ 442 w 563"/>
                <a:gd name="T59" fmla="*/ 914 h 1338"/>
                <a:gd name="T60" fmla="*/ 442 w 563"/>
                <a:gd name="T61" fmla="*/ 806 h 1338"/>
                <a:gd name="T62" fmla="*/ 467 w 563"/>
                <a:gd name="T63" fmla="*/ 806 h 1338"/>
                <a:gd name="T64" fmla="*/ 563 w 563"/>
                <a:gd name="T65" fmla="*/ 710 h 1338"/>
                <a:gd name="T66" fmla="*/ 563 w 563"/>
                <a:gd name="T67" fmla="*/ 467 h 1338"/>
                <a:gd name="T68" fmla="*/ 390 w 563"/>
                <a:gd name="T69" fmla="*/ 239 h 1338"/>
                <a:gd name="T70" fmla="*/ 211 w 563"/>
                <a:gd name="T71" fmla="*/ 134 h 1338"/>
                <a:gd name="T72" fmla="*/ 282 w 563"/>
                <a:gd name="T73" fmla="*/ 64 h 1338"/>
                <a:gd name="T74" fmla="*/ 352 w 563"/>
                <a:gd name="T75" fmla="*/ 134 h 1338"/>
                <a:gd name="T76" fmla="*/ 352 w 563"/>
                <a:gd name="T77" fmla="*/ 160 h 1338"/>
                <a:gd name="T78" fmla="*/ 282 w 563"/>
                <a:gd name="T79" fmla="*/ 230 h 1338"/>
                <a:gd name="T80" fmla="*/ 211 w 563"/>
                <a:gd name="T81" fmla="*/ 160 h 1338"/>
                <a:gd name="T82" fmla="*/ 211 w 563"/>
                <a:gd name="T83" fmla="*/ 134 h 1338"/>
                <a:gd name="T84" fmla="*/ 499 w 563"/>
                <a:gd name="T85" fmla="*/ 710 h 1338"/>
                <a:gd name="T86" fmla="*/ 467 w 563"/>
                <a:gd name="T87" fmla="*/ 742 h 1338"/>
                <a:gd name="T88" fmla="*/ 442 w 563"/>
                <a:gd name="T89" fmla="*/ 742 h 1338"/>
                <a:gd name="T90" fmla="*/ 442 w 563"/>
                <a:gd name="T91" fmla="*/ 480 h 1338"/>
                <a:gd name="T92" fmla="*/ 410 w 563"/>
                <a:gd name="T93" fmla="*/ 448 h 1338"/>
                <a:gd name="T94" fmla="*/ 378 w 563"/>
                <a:gd name="T95" fmla="*/ 480 h 1338"/>
                <a:gd name="T96" fmla="*/ 378 w 563"/>
                <a:gd name="T97" fmla="*/ 583 h 1338"/>
                <a:gd name="T98" fmla="*/ 186 w 563"/>
                <a:gd name="T99" fmla="*/ 583 h 1338"/>
                <a:gd name="T100" fmla="*/ 186 w 563"/>
                <a:gd name="T101" fmla="*/ 480 h 1338"/>
                <a:gd name="T102" fmla="*/ 154 w 563"/>
                <a:gd name="T103" fmla="*/ 448 h 1338"/>
                <a:gd name="T104" fmla="*/ 122 w 563"/>
                <a:gd name="T105" fmla="*/ 480 h 1338"/>
                <a:gd name="T106" fmla="*/ 122 w 563"/>
                <a:gd name="T107" fmla="*/ 742 h 1338"/>
                <a:gd name="T108" fmla="*/ 96 w 563"/>
                <a:gd name="T109" fmla="*/ 742 h 1338"/>
                <a:gd name="T110" fmla="*/ 64 w 563"/>
                <a:gd name="T111" fmla="*/ 710 h 1338"/>
                <a:gd name="T112" fmla="*/ 64 w 563"/>
                <a:gd name="T113" fmla="*/ 467 h 1338"/>
                <a:gd name="T114" fmla="*/ 237 w 563"/>
                <a:gd name="T115" fmla="*/ 294 h 1338"/>
                <a:gd name="T116" fmla="*/ 326 w 563"/>
                <a:gd name="T117" fmla="*/ 294 h 1338"/>
                <a:gd name="T118" fmla="*/ 499 w 563"/>
                <a:gd name="T119" fmla="*/ 467 h 1338"/>
                <a:gd name="T120" fmla="*/ 499 w 563"/>
                <a:gd name="T121" fmla="*/ 710 h 1338"/>
                <a:gd name="T122" fmla="*/ 499 w 563"/>
                <a:gd name="T123" fmla="*/ 710 h 1338"/>
                <a:gd name="T124" fmla="*/ 499 w 563"/>
                <a:gd name="T125" fmla="*/ 710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3" h="1338">
                  <a:moveTo>
                    <a:pt x="390" y="239"/>
                  </a:moveTo>
                  <a:cubicBezTo>
                    <a:pt x="406" y="217"/>
                    <a:pt x="416" y="190"/>
                    <a:pt x="416" y="160"/>
                  </a:cubicBezTo>
                  <a:cubicBezTo>
                    <a:pt x="416" y="134"/>
                    <a:pt x="416" y="134"/>
                    <a:pt x="416" y="134"/>
                  </a:cubicBezTo>
                  <a:cubicBezTo>
                    <a:pt x="416" y="60"/>
                    <a:pt x="356" y="0"/>
                    <a:pt x="282" y="0"/>
                  </a:cubicBezTo>
                  <a:cubicBezTo>
                    <a:pt x="207" y="0"/>
                    <a:pt x="147" y="60"/>
                    <a:pt x="147" y="134"/>
                  </a:cubicBezTo>
                  <a:cubicBezTo>
                    <a:pt x="147" y="160"/>
                    <a:pt x="147" y="160"/>
                    <a:pt x="147" y="160"/>
                  </a:cubicBezTo>
                  <a:cubicBezTo>
                    <a:pt x="147" y="190"/>
                    <a:pt x="157" y="217"/>
                    <a:pt x="173" y="239"/>
                  </a:cubicBezTo>
                  <a:cubicBezTo>
                    <a:pt x="73" y="267"/>
                    <a:pt x="0" y="359"/>
                    <a:pt x="0" y="467"/>
                  </a:cubicBezTo>
                  <a:cubicBezTo>
                    <a:pt x="0" y="710"/>
                    <a:pt x="0" y="710"/>
                    <a:pt x="0" y="710"/>
                  </a:cubicBezTo>
                  <a:cubicBezTo>
                    <a:pt x="0" y="763"/>
                    <a:pt x="43" y="806"/>
                    <a:pt x="96" y="806"/>
                  </a:cubicBezTo>
                  <a:cubicBezTo>
                    <a:pt x="122" y="806"/>
                    <a:pt x="122" y="806"/>
                    <a:pt x="122" y="806"/>
                  </a:cubicBezTo>
                  <a:cubicBezTo>
                    <a:pt x="122" y="1306"/>
                    <a:pt x="122" y="1306"/>
                    <a:pt x="122" y="1306"/>
                  </a:cubicBezTo>
                  <a:cubicBezTo>
                    <a:pt x="122" y="1324"/>
                    <a:pt x="136" y="1338"/>
                    <a:pt x="154" y="1338"/>
                  </a:cubicBezTo>
                  <a:cubicBezTo>
                    <a:pt x="410" y="1338"/>
                    <a:pt x="410" y="1338"/>
                    <a:pt x="410" y="1338"/>
                  </a:cubicBezTo>
                  <a:cubicBezTo>
                    <a:pt x="427" y="1338"/>
                    <a:pt x="442" y="1324"/>
                    <a:pt x="442" y="1306"/>
                  </a:cubicBezTo>
                  <a:cubicBezTo>
                    <a:pt x="442" y="1162"/>
                    <a:pt x="442" y="1162"/>
                    <a:pt x="442" y="1162"/>
                  </a:cubicBezTo>
                  <a:cubicBezTo>
                    <a:pt x="442" y="1144"/>
                    <a:pt x="427" y="1130"/>
                    <a:pt x="410" y="1130"/>
                  </a:cubicBezTo>
                  <a:cubicBezTo>
                    <a:pt x="392" y="1130"/>
                    <a:pt x="378" y="1144"/>
                    <a:pt x="378" y="1162"/>
                  </a:cubicBezTo>
                  <a:cubicBezTo>
                    <a:pt x="378" y="1274"/>
                    <a:pt x="378" y="1274"/>
                    <a:pt x="378" y="1274"/>
                  </a:cubicBezTo>
                  <a:cubicBezTo>
                    <a:pt x="314" y="1274"/>
                    <a:pt x="314" y="1274"/>
                    <a:pt x="314" y="1274"/>
                  </a:cubicBezTo>
                  <a:cubicBezTo>
                    <a:pt x="314" y="797"/>
                    <a:pt x="314" y="797"/>
                    <a:pt x="314" y="797"/>
                  </a:cubicBezTo>
                  <a:cubicBezTo>
                    <a:pt x="314" y="779"/>
                    <a:pt x="300" y="765"/>
                    <a:pt x="282" y="765"/>
                  </a:cubicBezTo>
                  <a:cubicBezTo>
                    <a:pt x="264" y="765"/>
                    <a:pt x="250" y="779"/>
                    <a:pt x="250" y="797"/>
                  </a:cubicBezTo>
                  <a:cubicBezTo>
                    <a:pt x="250" y="1274"/>
                    <a:pt x="250" y="1274"/>
                    <a:pt x="250" y="1274"/>
                  </a:cubicBezTo>
                  <a:cubicBezTo>
                    <a:pt x="186" y="1274"/>
                    <a:pt x="186" y="1274"/>
                    <a:pt x="186" y="1274"/>
                  </a:cubicBezTo>
                  <a:cubicBezTo>
                    <a:pt x="186" y="648"/>
                    <a:pt x="186" y="648"/>
                    <a:pt x="186" y="648"/>
                  </a:cubicBezTo>
                  <a:cubicBezTo>
                    <a:pt x="378" y="648"/>
                    <a:pt x="378" y="648"/>
                    <a:pt x="378" y="648"/>
                  </a:cubicBezTo>
                  <a:cubicBezTo>
                    <a:pt x="378" y="914"/>
                    <a:pt x="378" y="914"/>
                    <a:pt x="378" y="914"/>
                  </a:cubicBezTo>
                  <a:cubicBezTo>
                    <a:pt x="378" y="932"/>
                    <a:pt x="392" y="946"/>
                    <a:pt x="410" y="946"/>
                  </a:cubicBezTo>
                  <a:cubicBezTo>
                    <a:pt x="427" y="946"/>
                    <a:pt x="442" y="932"/>
                    <a:pt x="442" y="914"/>
                  </a:cubicBezTo>
                  <a:cubicBezTo>
                    <a:pt x="442" y="806"/>
                    <a:pt x="442" y="806"/>
                    <a:pt x="442" y="806"/>
                  </a:cubicBezTo>
                  <a:cubicBezTo>
                    <a:pt x="467" y="806"/>
                    <a:pt x="467" y="806"/>
                    <a:pt x="467" y="806"/>
                  </a:cubicBezTo>
                  <a:cubicBezTo>
                    <a:pt x="520" y="806"/>
                    <a:pt x="563" y="763"/>
                    <a:pt x="563" y="710"/>
                  </a:cubicBezTo>
                  <a:cubicBezTo>
                    <a:pt x="563" y="467"/>
                    <a:pt x="563" y="467"/>
                    <a:pt x="563" y="467"/>
                  </a:cubicBezTo>
                  <a:cubicBezTo>
                    <a:pt x="563" y="359"/>
                    <a:pt x="490" y="267"/>
                    <a:pt x="390" y="239"/>
                  </a:cubicBezTo>
                  <a:close/>
                  <a:moveTo>
                    <a:pt x="211" y="134"/>
                  </a:moveTo>
                  <a:cubicBezTo>
                    <a:pt x="211" y="96"/>
                    <a:pt x="243" y="64"/>
                    <a:pt x="282" y="64"/>
                  </a:cubicBezTo>
                  <a:cubicBezTo>
                    <a:pt x="320" y="64"/>
                    <a:pt x="352" y="96"/>
                    <a:pt x="352" y="134"/>
                  </a:cubicBezTo>
                  <a:cubicBezTo>
                    <a:pt x="352" y="160"/>
                    <a:pt x="352" y="160"/>
                    <a:pt x="352" y="160"/>
                  </a:cubicBezTo>
                  <a:cubicBezTo>
                    <a:pt x="352" y="199"/>
                    <a:pt x="320" y="230"/>
                    <a:pt x="282" y="230"/>
                  </a:cubicBezTo>
                  <a:cubicBezTo>
                    <a:pt x="243" y="230"/>
                    <a:pt x="211" y="199"/>
                    <a:pt x="211" y="160"/>
                  </a:cubicBezTo>
                  <a:lnTo>
                    <a:pt x="211" y="134"/>
                  </a:lnTo>
                  <a:close/>
                  <a:moveTo>
                    <a:pt x="499" y="710"/>
                  </a:moveTo>
                  <a:cubicBezTo>
                    <a:pt x="499" y="728"/>
                    <a:pt x="485" y="742"/>
                    <a:pt x="467" y="742"/>
                  </a:cubicBezTo>
                  <a:cubicBezTo>
                    <a:pt x="442" y="742"/>
                    <a:pt x="442" y="742"/>
                    <a:pt x="442" y="742"/>
                  </a:cubicBezTo>
                  <a:cubicBezTo>
                    <a:pt x="442" y="480"/>
                    <a:pt x="442" y="480"/>
                    <a:pt x="442" y="480"/>
                  </a:cubicBezTo>
                  <a:cubicBezTo>
                    <a:pt x="442" y="462"/>
                    <a:pt x="427" y="448"/>
                    <a:pt x="410" y="448"/>
                  </a:cubicBezTo>
                  <a:cubicBezTo>
                    <a:pt x="392" y="448"/>
                    <a:pt x="378" y="462"/>
                    <a:pt x="378" y="480"/>
                  </a:cubicBezTo>
                  <a:cubicBezTo>
                    <a:pt x="378" y="583"/>
                    <a:pt x="378" y="583"/>
                    <a:pt x="378" y="583"/>
                  </a:cubicBezTo>
                  <a:cubicBezTo>
                    <a:pt x="186" y="583"/>
                    <a:pt x="186" y="583"/>
                    <a:pt x="186" y="583"/>
                  </a:cubicBezTo>
                  <a:cubicBezTo>
                    <a:pt x="186" y="480"/>
                    <a:pt x="186" y="480"/>
                    <a:pt x="186" y="480"/>
                  </a:cubicBezTo>
                  <a:cubicBezTo>
                    <a:pt x="186" y="462"/>
                    <a:pt x="171" y="448"/>
                    <a:pt x="154" y="448"/>
                  </a:cubicBezTo>
                  <a:cubicBezTo>
                    <a:pt x="136" y="448"/>
                    <a:pt x="122" y="462"/>
                    <a:pt x="122" y="480"/>
                  </a:cubicBezTo>
                  <a:cubicBezTo>
                    <a:pt x="122" y="742"/>
                    <a:pt x="122" y="742"/>
                    <a:pt x="122" y="742"/>
                  </a:cubicBezTo>
                  <a:cubicBezTo>
                    <a:pt x="96" y="742"/>
                    <a:pt x="96" y="742"/>
                    <a:pt x="96" y="742"/>
                  </a:cubicBezTo>
                  <a:cubicBezTo>
                    <a:pt x="78" y="742"/>
                    <a:pt x="64" y="728"/>
                    <a:pt x="64" y="710"/>
                  </a:cubicBezTo>
                  <a:cubicBezTo>
                    <a:pt x="64" y="467"/>
                    <a:pt x="64" y="467"/>
                    <a:pt x="64" y="467"/>
                  </a:cubicBezTo>
                  <a:cubicBezTo>
                    <a:pt x="64" y="372"/>
                    <a:pt x="142" y="294"/>
                    <a:pt x="237" y="294"/>
                  </a:cubicBezTo>
                  <a:cubicBezTo>
                    <a:pt x="326" y="294"/>
                    <a:pt x="326" y="294"/>
                    <a:pt x="326" y="294"/>
                  </a:cubicBezTo>
                  <a:cubicBezTo>
                    <a:pt x="422" y="294"/>
                    <a:pt x="499" y="372"/>
                    <a:pt x="499" y="467"/>
                  </a:cubicBezTo>
                  <a:lnTo>
                    <a:pt x="499" y="710"/>
                  </a:lnTo>
                  <a:close/>
                  <a:moveTo>
                    <a:pt x="499" y="710"/>
                  </a:moveTo>
                  <a:cubicBezTo>
                    <a:pt x="499" y="710"/>
                    <a:pt x="499" y="710"/>
                    <a:pt x="499" y="7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9"/>
            <p:cNvSpPr>
              <a:spLocks noEditPoints="1"/>
            </p:cNvSpPr>
            <p:nvPr/>
          </p:nvSpPr>
          <p:spPr bwMode="auto">
            <a:xfrm>
              <a:off x="3345" y="3961"/>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4"/>
                    <a:pt x="40" y="0"/>
                    <a:pt x="32" y="0"/>
                  </a:cubicBezTo>
                  <a:cubicBezTo>
                    <a:pt x="23" y="0"/>
                    <a:pt x="15" y="4"/>
                    <a:pt x="9" y="9"/>
                  </a:cubicBezTo>
                  <a:cubicBezTo>
                    <a:pt x="3" y="15"/>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50"/>
            <p:cNvSpPr>
              <a:spLocks noEditPoints="1"/>
            </p:cNvSpPr>
            <p:nvPr/>
          </p:nvSpPr>
          <p:spPr bwMode="auto">
            <a:xfrm>
              <a:off x="4931" y="1806"/>
              <a:ext cx="799" cy="799"/>
            </a:xfrm>
            <a:custGeom>
              <a:avLst/>
              <a:gdLst>
                <a:gd name="T0" fmla="*/ 211 w 422"/>
                <a:gd name="T1" fmla="*/ 0 h 422"/>
                <a:gd name="T2" fmla="*/ 0 w 422"/>
                <a:gd name="T3" fmla="*/ 211 h 422"/>
                <a:gd name="T4" fmla="*/ 211 w 422"/>
                <a:gd name="T5" fmla="*/ 422 h 422"/>
                <a:gd name="T6" fmla="*/ 422 w 422"/>
                <a:gd name="T7" fmla="*/ 211 h 422"/>
                <a:gd name="T8" fmla="*/ 211 w 422"/>
                <a:gd name="T9" fmla="*/ 0 h 422"/>
                <a:gd name="T10" fmla="*/ 211 w 422"/>
                <a:gd name="T11" fmla="*/ 358 h 422"/>
                <a:gd name="T12" fmla="*/ 64 w 422"/>
                <a:gd name="T13" fmla="*/ 211 h 422"/>
                <a:gd name="T14" fmla="*/ 211 w 422"/>
                <a:gd name="T15" fmla="*/ 64 h 422"/>
                <a:gd name="T16" fmla="*/ 358 w 422"/>
                <a:gd name="T17" fmla="*/ 211 h 422"/>
                <a:gd name="T18" fmla="*/ 211 w 422"/>
                <a:gd name="T19" fmla="*/ 358 h 422"/>
                <a:gd name="T20" fmla="*/ 211 w 422"/>
                <a:gd name="T21" fmla="*/ 358 h 422"/>
                <a:gd name="T22" fmla="*/ 211 w 422"/>
                <a:gd name="T23" fmla="*/ 358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22">
                  <a:moveTo>
                    <a:pt x="211" y="0"/>
                  </a:moveTo>
                  <a:cubicBezTo>
                    <a:pt x="95" y="0"/>
                    <a:pt x="0" y="95"/>
                    <a:pt x="0" y="211"/>
                  </a:cubicBezTo>
                  <a:cubicBezTo>
                    <a:pt x="0" y="328"/>
                    <a:pt x="95" y="422"/>
                    <a:pt x="211" y="422"/>
                  </a:cubicBezTo>
                  <a:cubicBezTo>
                    <a:pt x="328" y="422"/>
                    <a:pt x="422" y="328"/>
                    <a:pt x="422" y="211"/>
                  </a:cubicBezTo>
                  <a:cubicBezTo>
                    <a:pt x="422" y="95"/>
                    <a:pt x="328" y="0"/>
                    <a:pt x="211" y="0"/>
                  </a:cubicBezTo>
                  <a:close/>
                  <a:moveTo>
                    <a:pt x="211" y="358"/>
                  </a:moveTo>
                  <a:cubicBezTo>
                    <a:pt x="130" y="358"/>
                    <a:pt x="64" y="292"/>
                    <a:pt x="64" y="211"/>
                  </a:cubicBezTo>
                  <a:cubicBezTo>
                    <a:pt x="64" y="130"/>
                    <a:pt x="130" y="64"/>
                    <a:pt x="211" y="64"/>
                  </a:cubicBezTo>
                  <a:cubicBezTo>
                    <a:pt x="292" y="64"/>
                    <a:pt x="358" y="130"/>
                    <a:pt x="358" y="211"/>
                  </a:cubicBezTo>
                  <a:cubicBezTo>
                    <a:pt x="358" y="292"/>
                    <a:pt x="292" y="358"/>
                    <a:pt x="211" y="358"/>
                  </a:cubicBezTo>
                  <a:close/>
                  <a:moveTo>
                    <a:pt x="211" y="358"/>
                  </a:moveTo>
                  <a:cubicBezTo>
                    <a:pt x="211" y="358"/>
                    <a:pt x="211" y="358"/>
                    <a:pt x="211" y="3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1"/>
            <p:cNvSpPr>
              <a:spLocks noEditPoints="1"/>
            </p:cNvSpPr>
            <p:nvPr/>
          </p:nvSpPr>
          <p:spPr bwMode="auto">
            <a:xfrm>
              <a:off x="4931" y="2958"/>
              <a:ext cx="799" cy="799"/>
            </a:xfrm>
            <a:custGeom>
              <a:avLst/>
              <a:gdLst>
                <a:gd name="T0" fmla="*/ 211 w 422"/>
                <a:gd name="T1" fmla="*/ 0 h 422"/>
                <a:gd name="T2" fmla="*/ 0 w 422"/>
                <a:gd name="T3" fmla="*/ 211 h 422"/>
                <a:gd name="T4" fmla="*/ 211 w 422"/>
                <a:gd name="T5" fmla="*/ 422 h 422"/>
                <a:gd name="T6" fmla="*/ 422 w 422"/>
                <a:gd name="T7" fmla="*/ 211 h 422"/>
                <a:gd name="T8" fmla="*/ 211 w 422"/>
                <a:gd name="T9" fmla="*/ 0 h 422"/>
                <a:gd name="T10" fmla="*/ 211 w 422"/>
                <a:gd name="T11" fmla="*/ 358 h 422"/>
                <a:gd name="T12" fmla="*/ 64 w 422"/>
                <a:gd name="T13" fmla="*/ 211 h 422"/>
                <a:gd name="T14" fmla="*/ 211 w 422"/>
                <a:gd name="T15" fmla="*/ 64 h 422"/>
                <a:gd name="T16" fmla="*/ 358 w 422"/>
                <a:gd name="T17" fmla="*/ 211 h 422"/>
                <a:gd name="T18" fmla="*/ 211 w 422"/>
                <a:gd name="T19" fmla="*/ 358 h 422"/>
                <a:gd name="T20" fmla="*/ 211 w 422"/>
                <a:gd name="T21" fmla="*/ 358 h 422"/>
                <a:gd name="T22" fmla="*/ 211 w 422"/>
                <a:gd name="T23" fmla="*/ 358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22">
                  <a:moveTo>
                    <a:pt x="211" y="0"/>
                  </a:moveTo>
                  <a:cubicBezTo>
                    <a:pt x="95" y="0"/>
                    <a:pt x="0" y="95"/>
                    <a:pt x="0" y="211"/>
                  </a:cubicBezTo>
                  <a:cubicBezTo>
                    <a:pt x="0" y="328"/>
                    <a:pt x="95" y="422"/>
                    <a:pt x="211" y="422"/>
                  </a:cubicBezTo>
                  <a:cubicBezTo>
                    <a:pt x="328" y="422"/>
                    <a:pt x="422" y="328"/>
                    <a:pt x="422" y="211"/>
                  </a:cubicBezTo>
                  <a:cubicBezTo>
                    <a:pt x="422" y="95"/>
                    <a:pt x="328" y="0"/>
                    <a:pt x="211" y="0"/>
                  </a:cubicBezTo>
                  <a:close/>
                  <a:moveTo>
                    <a:pt x="211" y="358"/>
                  </a:moveTo>
                  <a:cubicBezTo>
                    <a:pt x="130" y="358"/>
                    <a:pt x="64" y="292"/>
                    <a:pt x="64" y="211"/>
                  </a:cubicBezTo>
                  <a:cubicBezTo>
                    <a:pt x="64" y="130"/>
                    <a:pt x="130" y="64"/>
                    <a:pt x="211" y="64"/>
                  </a:cubicBezTo>
                  <a:cubicBezTo>
                    <a:pt x="292" y="64"/>
                    <a:pt x="358" y="130"/>
                    <a:pt x="358" y="211"/>
                  </a:cubicBezTo>
                  <a:cubicBezTo>
                    <a:pt x="358" y="292"/>
                    <a:pt x="292" y="358"/>
                    <a:pt x="211" y="358"/>
                  </a:cubicBezTo>
                  <a:close/>
                  <a:moveTo>
                    <a:pt x="211" y="358"/>
                  </a:moveTo>
                  <a:cubicBezTo>
                    <a:pt x="211" y="358"/>
                    <a:pt x="211" y="358"/>
                    <a:pt x="211" y="3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52"/>
            <p:cNvSpPr>
              <a:spLocks noEditPoints="1"/>
            </p:cNvSpPr>
            <p:nvPr/>
          </p:nvSpPr>
          <p:spPr bwMode="auto">
            <a:xfrm>
              <a:off x="4931" y="4109"/>
              <a:ext cx="799" cy="799"/>
            </a:xfrm>
            <a:custGeom>
              <a:avLst/>
              <a:gdLst>
                <a:gd name="T0" fmla="*/ 211 w 422"/>
                <a:gd name="T1" fmla="*/ 0 h 422"/>
                <a:gd name="T2" fmla="*/ 0 w 422"/>
                <a:gd name="T3" fmla="*/ 211 h 422"/>
                <a:gd name="T4" fmla="*/ 211 w 422"/>
                <a:gd name="T5" fmla="*/ 422 h 422"/>
                <a:gd name="T6" fmla="*/ 422 w 422"/>
                <a:gd name="T7" fmla="*/ 211 h 422"/>
                <a:gd name="T8" fmla="*/ 211 w 422"/>
                <a:gd name="T9" fmla="*/ 0 h 422"/>
                <a:gd name="T10" fmla="*/ 211 w 422"/>
                <a:gd name="T11" fmla="*/ 358 h 422"/>
                <a:gd name="T12" fmla="*/ 64 w 422"/>
                <a:gd name="T13" fmla="*/ 211 h 422"/>
                <a:gd name="T14" fmla="*/ 211 w 422"/>
                <a:gd name="T15" fmla="*/ 64 h 422"/>
                <a:gd name="T16" fmla="*/ 358 w 422"/>
                <a:gd name="T17" fmla="*/ 211 h 422"/>
                <a:gd name="T18" fmla="*/ 211 w 422"/>
                <a:gd name="T19" fmla="*/ 358 h 422"/>
                <a:gd name="T20" fmla="*/ 211 w 422"/>
                <a:gd name="T21" fmla="*/ 358 h 422"/>
                <a:gd name="T22" fmla="*/ 211 w 422"/>
                <a:gd name="T23" fmla="*/ 358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22">
                  <a:moveTo>
                    <a:pt x="211" y="0"/>
                  </a:moveTo>
                  <a:cubicBezTo>
                    <a:pt x="95" y="0"/>
                    <a:pt x="0" y="95"/>
                    <a:pt x="0" y="211"/>
                  </a:cubicBezTo>
                  <a:cubicBezTo>
                    <a:pt x="0" y="328"/>
                    <a:pt x="95" y="422"/>
                    <a:pt x="211" y="422"/>
                  </a:cubicBezTo>
                  <a:cubicBezTo>
                    <a:pt x="328" y="422"/>
                    <a:pt x="422" y="328"/>
                    <a:pt x="422" y="211"/>
                  </a:cubicBezTo>
                  <a:cubicBezTo>
                    <a:pt x="422" y="95"/>
                    <a:pt x="328" y="0"/>
                    <a:pt x="211" y="0"/>
                  </a:cubicBezTo>
                  <a:close/>
                  <a:moveTo>
                    <a:pt x="211" y="358"/>
                  </a:moveTo>
                  <a:cubicBezTo>
                    <a:pt x="130" y="358"/>
                    <a:pt x="64" y="292"/>
                    <a:pt x="64" y="211"/>
                  </a:cubicBezTo>
                  <a:cubicBezTo>
                    <a:pt x="64" y="130"/>
                    <a:pt x="130" y="64"/>
                    <a:pt x="211" y="64"/>
                  </a:cubicBezTo>
                  <a:cubicBezTo>
                    <a:pt x="292" y="64"/>
                    <a:pt x="358" y="130"/>
                    <a:pt x="358" y="211"/>
                  </a:cubicBezTo>
                  <a:cubicBezTo>
                    <a:pt x="358" y="292"/>
                    <a:pt x="292" y="358"/>
                    <a:pt x="211" y="358"/>
                  </a:cubicBezTo>
                  <a:close/>
                  <a:moveTo>
                    <a:pt x="211" y="358"/>
                  </a:moveTo>
                  <a:cubicBezTo>
                    <a:pt x="211" y="358"/>
                    <a:pt x="211" y="358"/>
                    <a:pt x="211" y="3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53"/>
            <p:cNvSpPr>
              <a:spLocks noEditPoints="1"/>
            </p:cNvSpPr>
            <p:nvPr/>
          </p:nvSpPr>
          <p:spPr bwMode="auto">
            <a:xfrm>
              <a:off x="4119" y="2823"/>
              <a:ext cx="121" cy="121"/>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4"/>
            <p:cNvSpPr>
              <a:spLocks noEditPoints="1"/>
            </p:cNvSpPr>
            <p:nvPr/>
          </p:nvSpPr>
          <p:spPr bwMode="auto">
            <a:xfrm>
              <a:off x="3882" y="3050"/>
              <a:ext cx="926" cy="1570"/>
            </a:xfrm>
            <a:custGeom>
              <a:avLst/>
              <a:gdLst>
                <a:gd name="T0" fmla="*/ 429 w 489"/>
                <a:gd name="T1" fmla="*/ 672 h 829"/>
                <a:gd name="T2" fmla="*/ 384 w 489"/>
                <a:gd name="T3" fmla="*/ 672 h 829"/>
                <a:gd name="T4" fmla="*/ 380 w 489"/>
                <a:gd name="T5" fmla="*/ 714 h 829"/>
                <a:gd name="T6" fmla="*/ 189 w 489"/>
                <a:gd name="T7" fmla="*/ 714 h 829"/>
                <a:gd name="T8" fmla="*/ 189 w 489"/>
                <a:gd name="T9" fmla="*/ 195 h 829"/>
                <a:gd name="T10" fmla="*/ 380 w 489"/>
                <a:gd name="T11" fmla="*/ 195 h 829"/>
                <a:gd name="T12" fmla="*/ 384 w 489"/>
                <a:gd name="T13" fmla="*/ 236 h 829"/>
                <a:gd name="T14" fmla="*/ 406 w 489"/>
                <a:gd name="T15" fmla="*/ 245 h 829"/>
                <a:gd name="T16" fmla="*/ 429 w 489"/>
                <a:gd name="T17" fmla="*/ 236 h 829"/>
                <a:gd name="T18" fmla="*/ 480 w 489"/>
                <a:gd name="T19" fmla="*/ 185 h 829"/>
                <a:gd name="T20" fmla="*/ 489 w 489"/>
                <a:gd name="T21" fmla="*/ 163 h 829"/>
                <a:gd name="T22" fmla="*/ 480 w 489"/>
                <a:gd name="T23" fmla="*/ 140 h 829"/>
                <a:gd name="T24" fmla="*/ 429 w 489"/>
                <a:gd name="T25" fmla="*/ 89 h 829"/>
                <a:gd name="T26" fmla="*/ 384 w 489"/>
                <a:gd name="T27" fmla="*/ 89 h 829"/>
                <a:gd name="T28" fmla="*/ 381 w 489"/>
                <a:gd name="T29" fmla="*/ 131 h 829"/>
                <a:gd name="T30" fmla="*/ 189 w 489"/>
                <a:gd name="T31" fmla="*/ 131 h 829"/>
                <a:gd name="T32" fmla="*/ 189 w 489"/>
                <a:gd name="T33" fmla="*/ 32 h 829"/>
                <a:gd name="T34" fmla="*/ 157 w 489"/>
                <a:gd name="T35" fmla="*/ 0 h 829"/>
                <a:gd name="T36" fmla="*/ 125 w 489"/>
                <a:gd name="T37" fmla="*/ 32 h 829"/>
                <a:gd name="T38" fmla="*/ 125 w 489"/>
                <a:gd name="T39" fmla="*/ 131 h 829"/>
                <a:gd name="T40" fmla="*/ 32 w 489"/>
                <a:gd name="T41" fmla="*/ 131 h 829"/>
                <a:gd name="T42" fmla="*/ 0 w 489"/>
                <a:gd name="T43" fmla="*/ 163 h 829"/>
                <a:gd name="T44" fmla="*/ 32 w 489"/>
                <a:gd name="T45" fmla="*/ 195 h 829"/>
                <a:gd name="T46" fmla="*/ 125 w 489"/>
                <a:gd name="T47" fmla="*/ 195 h 829"/>
                <a:gd name="T48" fmla="*/ 125 w 489"/>
                <a:gd name="T49" fmla="*/ 714 h 829"/>
                <a:gd name="T50" fmla="*/ 189 w 489"/>
                <a:gd name="T51" fmla="*/ 778 h 829"/>
                <a:gd name="T52" fmla="*/ 380 w 489"/>
                <a:gd name="T53" fmla="*/ 778 h 829"/>
                <a:gd name="T54" fmla="*/ 384 w 489"/>
                <a:gd name="T55" fmla="*/ 819 h 829"/>
                <a:gd name="T56" fmla="*/ 406 w 489"/>
                <a:gd name="T57" fmla="*/ 829 h 829"/>
                <a:gd name="T58" fmla="*/ 429 w 489"/>
                <a:gd name="T59" fmla="*/ 819 h 829"/>
                <a:gd name="T60" fmla="*/ 480 w 489"/>
                <a:gd name="T61" fmla="*/ 768 h 829"/>
                <a:gd name="T62" fmla="*/ 489 w 489"/>
                <a:gd name="T63" fmla="*/ 746 h 829"/>
                <a:gd name="T64" fmla="*/ 480 w 489"/>
                <a:gd name="T65" fmla="*/ 723 h 829"/>
                <a:gd name="T66" fmla="*/ 429 w 489"/>
                <a:gd name="T67" fmla="*/ 672 h 829"/>
                <a:gd name="T68" fmla="*/ 429 w 489"/>
                <a:gd name="T69" fmla="*/ 672 h 829"/>
                <a:gd name="T70" fmla="*/ 429 w 489"/>
                <a:gd name="T71" fmla="*/ 672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9" h="829">
                  <a:moveTo>
                    <a:pt x="429" y="672"/>
                  </a:moveTo>
                  <a:cubicBezTo>
                    <a:pt x="416" y="660"/>
                    <a:pt x="396" y="660"/>
                    <a:pt x="384" y="672"/>
                  </a:cubicBezTo>
                  <a:cubicBezTo>
                    <a:pt x="372" y="684"/>
                    <a:pt x="371" y="701"/>
                    <a:pt x="380" y="714"/>
                  </a:cubicBezTo>
                  <a:cubicBezTo>
                    <a:pt x="189" y="714"/>
                    <a:pt x="189" y="714"/>
                    <a:pt x="189" y="714"/>
                  </a:cubicBezTo>
                  <a:cubicBezTo>
                    <a:pt x="189" y="195"/>
                    <a:pt x="189" y="195"/>
                    <a:pt x="189" y="195"/>
                  </a:cubicBezTo>
                  <a:cubicBezTo>
                    <a:pt x="380" y="195"/>
                    <a:pt x="380" y="195"/>
                    <a:pt x="380" y="195"/>
                  </a:cubicBezTo>
                  <a:cubicBezTo>
                    <a:pt x="371" y="207"/>
                    <a:pt x="372" y="225"/>
                    <a:pt x="384" y="236"/>
                  </a:cubicBezTo>
                  <a:cubicBezTo>
                    <a:pt x="390" y="242"/>
                    <a:pt x="398" y="245"/>
                    <a:pt x="406" y="245"/>
                  </a:cubicBezTo>
                  <a:cubicBezTo>
                    <a:pt x="414" y="245"/>
                    <a:pt x="423" y="242"/>
                    <a:pt x="429" y="236"/>
                  </a:cubicBezTo>
                  <a:cubicBezTo>
                    <a:pt x="480" y="185"/>
                    <a:pt x="480" y="185"/>
                    <a:pt x="480" y="185"/>
                  </a:cubicBezTo>
                  <a:cubicBezTo>
                    <a:pt x="486" y="179"/>
                    <a:pt x="489" y="171"/>
                    <a:pt x="489" y="163"/>
                  </a:cubicBezTo>
                  <a:cubicBezTo>
                    <a:pt x="489" y="154"/>
                    <a:pt x="486" y="146"/>
                    <a:pt x="480" y="140"/>
                  </a:cubicBezTo>
                  <a:cubicBezTo>
                    <a:pt x="429" y="89"/>
                    <a:pt x="429" y="89"/>
                    <a:pt x="429" y="89"/>
                  </a:cubicBezTo>
                  <a:cubicBezTo>
                    <a:pt x="416" y="77"/>
                    <a:pt x="396" y="77"/>
                    <a:pt x="384" y="89"/>
                  </a:cubicBezTo>
                  <a:cubicBezTo>
                    <a:pt x="372" y="101"/>
                    <a:pt x="371" y="118"/>
                    <a:pt x="381" y="131"/>
                  </a:cubicBezTo>
                  <a:cubicBezTo>
                    <a:pt x="189" y="131"/>
                    <a:pt x="189" y="131"/>
                    <a:pt x="189" y="131"/>
                  </a:cubicBezTo>
                  <a:cubicBezTo>
                    <a:pt x="189" y="32"/>
                    <a:pt x="189" y="32"/>
                    <a:pt x="189" y="32"/>
                  </a:cubicBezTo>
                  <a:cubicBezTo>
                    <a:pt x="189" y="14"/>
                    <a:pt x="175" y="0"/>
                    <a:pt x="157" y="0"/>
                  </a:cubicBezTo>
                  <a:cubicBezTo>
                    <a:pt x="140" y="0"/>
                    <a:pt x="125" y="14"/>
                    <a:pt x="125" y="32"/>
                  </a:cubicBezTo>
                  <a:cubicBezTo>
                    <a:pt x="125" y="131"/>
                    <a:pt x="125" y="131"/>
                    <a:pt x="125" y="131"/>
                  </a:cubicBezTo>
                  <a:cubicBezTo>
                    <a:pt x="32" y="131"/>
                    <a:pt x="32" y="131"/>
                    <a:pt x="32" y="131"/>
                  </a:cubicBezTo>
                  <a:cubicBezTo>
                    <a:pt x="15" y="131"/>
                    <a:pt x="0" y="145"/>
                    <a:pt x="0" y="163"/>
                  </a:cubicBezTo>
                  <a:cubicBezTo>
                    <a:pt x="0" y="181"/>
                    <a:pt x="15" y="195"/>
                    <a:pt x="32" y="195"/>
                  </a:cubicBezTo>
                  <a:cubicBezTo>
                    <a:pt x="125" y="195"/>
                    <a:pt x="125" y="195"/>
                    <a:pt x="125" y="195"/>
                  </a:cubicBezTo>
                  <a:cubicBezTo>
                    <a:pt x="125" y="714"/>
                    <a:pt x="125" y="714"/>
                    <a:pt x="125" y="714"/>
                  </a:cubicBezTo>
                  <a:cubicBezTo>
                    <a:pt x="125" y="749"/>
                    <a:pt x="154" y="778"/>
                    <a:pt x="189" y="778"/>
                  </a:cubicBezTo>
                  <a:cubicBezTo>
                    <a:pt x="380" y="778"/>
                    <a:pt x="380" y="778"/>
                    <a:pt x="380" y="778"/>
                  </a:cubicBezTo>
                  <a:cubicBezTo>
                    <a:pt x="371" y="790"/>
                    <a:pt x="372" y="808"/>
                    <a:pt x="384" y="819"/>
                  </a:cubicBezTo>
                  <a:cubicBezTo>
                    <a:pt x="390" y="825"/>
                    <a:pt x="398" y="829"/>
                    <a:pt x="406" y="829"/>
                  </a:cubicBezTo>
                  <a:cubicBezTo>
                    <a:pt x="414" y="829"/>
                    <a:pt x="423" y="825"/>
                    <a:pt x="429" y="819"/>
                  </a:cubicBezTo>
                  <a:cubicBezTo>
                    <a:pt x="480" y="768"/>
                    <a:pt x="480" y="768"/>
                    <a:pt x="480" y="768"/>
                  </a:cubicBezTo>
                  <a:cubicBezTo>
                    <a:pt x="486" y="762"/>
                    <a:pt x="489" y="754"/>
                    <a:pt x="489" y="746"/>
                  </a:cubicBezTo>
                  <a:cubicBezTo>
                    <a:pt x="489" y="737"/>
                    <a:pt x="486" y="729"/>
                    <a:pt x="480" y="723"/>
                  </a:cubicBezTo>
                  <a:lnTo>
                    <a:pt x="429" y="672"/>
                  </a:lnTo>
                  <a:close/>
                  <a:moveTo>
                    <a:pt x="429" y="672"/>
                  </a:moveTo>
                  <a:cubicBezTo>
                    <a:pt x="429" y="672"/>
                    <a:pt x="429" y="672"/>
                    <a:pt x="429" y="6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5"/>
            <p:cNvSpPr>
              <a:spLocks noEditPoints="1"/>
            </p:cNvSpPr>
            <p:nvPr/>
          </p:nvSpPr>
          <p:spPr bwMode="auto">
            <a:xfrm>
              <a:off x="4119" y="2092"/>
              <a:ext cx="689" cy="646"/>
            </a:xfrm>
            <a:custGeom>
              <a:avLst/>
              <a:gdLst>
                <a:gd name="T0" fmla="*/ 355 w 364"/>
                <a:gd name="T1" fmla="*/ 63 h 341"/>
                <a:gd name="T2" fmla="*/ 304 w 364"/>
                <a:gd name="T3" fmla="*/ 12 h 341"/>
                <a:gd name="T4" fmla="*/ 259 w 364"/>
                <a:gd name="T5" fmla="*/ 12 h 341"/>
                <a:gd name="T6" fmla="*/ 256 w 364"/>
                <a:gd name="T7" fmla="*/ 54 h 341"/>
                <a:gd name="T8" fmla="*/ 64 w 364"/>
                <a:gd name="T9" fmla="*/ 54 h 341"/>
                <a:gd name="T10" fmla="*/ 0 w 364"/>
                <a:gd name="T11" fmla="*/ 118 h 341"/>
                <a:gd name="T12" fmla="*/ 0 w 364"/>
                <a:gd name="T13" fmla="*/ 309 h 341"/>
                <a:gd name="T14" fmla="*/ 32 w 364"/>
                <a:gd name="T15" fmla="*/ 341 h 341"/>
                <a:gd name="T16" fmla="*/ 64 w 364"/>
                <a:gd name="T17" fmla="*/ 309 h 341"/>
                <a:gd name="T18" fmla="*/ 64 w 364"/>
                <a:gd name="T19" fmla="*/ 118 h 341"/>
                <a:gd name="T20" fmla="*/ 255 w 364"/>
                <a:gd name="T21" fmla="*/ 118 h 341"/>
                <a:gd name="T22" fmla="*/ 259 w 364"/>
                <a:gd name="T23" fmla="*/ 159 h 341"/>
                <a:gd name="T24" fmla="*/ 281 w 364"/>
                <a:gd name="T25" fmla="*/ 168 h 341"/>
                <a:gd name="T26" fmla="*/ 304 w 364"/>
                <a:gd name="T27" fmla="*/ 159 h 341"/>
                <a:gd name="T28" fmla="*/ 355 w 364"/>
                <a:gd name="T29" fmla="*/ 108 h 341"/>
                <a:gd name="T30" fmla="*/ 364 w 364"/>
                <a:gd name="T31" fmla="*/ 85 h 341"/>
                <a:gd name="T32" fmla="*/ 355 w 364"/>
                <a:gd name="T33" fmla="*/ 63 h 341"/>
                <a:gd name="T34" fmla="*/ 355 w 364"/>
                <a:gd name="T35" fmla="*/ 63 h 341"/>
                <a:gd name="T36" fmla="*/ 355 w 364"/>
                <a:gd name="T37" fmla="*/ 63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341">
                  <a:moveTo>
                    <a:pt x="355" y="63"/>
                  </a:moveTo>
                  <a:cubicBezTo>
                    <a:pt x="304" y="12"/>
                    <a:pt x="304" y="12"/>
                    <a:pt x="304" y="12"/>
                  </a:cubicBezTo>
                  <a:cubicBezTo>
                    <a:pt x="291" y="0"/>
                    <a:pt x="271" y="0"/>
                    <a:pt x="259" y="12"/>
                  </a:cubicBezTo>
                  <a:cubicBezTo>
                    <a:pt x="247" y="24"/>
                    <a:pt x="246" y="42"/>
                    <a:pt x="256" y="54"/>
                  </a:cubicBezTo>
                  <a:cubicBezTo>
                    <a:pt x="64" y="54"/>
                    <a:pt x="64" y="54"/>
                    <a:pt x="64" y="54"/>
                  </a:cubicBezTo>
                  <a:cubicBezTo>
                    <a:pt x="29" y="54"/>
                    <a:pt x="0" y="83"/>
                    <a:pt x="0" y="118"/>
                  </a:cubicBezTo>
                  <a:cubicBezTo>
                    <a:pt x="0" y="309"/>
                    <a:pt x="0" y="309"/>
                    <a:pt x="0" y="309"/>
                  </a:cubicBezTo>
                  <a:cubicBezTo>
                    <a:pt x="0" y="326"/>
                    <a:pt x="15" y="341"/>
                    <a:pt x="32" y="341"/>
                  </a:cubicBezTo>
                  <a:cubicBezTo>
                    <a:pt x="50" y="341"/>
                    <a:pt x="64" y="326"/>
                    <a:pt x="64" y="309"/>
                  </a:cubicBezTo>
                  <a:cubicBezTo>
                    <a:pt x="64" y="118"/>
                    <a:pt x="64" y="118"/>
                    <a:pt x="64" y="118"/>
                  </a:cubicBezTo>
                  <a:cubicBezTo>
                    <a:pt x="255" y="118"/>
                    <a:pt x="255" y="118"/>
                    <a:pt x="255" y="118"/>
                  </a:cubicBezTo>
                  <a:cubicBezTo>
                    <a:pt x="246" y="131"/>
                    <a:pt x="248" y="148"/>
                    <a:pt x="259" y="159"/>
                  </a:cubicBezTo>
                  <a:cubicBezTo>
                    <a:pt x="265" y="165"/>
                    <a:pt x="273" y="168"/>
                    <a:pt x="281" y="168"/>
                  </a:cubicBezTo>
                  <a:cubicBezTo>
                    <a:pt x="289" y="168"/>
                    <a:pt x="298" y="165"/>
                    <a:pt x="304" y="159"/>
                  </a:cubicBezTo>
                  <a:cubicBezTo>
                    <a:pt x="355" y="108"/>
                    <a:pt x="355" y="108"/>
                    <a:pt x="355" y="108"/>
                  </a:cubicBezTo>
                  <a:cubicBezTo>
                    <a:pt x="361" y="102"/>
                    <a:pt x="364" y="94"/>
                    <a:pt x="364" y="85"/>
                  </a:cubicBezTo>
                  <a:cubicBezTo>
                    <a:pt x="364" y="77"/>
                    <a:pt x="361" y="69"/>
                    <a:pt x="355" y="63"/>
                  </a:cubicBezTo>
                  <a:close/>
                  <a:moveTo>
                    <a:pt x="355" y="63"/>
                  </a:moveTo>
                  <a:cubicBezTo>
                    <a:pt x="355" y="63"/>
                    <a:pt x="355" y="63"/>
                    <a:pt x="355"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4" name="Group 170"/>
          <p:cNvGrpSpPr>
            <a:grpSpLocks noChangeAspect="1"/>
          </p:cNvGrpSpPr>
          <p:nvPr/>
        </p:nvGrpSpPr>
        <p:grpSpPr bwMode="auto">
          <a:xfrm>
            <a:off x="11499961" y="2984382"/>
            <a:ext cx="457200" cy="457200"/>
            <a:chOff x="3463" y="940"/>
            <a:chExt cx="3101" cy="3101"/>
          </a:xfrm>
          <a:solidFill>
            <a:schemeClr val="accent1"/>
          </a:solidFill>
        </p:grpSpPr>
        <p:sp>
          <p:nvSpPr>
            <p:cNvPr id="176" name="Freeform 171"/>
            <p:cNvSpPr>
              <a:spLocks noEditPoints="1"/>
            </p:cNvSpPr>
            <p:nvPr/>
          </p:nvSpPr>
          <p:spPr bwMode="auto">
            <a:xfrm>
              <a:off x="3463" y="940"/>
              <a:ext cx="3101" cy="3101"/>
            </a:xfrm>
            <a:custGeom>
              <a:avLst/>
              <a:gdLst>
                <a:gd name="T0" fmla="*/ 1486 w 1638"/>
                <a:gd name="T1" fmla="*/ 354 h 1638"/>
                <a:gd name="T2" fmla="*/ 1189 w 1638"/>
                <a:gd name="T3" fmla="*/ 383 h 1638"/>
                <a:gd name="T4" fmla="*/ 1150 w 1638"/>
                <a:gd name="T5" fmla="*/ 487 h 1638"/>
                <a:gd name="T6" fmla="*/ 994 w 1638"/>
                <a:gd name="T7" fmla="*/ 201 h 1638"/>
                <a:gd name="T8" fmla="*/ 645 w 1638"/>
                <a:gd name="T9" fmla="*/ 175 h 1638"/>
                <a:gd name="T10" fmla="*/ 664 w 1638"/>
                <a:gd name="T11" fmla="*/ 311 h 1638"/>
                <a:gd name="T12" fmla="*/ 416 w 1638"/>
                <a:gd name="T13" fmla="*/ 477 h 1638"/>
                <a:gd name="T14" fmla="*/ 301 w 1638"/>
                <a:gd name="T15" fmla="*/ 205 h 1638"/>
                <a:gd name="T16" fmla="*/ 185 w 1638"/>
                <a:gd name="T17" fmla="*/ 477 h 1638"/>
                <a:gd name="T18" fmla="*/ 101 w 1638"/>
                <a:gd name="T19" fmla="*/ 1083 h 1638"/>
                <a:gd name="T20" fmla="*/ 160 w 1638"/>
                <a:gd name="T21" fmla="*/ 1638 h 1638"/>
                <a:gd name="T22" fmla="*/ 301 w 1638"/>
                <a:gd name="T23" fmla="*/ 1638 h 1638"/>
                <a:gd name="T24" fmla="*/ 473 w 1638"/>
                <a:gd name="T25" fmla="*/ 1083 h 1638"/>
                <a:gd name="T26" fmla="*/ 634 w 1638"/>
                <a:gd name="T27" fmla="*/ 992 h 1638"/>
                <a:gd name="T28" fmla="*/ 973 w 1638"/>
                <a:gd name="T29" fmla="*/ 1638 h 1638"/>
                <a:gd name="T30" fmla="*/ 973 w 1638"/>
                <a:gd name="T31" fmla="*/ 1264 h 1638"/>
                <a:gd name="T32" fmla="*/ 852 w 1638"/>
                <a:gd name="T33" fmla="*/ 1574 h 1638"/>
                <a:gd name="T34" fmla="*/ 788 w 1638"/>
                <a:gd name="T35" fmla="*/ 1035 h 1638"/>
                <a:gd name="T36" fmla="*/ 698 w 1638"/>
                <a:gd name="T37" fmla="*/ 895 h 1638"/>
                <a:gd name="T38" fmla="*/ 973 w 1638"/>
                <a:gd name="T39" fmla="*/ 1081 h 1638"/>
                <a:gd name="T40" fmla="*/ 1037 w 1638"/>
                <a:gd name="T41" fmla="*/ 983 h 1638"/>
                <a:gd name="T42" fmla="*/ 1165 w 1638"/>
                <a:gd name="T43" fmla="*/ 1606 h 1638"/>
                <a:gd name="T44" fmla="*/ 1338 w 1638"/>
                <a:gd name="T45" fmla="*/ 1638 h 1638"/>
                <a:gd name="T46" fmla="*/ 1511 w 1638"/>
                <a:gd name="T47" fmla="*/ 1606 h 1638"/>
                <a:gd name="T48" fmla="*/ 1638 w 1638"/>
                <a:gd name="T49" fmla="*/ 983 h 1638"/>
                <a:gd name="T50" fmla="*/ 216 w 1638"/>
                <a:gd name="T51" fmla="*/ 354 h 1638"/>
                <a:gd name="T52" fmla="*/ 386 w 1638"/>
                <a:gd name="T53" fmla="*/ 383 h 1638"/>
                <a:gd name="T54" fmla="*/ 216 w 1638"/>
                <a:gd name="T55" fmla="*/ 354 h 1638"/>
                <a:gd name="T56" fmla="*/ 333 w 1638"/>
                <a:gd name="T57" fmla="*/ 1082 h 1638"/>
                <a:gd name="T58" fmla="*/ 269 w 1638"/>
                <a:gd name="T59" fmla="*/ 1115 h 1638"/>
                <a:gd name="T60" fmla="*/ 192 w 1638"/>
                <a:gd name="T61" fmla="*/ 1574 h 1638"/>
                <a:gd name="T62" fmla="*/ 409 w 1638"/>
                <a:gd name="T63" fmla="*/ 1574 h 1638"/>
                <a:gd name="T64" fmla="*/ 473 w 1638"/>
                <a:gd name="T65" fmla="*/ 1019 h 1638"/>
                <a:gd name="T66" fmla="*/ 409 w 1638"/>
                <a:gd name="T67" fmla="*/ 849 h 1638"/>
                <a:gd name="T68" fmla="*/ 192 w 1638"/>
                <a:gd name="T69" fmla="*/ 747 h 1638"/>
                <a:gd name="T70" fmla="*/ 128 w 1638"/>
                <a:gd name="T71" fmla="*/ 1019 h 1638"/>
                <a:gd name="T72" fmla="*/ 64 w 1638"/>
                <a:gd name="T73" fmla="*/ 721 h 1638"/>
                <a:gd name="T74" fmla="*/ 489 w 1638"/>
                <a:gd name="T75" fmla="*/ 594 h 1638"/>
                <a:gd name="T76" fmla="*/ 538 w 1638"/>
                <a:gd name="T77" fmla="*/ 941 h 1638"/>
                <a:gd name="T78" fmla="*/ 930 w 1638"/>
                <a:gd name="T79" fmla="*/ 175 h 1638"/>
                <a:gd name="T80" fmla="*/ 709 w 1638"/>
                <a:gd name="T81" fmla="*/ 201 h 1638"/>
                <a:gd name="T82" fmla="*/ 1086 w 1638"/>
                <a:gd name="T83" fmla="*/ 819 h 1638"/>
                <a:gd name="T84" fmla="*/ 973 w 1638"/>
                <a:gd name="T85" fmla="*/ 455 h 1638"/>
                <a:gd name="T86" fmla="*/ 698 w 1638"/>
                <a:gd name="T87" fmla="*/ 831 h 1638"/>
                <a:gd name="T88" fmla="*/ 634 w 1638"/>
                <a:gd name="T89" fmla="*/ 487 h 1638"/>
                <a:gd name="T90" fmla="*/ 553 w 1638"/>
                <a:gd name="T91" fmla="*/ 487 h 1638"/>
                <a:gd name="T92" fmla="*/ 787 w 1638"/>
                <a:gd name="T93" fmla="*/ 463 h 1638"/>
                <a:gd name="T94" fmla="*/ 851 w 1638"/>
                <a:gd name="T95" fmla="*/ 375 h 1638"/>
                <a:gd name="T96" fmla="*/ 1086 w 1638"/>
                <a:gd name="T97" fmla="*/ 819 h 1638"/>
                <a:gd name="T98" fmla="*/ 1422 w 1638"/>
                <a:gd name="T99" fmla="*/ 354 h 1638"/>
                <a:gd name="T100" fmla="*/ 1253 w 1638"/>
                <a:gd name="T101" fmla="*/ 383 h 1638"/>
                <a:gd name="T102" fmla="*/ 1370 w 1638"/>
                <a:gd name="T103" fmla="*/ 1574 h 1638"/>
                <a:gd name="T104" fmla="*/ 1370 w 1638"/>
                <a:gd name="T105" fmla="*/ 1082 h 1638"/>
                <a:gd name="T106" fmla="*/ 1306 w 1638"/>
                <a:gd name="T107" fmla="*/ 1574 h 1638"/>
                <a:gd name="T108" fmla="*/ 1447 w 1638"/>
                <a:gd name="T109" fmla="*/ 957 h 1638"/>
                <a:gd name="T110" fmla="*/ 1511 w 1638"/>
                <a:gd name="T111" fmla="*/ 1019 h 1638"/>
                <a:gd name="T112" fmla="*/ 1447 w 1638"/>
                <a:gd name="T113" fmla="*/ 747 h 1638"/>
                <a:gd name="T114" fmla="*/ 1229 w 1638"/>
                <a:gd name="T115" fmla="*/ 849 h 1638"/>
                <a:gd name="T116" fmla="*/ 1165 w 1638"/>
                <a:gd name="T117" fmla="*/ 1019 h 1638"/>
                <a:gd name="T118" fmla="*/ 1101 w 1638"/>
                <a:gd name="T119" fmla="*/ 941 h 1638"/>
                <a:gd name="T120" fmla="*/ 1289 w 1638"/>
                <a:gd name="T121" fmla="*/ 532 h 1638"/>
                <a:gd name="T122" fmla="*/ 1574 w 1638"/>
                <a:gd name="T123" fmla="*/ 983 h 1638"/>
                <a:gd name="T124" fmla="*/ 1537 w 1638"/>
                <a:gd name="T125" fmla="*/ 1019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8" h="1638">
                  <a:moveTo>
                    <a:pt x="1453" y="477"/>
                  </a:moveTo>
                  <a:cubicBezTo>
                    <a:pt x="1474" y="452"/>
                    <a:pt x="1486" y="419"/>
                    <a:pt x="1486" y="383"/>
                  </a:cubicBezTo>
                  <a:cubicBezTo>
                    <a:pt x="1486" y="354"/>
                    <a:pt x="1486" y="354"/>
                    <a:pt x="1486" y="354"/>
                  </a:cubicBezTo>
                  <a:cubicBezTo>
                    <a:pt x="1486" y="272"/>
                    <a:pt x="1420" y="205"/>
                    <a:pt x="1338" y="205"/>
                  </a:cubicBezTo>
                  <a:cubicBezTo>
                    <a:pt x="1256" y="205"/>
                    <a:pt x="1189" y="272"/>
                    <a:pt x="1189" y="354"/>
                  </a:cubicBezTo>
                  <a:cubicBezTo>
                    <a:pt x="1189" y="383"/>
                    <a:pt x="1189" y="383"/>
                    <a:pt x="1189" y="383"/>
                  </a:cubicBezTo>
                  <a:cubicBezTo>
                    <a:pt x="1189" y="419"/>
                    <a:pt x="1201" y="452"/>
                    <a:pt x="1222" y="477"/>
                  </a:cubicBezTo>
                  <a:cubicBezTo>
                    <a:pt x="1197" y="484"/>
                    <a:pt x="1173" y="495"/>
                    <a:pt x="1150" y="510"/>
                  </a:cubicBezTo>
                  <a:cubicBezTo>
                    <a:pt x="1150" y="487"/>
                    <a:pt x="1150" y="487"/>
                    <a:pt x="1150" y="487"/>
                  </a:cubicBezTo>
                  <a:cubicBezTo>
                    <a:pt x="1150" y="390"/>
                    <a:pt x="1072" y="311"/>
                    <a:pt x="975" y="311"/>
                  </a:cubicBezTo>
                  <a:cubicBezTo>
                    <a:pt x="955" y="311"/>
                    <a:pt x="955" y="311"/>
                    <a:pt x="955" y="311"/>
                  </a:cubicBezTo>
                  <a:cubicBezTo>
                    <a:pt x="979" y="281"/>
                    <a:pt x="994" y="243"/>
                    <a:pt x="994" y="201"/>
                  </a:cubicBezTo>
                  <a:cubicBezTo>
                    <a:pt x="994" y="175"/>
                    <a:pt x="994" y="175"/>
                    <a:pt x="994" y="175"/>
                  </a:cubicBezTo>
                  <a:cubicBezTo>
                    <a:pt x="994" y="78"/>
                    <a:pt x="916" y="0"/>
                    <a:pt x="820" y="0"/>
                  </a:cubicBezTo>
                  <a:cubicBezTo>
                    <a:pt x="723" y="0"/>
                    <a:pt x="645" y="78"/>
                    <a:pt x="645" y="175"/>
                  </a:cubicBezTo>
                  <a:cubicBezTo>
                    <a:pt x="645" y="201"/>
                    <a:pt x="645" y="201"/>
                    <a:pt x="645" y="201"/>
                  </a:cubicBezTo>
                  <a:cubicBezTo>
                    <a:pt x="645" y="243"/>
                    <a:pt x="660" y="281"/>
                    <a:pt x="685" y="311"/>
                  </a:cubicBezTo>
                  <a:cubicBezTo>
                    <a:pt x="664" y="311"/>
                    <a:pt x="664" y="311"/>
                    <a:pt x="664" y="311"/>
                  </a:cubicBezTo>
                  <a:cubicBezTo>
                    <a:pt x="567" y="311"/>
                    <a:pt x="489" y="390"/>
                    <a:pt x="489" y="487"/>
                  </a:cubicBezTo>
                  <a:cubicBezTo>
                    <a:pt x="489" y="510"/>
                    <a:pt x="489" y="510"/>
                    <a:pt x="489" y="510"/>
                  </a:cubicBezTo>
                  <a:cubicBezTo>
                    <a:pt x="466" y="496"/>
                    <a:pt x="442" y="484"/>
                    <a:pt x="416" y="477"/>
                  </a:cubicBezTo>
                  <a:cubicBezTo>
                    <a:pt x="437" y="452"/>
                    <a:pt x="450" y="419"/>
                    <a:pt x="450" y="383"/>
                  </a:cubicBezTo>
                  <a:cubicBezTo>
                    <a:pt x="450" y="354"/>
                    <a:pt x="450" y="354"/>
                    <a:pt x="450" y="354"/>
                  </a:cubicBezTo>
                  <a:cubicBezTo>
                    <a:pt x="450" y="272"/>
                    <a:pt x="383" y="205"/>
                    <a:pt x="301" y="205"/>
                  </a:cubicBezTo>
                  <a:cubicBezTo>
                    <a:pt x="219" y="205"/>
                    <a:pt x="152" y="272"/>
                    <a:pt x="152" y="354"/>
                  </a:cubicBezTo>
                  <a:cubicBezTo>
                    <a:pt x="152" y="383"/>
                    <a:pt x="152" y="383"/>
                    <a:pt x="152" y="383"/>
                  </a:cubicBezTo>
                  <a:cubicBezTo>
                    <a:pt x="152" y="419"/>
                    <a:pt x="165" y="452"/>
                    <a:pt x="185" y="477"/>
                  </a:cubicBezTo>
                  <a:cubicBezTo>
                    <a:pt x="79" y="507"/>
                    <a:pt x="0" y="605"/>
                    <a:pt x="0" y="721"/>
                  </a:cubicBezTo>
                  <a:cubicBezTo>
                    <a:pt x="0" y="983"/>
                    <a:pt x="0" y="983"/>
                    <a:pt x="0" y="983"/>
                  </a:cubicBezTo>
                  <a:cubicBezTo>
                    <a:pt x="0" y="1038"/>
                    <a:pt x="45" y="1083"/>
                    <a:pt x="101" y="1083"/>
                  </a:cubicBezTo>
                  <a:cubicBezTo>
                    <a:pt x="128" y="1083"/>
                    <a:pt x="128" y="1083"/>
                    <a:pt x="128" y="1083"/>
                  </a:cubicBezTo>
                  <a:cubicBezTo>
                    <a:pt x="128" y="1606"/>
                    <a:pt x="128" y="1606"/>
                    <a:pt x="128" y="1606"/>
                  </a:cubicBezTo>
                  <a:cubicBezTo>
                    <a:pt x="128" y="1624"/>
                    <a:pt x="142" y="1638"/>
                    <a:pt x="160" y="1638"/>
                  </a:cubicBezTo>
                  <a:cubicBezTo>
                    <a:pt x="300" y="1638"/>
                    <a:pt x="300" y="1638"/>
                    <a:pt x="300" y="1638"/>
                  </a:cubicBezTo>
                  <a:cubicBezTo>
                    <a:pt x="300" y="1638"/>
                    <a:pt x="301" y="1638"/>
                    <a:pt x="301" y="1638"/>
                  </a:cubicBezTo>
                  <a:cubicBezTo>
                    <a:pt x="301" y="1638"/>
                    <a:pt x="301" y="1638"/>
                    <a:pt x="301" y="1638"/>
                  </a:cubicBezTo>
                  <a:cubicBezTo>
                    <a:pt x="441" y="1638"/>
                    <a:pt x="441" y="1638"/>
                    <a:pt x="441" y="1638"/>
                  </a:cubicBezTo>
                  <a:cubicBezTo>
                    <a:pt x="459" y="1638"/>
                    <a:pt x="473" y="1624"/>
                    <a:pt x="473" y="1606"/>
                  </a:cubicBezTo>
                  <a:cubicBezTo>
                    <a:pt x="473" y="1083"/>
                    <a:pt x="473" y="1083"/>
                    <a:pt x="473" y="1083"/>
                  </a:cubicBezTo>
                  <a:cubicBezTo>
                    <a:pt x="501" y="1083"/>
                    <a:pt x="501" y="1083"/>
                    <a:pt x="501" y="1083"/>
                  </a:cubicBezTo>
                  <a:cubicBezTo>
                    <a:pt x="556" y="1083"/>
                    <a:pt x="601" y="1038"/>
                    <a:pt x="602" y="983"/>
                  </a:cubicBezTo>
                  <a:cubicBezTo>
                    <a:pt x="612" y="987"/>
                    <a:pt x="623" y="990"/>
                    <a:pt x="634" y="992"/>
                  </a:cubicBezTo>
                  <a:cubicBezTo>
                    <a:pt x="634" y="1606"/>
                    <a:pt x="634" y="1606"/>
                    <a:pt x="634" y="1606"/>
                  </a:cubicBezTo>
                  <a:cubicBezTo>
                    <a:pt x="634" y="1624"/>
                    <a:pt x="648" y="1638"/>
                    <a:pt x="666" y="1638"/>
                  </a:cubicBezTo>
                  <a:cubicBezTo>
                    <a:pt x="973" y="1638"/>
                    <a:pt x="973" y="1638"/>
                    <a:pt x="973" y="1638"/>
                  </a:cubicBezTo>
                  <a:cubicBezTo>
                    <a:pt x="991" y="1638"/>
                    <a:pt x="1005" y="1624"/>
                    <a:pt x="1005" y="1606"/>
                  </a:cubicBezTo>
                  <a:cubicBezTo>
                    <a:pt x="1005" y="1296"/>
                    <a:pt x="1005" y="1296"/>
                    <a:pt x="1005" y="1296"/>
                  </a:cubicBezTo>
                  <a:cubicBezTo>
                    <a:pt x="1005" y="1279"/>
                    <a:pt x="991" y="1264"/>
                    <a:pt x="973" y="1264"/>
                  </a:cubicBezTo>
                  <a:cubicBezTo>
                    <a:pt x="956" y="1264"/>
                    <a:pt x="941" y="1279"/>
                    <a:pt x="941" y="1296"/>
                  </a:cubicBezTo>
                  <a:cubicBezTo>
                    <a:pt x="941" y="1574"/>
                    <a:pt x="941" y="1574"/>
                    <a:pt x="941" y="1574"/>
                  </a:cubicBezTo>
                  <a:cubicBezTo>
                    <a:pt x="852" y="1574"/>
                    <a:pt x="852" y="1574"/>
                    <a:pt x="852" y="1574"/>
                  </a:cubicBezTo>
                  <a:cubicBezTo>
                    <a:pt x="852" y="1035"/>
                    <a:pt x="852" y="1035"/>
                    <a:pt x="852" y="1035"/>
                  </a:cubicBezTo>
                  <a:cubicBezTo>
                    <a:pt x="852" y="1017"/>
                    <a:pt x="837" y="1003"/>
                    <a:pt x="820" y="1003"/>
                  </a:cubicBezTo>
                  <a:cubicBezTo>
                    <a:pt x="802" y="1003"/>
                    <a:pt x="788" y="1017"/>
                    <a:pt x="788" y="1035"/>
                  </a:cubicBezTo>
                  <a:cubicBezTo>
                    <a:pt x="788" y="1574"/>
                    <a:pt x="788" y="1574"/>
                    <a:pt x="788" y="1574"/>
                  </a:cubicBezTo>
                  <a:cubicBezTo>
                    <a:pt x="698" y="1574"/>
                    <a:pt x="698" y="1574"/>
                    <a:pt x="698" y="1574"/>
                  </a:cubicBezTo>
                  <a:cubicBezTo>
                    <a:pt x="698" y="895"/>
                    <a:pt x="698" y="895"/>
                    <a:pt x="698" y="895"/>
                  </a:cubicBezTo>
                  <a:cubicBezTo>
                    <a:pt x="941" y="895"/>
                    <a:pt x="941" y="895"/>
                    <a:pt x="941" y="895"/>
                  </a:cubicBezTo>
                  <a:cubicBezTo>
                    <a:pt x="941" y="1049"/>
                    <a:pt x="941" y="1049"/>
                    <a:pt x="941" y="1049"/>
                  </a:cubicBezTo>
                  <a:cubicBezTo>
                    <a:pt x="941" y="1066"/>
                    <a:pt x="956" y="1081"/>
                    <a:pt x="973" y="1081"/>
                  </a:cubicBezTo>
                  <a:cubicBezTo>
                    <a:pt x="991" y="1081"/>
                    <a:pt x="1005" y="1066"/>
                    <a:pt x="1005" y="1049"/>
                  </a:cubicBezTo>
                  <a:cubicBezTo>
                    <a:pt x="1005" y="992"/>
                    <a:pt x="1005" y="992"/>
                    <a:pt x="1005" y="992"/>
                  </a:cubicBezTo>
                  <a:cubicBezTo>
                    <a:pt x="1016" y="990"/>
                    <a:pt x="1027" y="987"/>
                    <a:pt x="1037" y="983"/>
                  </a:cubicBezTo>
                  <a:cubicBezTo>
                    <a:pt x="1037" y="1039"/>
                    <a:pt x="1082" y="1083"/>
                    <a:pt x="1138" y="1083"/>
                  </a:cubicBezTo>
                  <a:cubicBezTo>
                    <a:pt x="1165" y="1083"/>
                    <a:pt x="1165" y="1083"/>
                    <a:pt x="1165" y="1083"/>
                  </a:cubicBezTo>
                  <a:cubicBezTo>
                    <a:pt x="1165" y="1606"/>
                    <a:pt x="1165" y="1606"/>
                    <a:pt x="1165" y="1606"/>
                  </a:cubicBezTo>
                  <a:cubicBezTo>
                    <a:pt x="1165" y="1624"/>
                    <a:pt x="1179" y="1638"/>
                    <a:pt x="1197" y="1638"/>
                  </a:cubicBezTo>
                  <a:cubicBezTo>
                    <a:pt x="1338" y="1638"/>
                    <a:pt x="1338" y="1638"/>
                    <a:pt x="1338" y="1638"/>
                  </a:cubicBezTo>
                  <a:cubicBezTo>
                    <a:pt x="1338" y="1638"/>
                    <a:pt x="1338" y="1638"/>
                    <a:pt x="1338" y="1638"/>
                  </a:cubicBezTo>
                  <a:cubicBezTo>
                    <a:pt x="1338" y="1638"/>
                    <a:pt x="1338" y="1638"/>
                    <a:pt x="1338" y="1638"/>
                  </a:cubicBezTo>
                  <a:cubicBezTo>
                    <a:pt x="1479" y="1638"/>
                    <a:pt x="1479" y="1638"/>
                    <a:pt x="1479" y="1638"/>
                  </a:cubicBezTo>
                  <a:cubicBezTo>
                    <a:pt x="1496" y="1638"/>
                    <a:pt x="1511" y="1624"/>
                    <a:pt x="1511" y="1606"/>
                  </a:cubicBezTo>
                  <a:cubicBezTo>
                    <a:pt x="1511" y="1083"/>
                    <a:pt x="1511" y="1083"/>
                    <a:pt x="1511" y="1083"/>
                  </a:cubicBezTo>
                  <a:cubicBezTo>
                    <a:pt x="1537" y="1083"/>
                    <a:pt x="1537" y="1083"/>
                    <a:pt x="1537" y="1083"/>
                  </a:cubicBezTo>
                  <a:cubicBezTo>
                    <a:pt x="1593" y="1083"/>
                    <a:pt x="1638" y="1038"/>
                    <a:pt x="1638" y="983"/>
                  </a:cubicBezTo>
                  <a:cubicBezTo>
                    <a:pt x="1638" y="721"/>
                    <a:pt x="1638" y="721"/>
                    <a:pt x="1638" y="721"/>
                  </a:cubicBezTo>
                  <a:cubicBezTo>
                    <a:pt x="1638" y="605"/>
                    <a:pt x="1560" y="507"/>
                    <a:pt x="1453" y="477"/>
                  </a:cubicBezTo>
                  <a:close/>
                  <a:moveTo>
                    <a:pt x="216" y="354"/>
                  </a:moveTo>
                  <a:cubicBezTo>
                    <a:pt x="216" y="307"/>
                    <a:pt x="254" y="269"/>
                    <a:pt x="301" y="269"/>
                  </a:cubicBezTo>
                  <a:cubicBezTo>
                    <a:pt x="348" y="269"/>
                    <a:pt x="386" y="307"/>
                    <a:pt x="386" y="354"/>
                  </a:cubicBezTo>
                  <a:cubicBezTo>
                    <a:pt x="386" y="383"/>
                    <a:pt x="386" y="383"/>
                    <a:pt x="386" y="383"/>
                  </a:cubicBezTo>
                  <a:cubicBezTo>
                    <a:pt x="386" y="430"/>
                    <a:pt x="348" y="468"/>
                    <a:pt x="301" y="468"/>
                  </a:cubicBezTo>
                  <a:cubicBezTo>
                    <a:pt x="254" y="468"/>
                    <a:pt x="216" y="430"/>
                    <a:pt x="216" y="383"/>
                  </a:cubicBezTo>
                  <a:lnTo>
                    <a:pt x="216" y="354"/>
                  </a:lnTo>
                  <a:close/>
                  <a:moveTo>
                    <a:pt x="409" y="1574"/>
                  </a:moveTo>
                  <a:cubicBezTo>
                    <a:pt x="333" y="1574"/>
                    <a:pt x="333" y="1574"/>
                    <a:pt x="333" y="1574"/>
                  </a:cubicBezTo>
                  <a:cubicBezTo>
                    <a:pt x="333" y="1082"/>
                    <a:pt x="333" y="1082"/>
                    <a:pt x="333" y="1082"/>
                  </a:cubicBezTo>
                  <a:cubicBezTo>
                    <a:pt x="333" y="1064"/>
                    <a:pt x="318" y="1050"/>
                    <a:pt x="301" y="1050"/>
                  </a:cubicBezTo>
                  <a:cubicBezTo>
                    <a:pt x="283" y="1050"/>
                    <a:pt x="269" y="1064"/>
                    <a:pt x="269" y="1082"/>
                  </a:cubicBezTo>
                  <a:cubicBezTo>
                    <a:pt x="269" y="1115"/>
                    <a:pt x="269" y="1115"/>
                    <a:pt x="269" y="1115"/>
                  </a:cubicBezTo>
                  <a:cubicBezTo>
                    <a:pt x="269" y="1117"/>
                    <a:pt x="268" y="1118"/>
                    <a:pt x="268" y="1120"/>
                  </a:cubicBezTo>
                  <a:cubicBezTo>
                    <a:pt x="268" y="1574"/>
                    <a:pt x="268" y="1574"/>
                    <a:pt x="268" y="1574"/>
                  </a:cubicBezTo>
                  <a:cubicBezTo>
                    <a:pt x="192" y="1574"/>
                    <a:pt x="192" y="1574"/>
                    <a:pt x="192" y="1574"/>
                  </a:cubicBezTo>
                  <a:cubicBezTo>
                    <a:pt x="192" y="957"/>
                    <a:pt x="192" y="957"/>
                    <a:pt x="192" y="957"/>
                  </a:cubicBezTo>
                  <a:cubicBezTo>
                    <a:pt x="409" y="957"/>
                    <a:pt x="409" y="957"/>
                    <a:pt x="409" y="957"/>
                  </a:cubicBezTo>
                  <a:lnTo>
                    <a:pt x="409" y="1574"/>
                  </a:lnTo>
                  <a:close/>
                  <a:moveTo>
                    <a:pt x="538" y="982"/>
                  </a:moveTo>
                  <a:cubicBezTo>
                    <a:pt x="538" y="1003"/>
                    <a:pt x="521" y="1019"/>
                    <a:pt x="501" y="1019"/>
                  </a:cubicBezTo>
                  <a:cubicBezTo>
                    <a:pt x="473" y="1019"/>
                    <a:pt x="473" y="1019"/>
                    <a:pt x="473" y="1019"/>
                  </a:cubicBezTo>
                  <a:cubicBezTo>
                    <a:pt x="473" y="849"/>
                    <a:pt x="473" y="849"/>
                    <a:pt x="473" y="849"/>
                  </a:cubicBezTo>
                  <a:cubicBezTo>
                    <a:pt x="473" y="831"/>
                    <a:pt x="459" y="817"/>
                    <a:pt x="441" y="817"/>
                  </a:cubicBezTo>
                  <a:cubicBezTo>
                    <a:pt x="424" y="817"/>
                    <a:pt x="409" y="831"/>
                    <a:pt x="409" y="849"/>
                  </a:cubicBezTo>
                  <a:cubicBezTo>
                    <a:pt x="409" y="893"/>
                    <a:pt x="409" y="893"/>
                    <a:pt x="409" y="893"/>
                  </a:cubicBezTo>
                  <a:cubicBezTo>
                    <a:pt x="192" y="893"/>
                    <a:pt x="192" y="893"/>
                    <a:pt x="192" y="893"/>
                  </a:cubicBezTo>
                  <a:cubicBezTo>
                    <a:pt x="192" y="747"/>
                    <a:pt x="192" y="747"/>
                    <a:pt x="192" y="747"/>
                  </a:cubicBezTo>
                  <a:cubicBezTo>
                    <a:pt x="192" y="730"/>
                    <a:pt x="177" y="715"/>
                    <a:pt x="160" y="715"/>
                  </a:cubicBezTo>
                  <a:cubicBezTo>
                    <a:pt x="142" y="715"/>
                    <a:pt x="128" y="730"/>
                    <a:pt x="128" y="747"/>
                  </a:cubicBezTo>
                  <a:cubicBezTo>
                    <a:pt x="128" y="1019"/>
                    <a:pt x="128" y="1019"/>
                    <a:pt x="128" y="1019"/>
                  </a:cubicBezTo>
                  <a:cubicBezTo>
                    <a:pt x="101" y="1019"/>
                    <a:pt x="101" y="1019"/>
                    <a:pt x="101" y="1019"/>
                  </a:cubicBezTo>
                  <a:cubicBezTo>
                    <a:pt x="81" y="1019"/>
                    <a:pt x="64" y="1003"/>
                    <a:pt x="64" y="982"/>
                  </a:cubicBezTo>
                  <a:cubicBezTo>
                    <a:pt x="64" y="721"/>
                    <a:pt x="64" y="721"/>
                    <a:pt x="64" y="721"/>
                  </a:cubicBezTo>
                  <a:cubicBezTo>
                    <a:pt x="64" y="617"/>
                    <a:pt x="149" y="532"/>
                    <a:pt x="253" y="532"/>
                  </a:cubicBezTo>
                  <a:cubicBezTo>
                    <a:pt x="349" y="532"/>
                    <a:pt x="349" y="532"/>
                    <a:pt x="349" y="532"/>
                  </a:cubicBezTo>
                  <a:cubicBezTo>
                    <a:pt x="402" y="532"/>
                    <a:pt x="453" y="555"/>
                    <a:pt x="489" y="594"/>
                  </a:cubicBezTo>
                  <a:cubicBezTo>
                    <a:pt x="489" y="594"/>
                    <a:pt x="489" y="594"/>
                    <a:pt x="489" y="594"/>
                  </a:cubicBezTo>
                  <a:cubicBezTo>
                    <a:pt x="489" y="819"/>
                    <a:pt x="489" y="819"/>
                    <a:pt x="489" y="819"/>
                  </a:cubicBezTo>
                  <a:cubicBezTo>
                    <a:pt x="489" y="866"/>
                    <a:pt x="507" y="909"/>
                    <a:pt x="538" y="941"/>
                  </a:cubicBezTo>
                  <a:lnTo>
                    <a:pt x="538" y="982"/>
                  </a:lnTo>
                  <a:close/>
                  <a:moveTo>
                    <a:pt x="820" y="64"/>
                  </a:moveTo>
                  <a:cubicBezTo>
                    <a:pt x="881" y="64"/>
                    <a:pt x="930" y="114"/>
                    <a:pt x="930" y="175"/>
                  </a:cubicBezTo>
                  <a:cubicBezTo>
                    <a:pt x="930" y="201"/>
                    <a:pt x="930" y="201"/>
                    <a:pt x="930" y="201"/>
                  </a:cubicBezTo>
                  <a:cubicBezTo>
                    <a:pt x="930" y="262"/>
                    <a:pt x="881" y="311"/>
                    <a:pt x="820" y="311"/>
                  </a:cubicBezTo>
                  <a:cubicBezTo>
                    <a:pt x="759" y="311"/>
                    <a:pt x="709" y="262"/>
                    <a:pt x="709" y="201"/>
                  </a:cubicBezTo>
                  <a:cubicBezTo>
                    <a:pt x="709" y="175"/>
                    <a:pt x="709" y="175"/>
                    <a:pt x="709" y="175"/>
                  </a:cubicBezTo>
                  <a:cubicBezTo>
                    <a:pt x="709" y="114"/>
                    <a:pt x="759" y="64"/>
                    <a:pt x="820" y="64"/>
                  </a:cubicBezTo>
                  <a:close/>
                  <a:moveTo>
                    <a:pt x="1086" y="819"/>
                  </a:moveTo>
                  <a:cubicBezTo>
                    <a:pt x="1086" y="870"/>
                    <a:pt x="1052" y="913"/>
                    <a:pt x="1005" y="926"/>
                  </a:cubicBezTo>
                  <a:cubicBezTo>
                    <a:pt x="1005" y="487"/>
                    <a:pt x="1005" y="487"/>
                    <a:pt x="1005" y="487"/>
                  </a:cubicBezTo>
                  <a:cubicBezTo>
                    <a:pt x="1005" y="469"/>
                    <a:pt x="991" y="455"/>
                    <a:pt x="973" y="455"/>
                  </a:cubicBezTo>
                  <a:cubicBezTo>
                    <a:pt x="956" y="455"/>
                    <a:pt x="941" y="469"/>
                    <a:pt x="941" y="487"/>
                  </a:cubicBezTo>
                  <a:cubicBezTo>
                    <a:pt x="941" y="831"/>
                    <a:pt x="941" y="831"/>
                    <a:pt x="941" y="831"/>
                  </a:cubicBezTo>
                  <a:cubicBezTo>
                    <a:pt x="698" y="831"/>
                    <a:pt x="698" y="831"/>
                    <a:pt x="698" y="831"/>
                  </a:cubicBezTo>
                  <a:cubicBezTo>
                    <a:pt x="698" y="487"/>
                    <a:pt x="698" y="487"/>
                    <a:pt x="698" y="487"/>
                  </a:cubicBezTo>
                  <a:cubicBezTo>
                    <a:pt x="698" y="469"/>
                    <a:pt x="684" y="455"/>
                    <a:pt x="666" y="455"/>
                  </a:cubicBezTo>
                  <a:cubicBezTo>
                    <a:pt x="648" y="455"/>
                    <a:pt x="634" y="469"/>
                    <a:pt x="634" y="487"/>
                  </a:cubicBezTo>
                  <a:cubicBezTo>
                    <a:pt x="634" y="926"/>
                    <a:pt x="634" y="926"/>
                    <a:pt x="634" y="926"/>
                  </a:cubicBezTo>
                  <a:cubicBezTo>
                    <a:pt x="587" y="913"/>
                    <a:pt x="553" y="870"/>
                    <a:pt x="553" y="819"/>
                  </a:cubicBezTo>
                  <a:cubicBezTo>
                    <a:pt x="553" y="487"/>
                    <a:pt x="553" y="487"/>
                    <a:pt x="553" y="487"/>
                  </a:cubicBezTo>
                  <a:cubicBezTo>
                    <a:pt x="553" y="425"/>
                    <a:pt x="603" y="375"/>
                    <a:pt x="664" y="375"/>
                  </a:cubicBezTo>
                  <a:cubicBezTo>
                    <a:pt x="787" y="375"/>
                    <a:pt x="787" y="375"/>
                    <a:pt x="787" y="375"/>
                  </a:cubicBezTo>
                  <a:cubicBezTo>
                    <a:pt x="787" y="463"/>
                    <a:pt x="787" y="463"/>
                    <a:pt x="787" y="463"/>
                  </a:cubicBezTo>
                  <a:cubicBezTo>
                    <a:pt x="787" y="481"/>
                    <a:pt x="801" y="495"/>
                    <a:pt x="819" y="495"/>
                  </a:cubicBezTo>
                  <a:cubicBezTo>
                    <a:pt x="836" y="495"/>
                    <a:pt x="851" y="481"/>
                    <a:pt x="851" y="463"/>
                  </a:cubicBezTo>
                  <a:cubicBezTo>
                    <a:pt x="851" y="375"/>
                    <a:pt x="851" y="375"/>
                    <a:pt x="851" y="375"/>
                  </a:cubicBezTo>
                  <a:cubicBezTo>
                    <a:pt x="975" y="375"/>
                    <a:pt x="975" y="375"/>
                    <a:pt x="975" y="375"/>
                  </a:cubicBezTo>
                  <a:cubicBezTo>
                    <a:pt x="1037" y="375"/>
                    <a:pt x="1086" y="425"/>
                    <a:pt x="1086" y="487"/>
                  </a:cubicBezTo>
                  <a:lnTo>
                    <a:pt x="1086" y="819"/>
                  </a:lnTo>
                  <a:close/>
                  <a:moveTo>
                    <a:pt x="1253" y="354"/>
                  </a:moveTo>
                  <a:cubicBezTo>
                    <a:pt x="1253" y="307"/>
                    <a:pt x="1291" y="269"/>
                    <a:pt x="1338" y="269"/>
                  </a:cubicBezTo>
                  <a:cubicBezTo>
                    <a:pt x="1384" y="269"/>
                    <a:pt x="1422" y="307"/>
                    <a:pt x="1422" y="354"/>
                  </a:cubicBezTo>
                  <a:cubicBezTo>
                    <a:pt x="1422" y="383"/>
                    <a:pt x="1422" y="383"/>
                    <a:pt x="1422" y="383"/>
                  </a:cubicBezTo>
                  <a:cubicBezTo>
                    <a:pt x="1422" y="430"/>
                    <a:pt x="1384" y="468"/>
                    <a:pt x="1338" y="468"/>
                  </a:cubicBezTo>
                  <a:cubicBezTo>
                    <a:pt x="1291" y="468"/>
                    <a:pt x="1253" y="430"/>
                    <a:pt x="1253" y="383"/>
                  </a:cubicBezTo>
                  <a:lnTo>
                    <a:pt x="1253" y="354"/>
                  </a:lnTo>
                  <a:close/>
                  <a:moveTo>
                    <a:pt x="1447" y="1574"/>
                  </a:moveTo>
                  <a:cubicBezTo>
                    <a:pt x="1370" y="1574"/>
                    <a:pt x="1370" y="1574"/>
                    <a:pt x="1370" y="1574"/>
                  </a:cubicBezTo>
                  <a:cubicBezTo>
                    <a:pt x="1370" y="1120"/>
                    <a:pt x="1370" y="1120"/>
                    <a:pt x="1370" y="1120"/>
                  </a:cubicBezTo>
                  <a:cubicBezTo>
                    <a:pt x="1370" y="1118"/>
                    <a:pt x="1370" y="1117"/>
                    <a:pt x="1370" y="1115"/>
                  </a:cubicBezTo>
                  <a:cubicBezTo>
                    <a:pt x="1370" y="1082"/>
                    <a:pt x="1370" y="1082"/>
                    <a:pt x="1370" y="1082"/>
                  </a:cubicBezTo>
                  <a:cubicBezTo>
                    <a:pt x="1370" y="1064"/>
                    <a:pt x="1355" y="1050"/>
                    <a:pt x="1338" y="1050"/>
                  </a:cubicBezTo>
                  <a:cubicBezTo>
                    <a:pt x="1320" y="1050"/>
                    <a:pt x="1306" y="1064"/>
                    <a:pt x="1306" y="1082"/>
                  </a:cubicBezTo>
                  <a:cubicBezTo>
                    <a:pt x="1306" y="1574"/>
                    <a:pt x="1306" y="1574"/>
                    <a:pt x="1306" y="1574"/>
                  </a:cubicBezTo>
                  <a:cubicBezTo>
                    <a:pt x="1229" y="1574"/>
                    <a:pt x="1229" y="1574"/>
                    <a:pt x="1229" y="1574"/>
                  </a:cubicBezTo>
                  <a:cubicBezTo>
                    <a:pt x="1229" y="957"/>
                    <a:pt x="1229" y="957"/>
                    <a:pt x="1229" y="957"/>
                  </a:cubicBezTo>
                  <a:cubicBezTo>
                    <a:pt x="1447" y="957"/>
                    <a:pt x="1447" y="957"/>
                    <a:pt x="1447" y="957"/>
                  </a:cubicBezTo>
                  <a:lnTo>
                    <a:pt x="1447" y="1574"/>
                  </a:lnTo>
                  <a:close/>
                  <a:moveTo>
                    <a:pt x="1537" y="1019"/>
                  </a:moveTo>
                  <a:cubicBezTo>
                    <a:pt x="1511" y="1019"/>
                    <a:pt x="1511" y="1019"/>
                    <a:pt x="1511" y="1019"/>
                  </a:cubicBezTo>
                  <a:cubicBezTo>
                    <a:pt x="1511" y="747"/>
                    <a:pt x="1511" y="747"/>
                    <a:pt x="1511" y="747"/>
                  </a:cubicBezTo>
                  <a:cubicBezTo>
                    <a:pt x="1511" y="730"/>
                    <a:pt x="1496" y="715"/>
                    <a:pt x="1479" y="715"/>
                  </a:cubicBezTo>
                  <a:cubicBezTo>
                    <a:pt x="1461" y="715"/>
                    <a:pt x="1447" y="730"/>
                    <a:pt x="1447" y="747"/>
                  </a:cubicBezTo>
                  <a:cubicBezTo>
                    <a:pt x="1447" y="893"/>
                    <a:pt x="1447" y="893"/>
                    <a:pt x="1447" y="893"/>
                  </a:cubicBezTo>
                  <a:cubicBezTo>
                    <a:pt x="1229" y="893"/>
                    <a:pt x="1229" y="893"/>
                    <a:pt x="1229" y="893"/>
                  </a:cubicBezTo>
                  <a:cubicBezTo>
                    <a:pt x="1229" y="849"/>
                    <a:pt x="1229" y="849"/>
                    <a:pt x="1229" y="849"/>
                  </a:cubicBezTo>
                  <a:cubicBezTo>
                    <a:pt x="1229" y="831"/>
                    <a:pt x="1215" y="817"/>
                    <a:pt x="1197" y="817"/>
                  </a:cubicBezTo>
                  <a:cubicBezTo>
                    <a:pt x="1179" y="817"/>
                    <a:pt x="1165" y="831"/>
                    <a:pt x="1165" y="849"/>
                  </a:cubicBezTo>
                  <a:cubicBezTo>
                    <a:pt x="1165" y="1019"/>
                    <a:pt x="1165" y="1019"/>
                    <a:pt x="1165" y="1019"/>
                  </a:cubicBezTo>
                  <a:cubicBezTo>
                    <a:pt x="1138" y="1019"/>
                    <a:pt x="1138" y="1019"/>
                    <a:pt x="1138" y="1019"/>
                  </a:cubicBezTo>
                  <a:cubicBezTo>
                    <a:pt x="1117" y="1019"/>
                    <a:pt x="1101" y="1003"/>
                    <a:pt x="1101" y="983"/>
                  </a:cubicBezTo>
                  <a:cubicBezTo>
                    <a:pt x="1101" y="941"/>
                    <a:pt x="1101" y="941"/>
                    <a:pt x="1101" y="941"/>
                  </a:cubicBezTo>
                  <a:cubicBezTo>
                    <a:pt x="1131" y="910"/>
                    <a:pt x="1150" y="867"/>
                    <a:pt x="1150" y="819"/>
                  </a:cubicBezTo>
                  <a:cubicBezTo>
                    <a:pt x="1150" y="593"/>
                    <a:pt x="1150" y="593"/>
                    <a:pt x="1150" y="593"/>
                  </a:cubicBezTo>
                  <a:cubicBezTo>
                    <a:pt x="1186" y="554"/>
                    <a:pt x="1237" y="532"/>
                    <a:pt x="1289" y="532"/>
                  </a:cubicBezTo>
                  <a:cubicBezTo>
                    <a:pt x="1386" y="532"/>
                    <a:pt x="1386" y="532"/>
                    <a:pt x="1386" y="532"/>
                  </a:cubicBezTo>
                  <a:cubicBezTo>
                    <a:pt x="1490" y="532"/>
                    <a:pt x="1574" y="617"/>
                    <a:pt x="1574" y="721"/>
                  </a:cubicBezTo>
                  <a:cubicBezTo>
                    <a:pt x="1574" y="983"/>
                    <a:pt x="1574" y="983"/>
                    <a:pt x="1574" y="983"/>
                  </a:cubicBezTo>
                  <a:cubicBezTo>
                    <a:pt x="1574" y="983"/>
                    <a:pt x="1574" y="983"/>
                    <a:pt x="1574" y="983"/>
                  </a:cubicBezTo>
                  <a:cubicBezTo>
                    <a:pt x="1574" y="1003"/>
                    <a:pt x="1558" y="1019"/>
                    <a:pt x="1537" y="1019"/>
                  </a:cubicBezTo>
                  <a:close/>
                  <a:moveTo>
                    <a:pt x="1537" y="1019"/>
                  </a:moveTo>
                  <a:cubicBezTo>
                    <a:pt x="1537" y="1019"/>
                    <a:pt x="1537" y="1019"/>
                    <a:pt x="1537" y="10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72"/>
            <p:cNvSpPr>
              <a:spLocks noEditPoints="1"/>
            </p:cNvSpPr>
            <p:nvPr/>
          </p:nvSpPr>
          <p:spPr bwMode="auto">
            <a:xfrm>
              <a:off x="5244" y="3095"/>
              <a:ext cx="122"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73"/>
            <p:cNvSpPr>
              <a:spLocks noEditPoints="1"/>
            </p:cNvSpPr>
            <p:nvPr/>
          </p:nvSpPr>
          <p:spPr bwMode="auto">
            <a:xfrm>
              <a:off x="4953" y="1981"/>
              <a:ext cx="121" cy="121"/>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9" name="Group 176"/>
          <p:cNvGrpSpPr>
            <a:grpSpLocks noChangeAspect="1"/>
          </p:cNvGrpSpPr>
          <p:nvPr/>
        </p:nvGrpSpPr>
        <p:grpSpPr bwMode="auto">
          <a:xfrm>
            <a:off x="1398668" y="2984382"/>
            <a:ext cx="400308" cy="457200"/>
            <a:chOff x="1803" y="1194"/>
            <a:chExt cx="2716" cy="3102"/>
          </a:xfrm>
          <a:solidFill>
            <a:schemeClr val="accent1"/>
          </a:solidFill>
        </p:grpSpPr>
        <p:sp>
          <p:nvSpPr>
            <p:cNvPr id="181" name="Freeform 177"/>
            <p:cNvSpPr>
              <a:spLocks noEditPoints="1"/>
            </p:cNvSpPr>
            <p:nvPr/>
          </p:nvSpPr>
          <p:spPr bwMode="auto">
            <a:xfrm>
              <a:off x="2095" y="1442"/>
              <a:ext cx="2072" cy="2854"/>
            </a:xfrm>
            <a:custGeom>
              <a:avLst/>
              <a:gdLst>
                <a:gd name="T0" fmla="*/ 955 w 1094"/>
                <a:gd name="T1" fmla="*/ 626 h 1508"/>
                <a:gd name="T2" fmla="*/ 345 w 1094"/>
                <a:gd name="T3" fmla="*/ 0 h 1508"/>
                <a:gd name="T4" fmla="*/ 313 w 1094"/>
                <a:gd name="T5" fmla="*/ 214 h 1508"/>
                <a:gd name="T6" fmla="*/ 13 w 1094"/>
                <a:gd name="T7" fmla="*/ 650 h 1508"/>
                <a:gd name="T8" fmla="*/ 189 w 1094"/>
                <a:gd name="T9" fmla="*/ 791 h 1508"/>
                <a:gd name="T10" fmla="*/ 413 w 1094"/>
                <a:gd name="T11" fmla="*/ 721 h 1508"/>
                <a:gd name="T12" fmla="*/ 435 w 1094"/>
                <a:gd name="T13" fmla="*/ 789 h 1508"/>
                <a:gd name="T14" fmla="*/ 261 w 1094"/>
                <a:gd name="T15" fmla="*/ 1068 h 1508"/>
                <a:gd name="T16" fmla="*/ 102 w 1094"/>
                <a:gd name="T17" fmla="*/ 1410 h 1508"/>
                <a:gd name="T18" fmla="*/ 134 w 1094"/>
                <a:gd name="T19" fmla="*/ 1508 h 1508"/>
                <a:gd name="T20" fmla="*/ 1094 w 1094"/>
                <a:gd name="T21" fmla="*/ 1476 h 1508"/>
                <a:gd name="T22" fmla="*/ 955 w 1094"/>
                <a:gd name="T23" fmla="*/ 1242 h 1508"/>
                <a:gd name="T24" fmla="*/ 447 w 1094"/>
                <a:gd name="T25" fmla="*/ 970 h 1508"/>
                <a:gd name="T26" fmla="*/ 499 w 1094"/>
                <a:gd name="T27" fmla="*/ 699 h 1508"/>
                <a:gd name="T28" fmla="*/ 596 w 1094"/>
                <a:gd name="T29" fmla="*/ 538 h 1508"/>
                <a:gd name="T30" fmla="*/ 564 w 1094"/>
                <a:gd name="T31" fmla="*/ 485 h 1508"/>
                <a:gd name="T32" fmla="*/ 532 w 1094"/>
                <a:gd name="T33" fmla="*/ 538 h 1508"/>
                <a:gd name="T34" fmla="*/ 413 w 1094"/>
                <a:gd name="T35" fmla="*/ 657 h 1508"/>
                <a:gd name="T36" fmla="*/ 271 w 1094"/>
                <a:gd name="T37" fmla="*/ 662 h 1508"/>
                <a:gd name="T38" fmla="*/ 78 w 1094"/>
                <a:gd name="T39" fmla="*/ 625 h 1508"/>
                <a:gd name="T40" fmla="*/ 377 w 1094"/>
                <a:gd name="T41" fmla="*/ 224 h 1508"/>
                <a:gd name="T42" fmla="*/ 442 w 1094"/>
                <a:gd name="T43" fmla="*/ 162 h 1508"/>
                <a:gd name="T44" fmla="*/ 447 w 1094"/>
                <a:gd name="T45" fmla="*/ 194 h 1508"/>
                <a:gd name="T46" fmla="*/ 478 w 1094"/>
                <a:gd name="T47" fmla="*/ 208 h 1508"/>
                <a:gd name="T48" fmla="*/ 891 w 1094"/>
                <a:gd name="T49" fmla="*/ 1239 h 1508"/>
                <a:gd name="T50" fmla="*/ 802 w 1094"/>
                <a:gd name="T51" fmla="*/ 999 h 1508"/>
                <a:gd name="T52" fmla="*/ 738 w 1094"/>
                <a:gd name="T53" fmla="*/ 999 h 1508"/>
                <a:gd name="T54" fmla="*/ 325 w 1094"/>
                <a:gd name="T55" fmla="*/ 1239 h 1508"/>
                <a:gd name="T56" fmla="*/ 1030 w 1094"/>
                <a:gd name="T57" fmla="*/ 1444 h 1508"/>
                <a:gd name="T58" fmla="*/ 166 w 1094"/>
                <a:gd name="T59" fmla="*/ 1410 h 1508"/>
                <a:gd name="T60" fmla="*/ 923 w 1094"/>
                <a:gd name="T61" fmla="*/ 1303 h 1508"/>
                <a:gd name="T62" fmla="*/ 1030 w 1094"/>
                <a:gd name="T63" fmla="*/ 1444 h 1508"/>
                <a:gd name="T64" fmla="*/ 1030 w 1094"/>
                <a:gd name="T65" fmla="*/ 1444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4" h="1508">
                  <a:moveTo>
                    <a:pt x="955" y="1242"/>
                  </a:moveTo>
                  <a:cubicBezTo>
                    <a:pt x="955" y="626"/>
                    <a:pt x="955" y="626"/>
                    <a:pt x="955" y="626"/>
                  </a:cubicBezTo>
                  <a:cubicBezTo>
                    <a:pt x="955" y="371"/>
                    <a:pt x="756" y="162"/>
                    <a:pt x="505" y="145"/>
                  </a:cubicBezTo>
                  <a:cubicBezTo>
                    <a:pt x="497" y="64"/>
                    <a:pt x="428" y="0"/>
                    <a:pt x="345" y="0"/>
                  </a:cubicBezTo>
                  <a:cubicBezTo>
                    <a:pt x="327" y="0"/>
                    <a:pt x="313" y="15"/>
                    <a:pt x="313" y="32"/>
                  </a:cubicBezTo>
                  <a:cubicBezTo>
                    <a:pt x="313" y="214"/>
                    <a:pt x="313" y="214"/>
                    <a:pt x="313" y="214"/>
                  </a:cubicBezTo>
                  <a:cubicBezTo>
                    <a:pt x="10" y="608"/>
                    <a:pt x="10" y="608"/>
                    <a:pt x="10" y="608"/>
                  </a:cubicBezTo>
                  <a:cubicBezTo>
                    <a:pt x="0" y="621"/>
                    <a:pt x="2" y="639"/>
                    <a:pt x="13" y="650"/>
                  </a:cubicBezTo>
                  <a:cubicBezTo>
                    <a:pt x="149" y="786"/>
                    <a:pt x="149" y="786"/>
                    <a:pt x="149" y="786"/>
                  </a:cubicBezTo>
                  <a:cubicBezTo>
                    <a:pt x="160" y="797"/>
                    <a:pt x="176" y="799"/>
                    <a:pt x="189" y="791"/>
                  </a:cubicBezTo>
                  <a:cubicBezTo>
                    <a:pt x="297" y="721"/>
                    <a:pt x="297" y="721"/>
                    <a:pt x="297" y="721"/>
                  </a:cubicBezTo>
                  <a:cubicBezTo>
                    <a:pt x="413" y="721"/>
                    <a:pt x="413" y="721"/>
                    <a:pt x="413" y="721"/>
                  </a:cubicBezTo>
                  <a:cubicBezTo>
                    <a:pt x="420" y="721"/>
                    <a:pt x="428" y="720"/>
                    <a:pt x="435" y="719"/>
                  </a:cubicBezTo>
                  <a:cubicBezTo>
                    <a:pt x="435" y="789"/>
                    <a:pt x="435" y="789"/>
                    <a:pt x="435" y="789"/>
                  </a:cubicBezTo>
                  <a:cubicBezTo>
                    <a:pt x="435" y="895"/>
                    <a:pt x="374" y="993"/>
                    <a:pt x="279" y="1039"/>
                  </a:cubicBezTo>
                  <a:cubicBezTo>
                    <a:pt x="268" y="1045"/>
                    <a:pt x="261" y="1056"/>
                    <a:pt x="261" y="1068"/>
                  </a:cubicBezTo>
                  <a:cubicBezTo>
                    <a:pt x="261" y="1239"/>
                    <a:pt x="261" y="1239"/>
                    <a:pt x="261" y="1239"/>
                  </a:cubicBezTo>
                  <a:cubicBezTo>
                    <a:pt x="173" y="1246"/>
                    <a:pt x="102" y="1320"/>
                    <a:pt x="102" y="1410"/>
                  </a:cubicBezTo>
                  <a:cubicBezTo>
                    <a:pt x="102" y="1476"/>
                    <a:pt x="102" y="1476"/>
                    <a:pt x="102" y="1476"/>
                  </a:cubicBezTo>
                  <a:cubicBezTo>
                    <a:pt x="102" y="1493"/>
                    <a:pt x="116" y="1508"/>
                    <a:pt x="134" y="1508"/>
                  </a:cubicBezTo>
                  <a:cubicBezTo>
                    <a:pt x="1062" y="1508"/>
                    <a:pt x="1062" y="1508"/>
                    <a:pt x="1062" y="1508"/>
                  </a:cubicBezTo>
                  <a:cubicBezTo>
                    <a:pt x="1080" y="1508"/>
                    <a:pt x="1094" y="1493"/>
                    <a:pt x="1094" y="1476"/>
                  </a:cubicBezTo>
                  <a:cubicBezTo>
                    <a:pt x="1094" y="1410"/>
                    <a:pt x="1094" y="1410"/>
                    <a:pt x="1094" y="1410"/>
                  </a:cubicBezTo>
                  <a:cubicBezTo>
                    <a:pt x="1094" y="1327"/>
                    <a:pt x="1034" y="1257"/>
                    <a:pt x="955" y="1242"/>
                  </a:cubicBezTo>
                  <a:close/>
                  <a:moveTo>
                    <a:pt x="325" y="1087"/>
                  </a:moveTo>
                  <a:cubicBezTo>
                    <a:pt x="375" y="1059"/>
                    <a:pt x="417" y="1019"/>
                    <a:pt x="447" y="970"/>
                  </a:cubicBezTo>
                  <a:cubicBezTo>
                    <a:pt x="481" y="916"/>
                    <a:pt x="499" y="853"/>
                    <a:pt x="499" y="789"/>
                  </a:cubicBezTo>
                  <a:cubicBezTo>
                    <a:pt x="499" y="699"/>
                    <a:pt x="499" y="699"/>
                    <a:pt x="499" y="699"/>
                  </a:cubicBezTo>
                  <a:cubicBezTo>
                    <a:pt x="500" y="699"/>
                    <a:pt x="500" y="699"/>
                    <a:pt x="500" y="699"/>
                  </a:cubicBezTo>
                  <a:cubicBezTo>
                    <a:pt x="559" y="667"/>
                    <a:pt x="596" y="605"/>
                    <a:pt x="596" y="538"/>
                  </a:cubicBezTo>
                  <a:cubicBezTo>
                    <a:pt x="596" y="517"/>
                    <a:pt x="596" y="517"/>
                    <a:pt x="596" y="517"/>
                  </a:cubicBezTo>
                  <a:cubicBezTo>
                    <a:pt x="596" y="500"/>
                    <a:pt x="581" y="485"/>
                    <a:pt x="564" y="485"/>
                  </a:cubicBezTo>
                  <a:cubicBezTo>
                    <a:pt x="546" y="485"/>
                    <a:pt x="532" y="500"/>
                    <a:pt x="532" y="517"/>
                  </a:cubicBezTo>
                  <a:cubicBezTo>
                    <a:pt x="532" y="538"/>
                    <a:pt x="532" y="538"/>
                    <a:pt x="532" y="538"/>
                  </a:cubicBezTo>
                  <a:cubicBezTo>
                    <a:pt x="532" y="582"/>
                    <a:pt x="508" y="622"/>
                    <a:pt x="470" y="642"/>
                  </a:cubicBezTo>
                  <a:cubicBezTo>
                    <a:pt x="452" y="652"/>
                    <a:pt x="433" y="657"/>
                    <a:pt x="413" y="657"/>
                  </a:cubicBezTo>
                  <a:cubicBezTo>
                    <a:pt x="288" y="657"/>
                    <a:pt x="288" y="657"/>
                    <a:pt x="288" y="657"/>
                  </a:cubicBezTo>
                  <a:cubicBezTo>
                    <a:pt x="282" y="657"/>
                    <a:pt x="276" y="659"/>
                    <a:pt x="271" y="662"/>
                  </a:cubicBezTo>
                  <a:cubicBezTo>
                    <a:pt x="176" y="723"/>
                    <a:pt x="176" y="723"/>
                    <a:pt x="176" y="723"/>
                  </a:cubicBezTo>
                  <a:cubicBezTo>
                    <a:pt x="78" y="625"/>
                    <a:pt x="78" y="625"/>
                    <a:pt x="78" y="625"/>
                  </a:cubicBezTo>
                  <a:cubicBezTo>
                    <a:pt x="370" y="244"/>
                    <a:pt x="370" y="244"/>
                    <a:pt x="370" y="244"/>
                  </a:cubicBezTo>
                  <a:cubicBezTo>
                    <a:pt x="374" y="238"/>
                    <a:pt x="377" y="232"/>
                    <a:pt x="377" y="224"/>
                  </a:cubicBezTo>
                  <a:cubicBezTo>
                    <a:pt x="377" y="70"/>
                    <a:pt x="377" y="70"/>
                    <a:pt x="377" y="70"/>
                  </a:cubicBezTo>
                  <a:cubicBezTo>
                    <a:pt x="414" y="83"/>
                    <a:pt x="442" y="119"/>
                    <a:pt x="442" y="162"/>
                  </a:cubicBezTo>
                  <a:cubicBezTo>
                    <a:pt x="442" y="173"/>
                    <a:pt x="442" y="173"/>
                    <a:pt x="442" y="173"/>
                  </a:cubicBezTo>
                  <a:cubicBezTo>
                    <a:pt x="441" y="180"/>
                    <a:pt x="443" y="188"/>
                    <a:pt x="447" y="194"/>
                  </a:cubicBezTo>
                  <a:cubicBezTo>
                    <a:pt x="447" y="194"/>
                    <a:pt x="447" y="194"/>
                    <a:pt x="447" y="194"/>
                  </a:cubicBezTo>
                  <a:cubicBezTo>
                    <a:pt x="454" y="205"/>
                    <a:pt x="466" y="210"/>
                    <a:pt x="478" y="208"/>
                  </a:cubicBezTo>
                  <a:cubicBezTo>
                    <a:pt x="706" y="211"/>
                    <a:pt x="891" y="397"/>
                    <a:pt x="891" y="626"/>
                  </a:cubicBezTo>
                  <a:cubicBezTo>
                    <a:pt x="891" y="1239"/>
                    <a:pt x="891" y="1239"/>
                    <a:pt x="891" y="1239"/>
                  </a:cubicBezTo>
                  <a:cubicBezTo>
                    <a:pt x="802" y="1239"/>
                    <a:pt x="802" y="1239"/>
                    <a:pt x="802" y="1239"/>
                  </a:cubicBezTo>
                  <a:cubicBezTo>
                    <a:pt x="802" y="999"/>
                    <a:pt x="802" y="999"/>
                    <a:pt x="802" y="999"/>
                  </a:cubicBezTo>
                  <a:cubicBezTo>
                    <a:pt x="802" y="981"/>
                    <a:pt x="787" y="967"/>
                    <a:pt x="770" y="967"/>
                  </a:cubicBezTo>
                  <a:cubicBezTo>
                    <a:pt x="752" y="967"/>
                    <a:pt x="738" y="981"/>
                    <a:pt x="738" y="999"/>
                  </a:cubicBezTo>
                  <a:cubicBezTo>
                    <a:pt x="738" y="1239"/>
                    <a:pt x="738" y="1239"/>
                    <a:pt x="738" y="1239"/>
                  </a:cubicBezTo>
                  <a:cubicBezTo>
                    <a:pt x="325" y="1239"/>
                    <a:pt x="325" y="1239"/>
                    <a:pt x="325" y="1239"/>
                  </a:cubicBezTo>
                  <a:lnTo>
                    <a:pt x="325" y="1087"/>
                  </a:lnTo>
                  <a:close/>
                  <a:moveTo>
                    <a:pt x="1030" y="1444"/>
                  </a:moveTo>
                  <a:cubicBezTo>
                    <a:pt x="166" y="1444"/>
                    <a:pt x="166" y="1444"/>
                    <a:pt x="166" y="1444"/>
                  </a:cubicBezTo>
                  <a:cubicBezTo>
                    <a:pt x="166" y="1410"/>
                    <a:pt x="166" y="1410"/>
                    <a:pt x="166" y="1410"/>
                  </a:cubicBezTo>
                  <a:cubicBezTo>
                    <a:pt x="166" y="1351"/>
                    <a:pt x="214" y="1303"/>
                    <a:pt x="273" y="1303"/>
                  </a:cubicBezTo>
                  <a:cubicBezTo>
                    <a:pt x="923" y="1303"/>
                    <a:pt x="923" y="1303"/>
                    <a:pt x="923" y="1303"/>
                  </a:cubicBezTo>
                  <a:cubicBezTo>
                    <a:pt x="982" y="1303"/>
                    <a:pt x="1030" y="1351"/>
                    <a:pt x="1030" y="1410"/>
                  </a:cubicBezTo>
                  <a:lnTo>
                    <a:pt x="1030" y="1444"/>
                  </a:lnTo>
                  <a:close/>
                  <a:moveTo>
                    <a:pt x="1030" y="1444"/>
                  </a:moveTo>
                  <a:cubicBezTo>
                    <a:pt x="1030" y="1444"/>
                    <a:pt x="1030" y="1444"/>
                    <a:pt x="1030" y="1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78"/>
            <p:cNvSpPr>
              <a:spLocks noEditPoints="1"/>
            </p:cNvSpPr>
            <p:nvPr/>
          </p:nvSpPr>
          <p:spPr bwMode="auto">
            <a:xfrm>
              <a:off x="2828" y="2167"/>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5"/>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5"/>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9"/>
            <p:cNvSpPr>
              <a:spLocks noEditPoints="1"/>
            </p:cNvSpPr>
            <p:nvPr/>
          </p:nvSpPr>
          <p:spPr bwMode="auto">
            <a:xfrm>
              <a:off x="1803" y="1194"/>
              <a:ext cx="2716" cy="2243"/>
            </a:xfrm>
            <a:custGeom>
              <a:avLst/>
              <a:gdLst>
                <a:gd name="T0" fmla="*/ 1224 w 1434"/>
                <a:gd name="T1" fmla="*/ 210 h 1185"/>
                <a:gd name="T2" fmla="*/ 717 w 1434"/>
                <a:gd name="T3" fmla="*/ 0 h 1185"/>
                <a:gd name="T4" fmla="*/ 210 w 1434"/>
                <a:gd name="T5" fmla="*/ 210 h 1185"/>
                <a:gd name="T6" fmla="*/ 0 w 1434"/>
                <a:gd name="T7" fmla="*/ 717 h 1185"/>
                <a:gd name="T8" fmla="*/ 79 w 1434"/>
                <a:gd name="T9" fmla="*/ 1043 h 1185"/>
                <a:gd name="T10" fmla="*/ 123 w 1434"/>
                <a:gd name="T11" fmla="*/ 1119 h 1185"/>
                <a:gd name="T12" fmla="*/ 168 w 1434"/>
                <a:gd name="T13" fmla="*/ 1127 h 1185"/>
                <a:gd name="T14" fmla="*/ 176 w 1434"/>
                <a:gd name="T15" fmla="*/ 1083 h 1185"/>
                <a:gd name="T16" fmla="*/ 136 w 1434"/>
                <a:gd name="T17" fmla="*/ 1014 h 1185"/>
                <a:gd name="T18" fmla="*/ 64 w 1434"/>
                <a:gd name="T19" fmla="*/ 717 h 1185"/>
                <a:gd name="T20" fmla="*/ 717 w 1434"/>
                <a:gd name="T21" fmla="*/ 64 h 1185"/>
                <a:gd name="T22" fmla="*/ 1370 w 1434"/>
                <a:gd name="T23" fmla="*/ 717 h 1185"/>
                <a:gd name="T24" fmla="*/ 1301 w 1434"/>
                <a:gd name="T25" fmla="*/ 1009 h 1185"/>
                <a:gd name="T26" fmla="*/ 1221 w 1434"/>
                <a:gd name="T27" fmla="*/ 1133 h 1185"/>
                <a:gd name="T28" fmla="*/ 1225 w 1434"/>
                <a:gd name="T29" fmla="*/ 1178 h 1185"/>
                <a:gd name="T30" fmla="*/ 1245 w 1434"/>
                <a:gd name="T31" fmla="*/ 1185 h 1185"/>
                <a:gd name="T32" fmla="*/ 1270 w 1434"/>
                <a:gd name="T33" fmla="*/ 1173 h 1185"/>
                <a:gd name="T34" fmla="*/ 1359 w 1434"/>
                <a:gd name="T35" fmla="*/ 1037 h 1185"/>
                <a:gd name="T36" fmla="*/ 1434 w 1434"/>
                <a:gd name="T37" fmla="*/ 717 h 1185"/>
                <a:gd name="T38" fmla="*/ 1224 w 1434"/>
                <a:gd name="T39" fmla="*/ 210 h 1185"/>
                <a:gd name="T40" fmla="*/ 1224 w 1434"/>
                <a:gd name="T41" fmla="*/ 210 h 1185"/>
                <a:gd name="T42" fmla="*/ 1224 w 1434"/>
                <a:gd name="T43" fmla="*/ 210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34" h="1185">
                  <a:moveTo>
                    <a:pt x="1224" y="210"/>
                  </a:moveTo>
                  <a:cubicBezTo>
                    <a:pt x="1089" y="75"/>
                    <a:pt x="909" y="0"/>
                    <a:pt x="717" y="0"/>
                  </a:cubicBezTo>
                  <a:cubicBezTo>
                    <a:pt x="526" y="0"/>
                    <a:pt x="346" y="75"/>
                    <a:pt x="210" y="210"/>
                  </a:cubicBezTo>
                  <a:cubicBezTo>
                    <a:pt x="75" y="346"/>
                    <a:pt x="0" y="526"/>
                    <a:pt x="0" y="717"/>
                  </a:cubicBezTo>
                  <a:cubicBezTo>
                    <a:pt x="0" y="832"/>
                    <a:pt x="27" y="942"/>
                    <a:pt x="79" y="1043"/>
                  </a:cubicBezTo>
                  <a:cubicBezTo>
                    <a:pt x="92" y="1069"/>
                    <a:pt x="107" y="1095"/>
                    <a:pt x="123" y="1119"/>
                  </a:cubicBezTo>
                  <a:cubicBezTo>
                    <a:pt x="133" y="1133"/>
                    <a:pt x="153" y="1137"/>
                    <a:pt x="168" y="1127"/>
                  </a:cubicBezTo>
                  <a:cubicBezTo>
                    <a:pt x="182" y="1117"/>
                    <a:pt x="186" y="1097"/>
                    <a:pt x="176" y="1083"/>
                  </a:cubicBezTo>
                  <a:cubicBezTo>
                    <a:pt x="162" y="1061"/>
                    <a:pt x="148" y="1038"/>
                    <a:pt x="136" y="1014"/>
                  </a:cubicBezTo>
                  <a:cubicBezTo>
                    <a:pt x="88" y="922"/>
                    <a:pt x="64" y="822"/>
                    <a:pt x="64" y="717"/>
                  </a:cubicBezTo>
                  <a:cubicBezTo>
                    <a:pt x="64" y="357"/>
                    <a:pt x="357" y="64"/>
                    <a:pt x="717" y="64"/>
                  </a:cubicBezTo>
                  <a:cubicBezTo>
                    <a:pt x="1077" y="64"/>
                    <a:pt x="1370" y="357"/>
                    <a:pt x="1370" y="717"/>
                  </a:cubicBezTo>
                  <a:cubicBezTo>
                    <a:pt x="1370" y="820"/>
                    <a:pt x="1347" y="918"/>
                    <a:pt x="1301" y="1009"/>
                  </a:cubicBezTo>
                  <a:cubicBezTo>
                    <a:pt x="1279" y="1053"/>
                    <a:pt x="1252" y="1095"/>
                    <a:pt x="1221" y="1133"/>
                  </a:cubicBezTo>
                  <a:cubicBezTo>
                    <a:pt x="1209" y="1146"/>
                    <a:pt x="1211" y="1166"/>
                    <a:pt x="1225" y="1178"/>
                  </a:cubicBezTo>
                  <a:cubicBezTo>
                    <a:pt x="1231" y="1183"/>
                    <a:pt x="1238" y="1185"/>
                    <a:pt x="1245" y="1185"/>
                  </a:cubicBezTo>
                  <a:cubicBezTo>
                    <a:pt x="1255" y="1185"/>
                    <a:pt x="1264" y="1181"/>
                    <a:pt x="1270" y="1173"/>
                  </a:cubicBezTo>
                  <a:cubicBezTo>
                    <a:pt x="1305" y="1132"/>
                    <a:pt x="1334" y="1086"/>
                    <a:pt x="1359" y="1037"/>
                  </a:cubicBezTo>
                  <a:cubicBezTo>
                    <a:pt x="1409" y="937"/>
                    <a:pt x="1434" y="830"/>
                    <a:pt x="1434" y="717"/>
                  </a:cubicBezTo>
                  <a:cubicBezTo>
                    <a:pt x="1434" y="526"/>
                    <a:pt x="1359" y="346"/>
                    <a:pt x="1224" y="210"/>
                  </a:cubicBezTo>
                  <a:close/>
                  <a:moveTo>
                    <a:pt x="1224" y="210"/>
                  </a:moveTo>
                  <a:cubicBezTo>
                    <a:pt x="1224" y="210"/>
                    <a:pt x="1224" y="210"/>
                    <a:pt x="1224"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80"/>
            <p:cNvSpPr>
              <a:spLocks noEditPoints="1"/>
            </p:cNvSpPr>
            <p:nvPr/>
          </p:nvSpPr>
          <p:spPr bwMode="auto">
            <a:xfrm>
              <a:off x="2148" y="3371"/>
              <a:ext cx="134" cy="129"/>
            </a:xfrm>
            <a:custGeom>
              <a:avLst/>
              <a:gdLst>
                <a:gd name="T0" fmla="*/ 59 w 71"/>
                <a:gd name="T1" fmla="*/ 14 h 68"/>
                <a:gd name="T2" fmla="*/ 59 w 71"/>
                <a:gd name="T3" fmla="*/ 14 h 68"/>
                <a:gd name="T4" fmla="*/ 14 w 71"/>
                <a:gd name="T5" fmla="*/ 12 h 68"/>
                <a:gd name="T6" fmla="*/ 12 w 71"/>
                <a:gd name="T7" fmla="*/ 57 h 68"/>
                <a:gd name="T8" fmla="*/ 13 w 71"/>
                <a:gd name="T9" fmla="*/ 58 h 68"/>
                <a:gd name="T10" fmla="*/ 36 w 71"/>
                <a:gd name="T11" fmla="*/ 68 h 68"/>
                <a:gd name="T12" fmla="*/ 58 w 71"/>
                <a:gd name="T13" fmla="*/ 59 h 68"/>
                <a:gd name="T14" fmla="*/ 59 w 71"/>
                <a:gd name="T15" fmla="*/ 14 h 68"/>
                <a:gd name="T16" fmla="*/ 59 w 71"/>
                <a:gd name="T17" fmla="*/ 14 h 68"/>
                <a:gd name="T18" fmla="*/ 59 w 71"/>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68">
                  <a:moveTo>
                    <a:pt x="59" y="14"/>
                  </a:moveTo>
                  <a:cubicBezTo>
                    <a:pt x="59" y="14"/>
                    <a:pt x="59" y="14"/>
                    <a:pt x="59" y="14"/>
                  </a:cubicBezTo>
                  <a:cubicBezTo>
                    <a:pt x="47" y="1"/>
                    <a:pt x="27" y="0"/>
                    <a:pt x="14" y="12"/>
                  </a:cubicBezTo>
                  <a:cubicBezTo>
                    <a:pt x="1" y="24"/>
                    <a:pt x="0" y="44"/>
                    <a:pt x="12" y="57"/>
                  </a:cubicBezTo>
                  <a:cubicBezTo>
                    <a:pt x="12" y="57"/>
                    <a:pt x="13" y="58"/>
                    <a:pt x="13" y="58"/>
                  </a:cubicBezTo>
                  <a:cubicBezTo>
                    <a:pt x="19" y="64"/>
                    <a:pt x="27" y="68"/>
                    <a:pt x="36" y="68"/>
                  </a:cubicBezTo>
                  <a:cubicBezTo>
                    <a:pt x="44" y="68"/>
                    <a:pt x="52" y="65"/>
                    <a:pt x="58" y="59"/>
                  </a:cubicBezTo>
                  <a:cubicBezTo>
                    <a:pt x="71" y="47"/>
                    <a:pt x="71" y="27"/>
                    <a:pt x="59" y="14"/>
                  </a:cubicBezTo>
                  <a:close/>
                  <a:moveTo>
                    <a:pt x="59" y="14"/>
                  </a:moveTo>
                  <a:cubicBezTo>
                    <a:pt x="59" y="14"/>
                    <a:pt x="59" y="14"/>
                    <a:pt x="59"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81"/>
            <p:cNvSpPr>
              <a:spLocks noEditPoints="1"/>
            </p:cNvSpPr>
            <p:nvPr/>
          </p:nvSpPr>
          <p:spPr bwMode="auto">
            <a:xfrm>
              <a:off x="3492" y="3070"/>
              <a:ext cx="122"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9"/>
                    <a:pt x="9" y="55"/>
                  </a:cubicBezTo>
                  <a:cubicBezTo>
                    <a:pt x="15" y="61"/>
                    <a:pt x="23" y="64"/>
                    <a:pt x="32" y="64"/>
                  </a:cubicBezTo>
                  <a:cubicBezTo>
                    <a:pt x="40" y="64"/>
                    <a:pt x="48" y="61"/>
                    <a:pt x="54" y="55"/>
                  </a:cubicBezTo>
                  <a:cubicBezTo>
                    <a:pt x="60" y="49"/>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4" name="Group 190"/>
          <p:cNvGrpSpPr>
            <a:grpSpLocks noChangeAspect="1"/>
          </p:cNvGrpSpPr>
          <p:nvPr/>
        </p:nvGrpSpPr>
        <p:grpSpPr bwMode="auto">
          <a:xfrm>
            <a:off x="7024376" y="2984382"/>
            <a:ext cx="479465" cy="457200"/>
            <a:chOff x="2916" y="712"/>
            <a:chExt cx="3101" cy="2957"/>
          </a:xfrm>
          <a:solidFill>
            <a:schemeClr val="accent1"/>
          </a:solidFill>
        </p:grpSpPr>
        <p:sp>
          <p:nvSpPr>
            <p:cNvPr id="196" name="Freeform 191"/>
            <p:cNvSpPr>
              <a:spLocks noEditPoints="1"/>
            </p:cNvSpPr>
            <p:nvPr/>
          </p:nvSpPr>
          <p:spPr bwMode="auto">
            <a:xfrm>
              <a:off x="4544" y="712"/>
              <a:ext cx="1473" cy="2429"/>
            </a:xfrm>
            <a:custGeom>
              <a:avLst/>
              <a:gdLst>
                <a:gd name="T0" fmla="*/ 560 w 778"/>
                <a:gd name="T1" fmla="*/ 219 h 1283"/>
                <a:gd name="T2" fmla="*/ 32 w 778"/>
                <a:gd name="T3" fmla="*/ 0 h 1283"/>
                <a:gd name="T4" fmla="*/ 0 w 778"/>
                <a:gd name="T5" fmla="*/ 32 h 1283"/>
                <a:gd name="T6" fmla="*/ 0 w 778"/>
                <a:gd name="T7" fmla="*/ 746 h 1283"/>
                <a:gd name="T8" fmla="*/ 9 w 778"/>
                <a:gd name="T9" fmla="*/ 769 h 1283"/>
                <a:gd name="T10" fmla="*/ 515 w 778"/>
                <a:gd name="T11" fmla="*/ 1274 h 1283"/>
                <a:gd name="T12" fmla="*/ 537 w 778"/>
                <a:gd name="T13" fmla="*/ 1283 h 1283"/>
                <a:gd name="T14" fmla="*/ 560 w 778"/>
                <a:gd name="T15" fmla="*/ 1274 h 1283"/>
                <a:gd name="T16" fmla="*/ 778 w 778"/>
                <a:gd name="T17" fmla="*/ 746 h 1283"/>
                <a:gd name="T18" fmla="*/ 560 w 778"/>
                <a:gd name="T19" fmla="*/ 219 h 1283"/>
                <a:gd name="T20" fmla="*/ 64 w 778"/>
                <a:gd name="T21" fmla="*/ 65 h 1283"/>
                <a:gd name="T22" fmla="*/ 230 w 778"/>
                <a:gd name="T23" fmla="*/ 93 h 1283"/>
                <a:gd name="T24" fmla="*/ 64 w 778"/>
                <a:gd name="T25" fmla="*/ 260 h 1283"/>
                <a:gd name="T26" fmla="*/ 64 w 778"/>
                <a:gd name="T27" fmla="*/ 65 h 1283"/>
                <a:gd name="T28" fmla="*/ 64 w 778"/>
                <a:gd name="T29" fmla="*/ 350 h 1283"/>
                <a:gd name="T30" fmla="*/ 65 w 778"/>
                <a:gd name="T31" fmla="*/ 349 h 1283"/>
                <a:gd name="T32" fmla="*/ 297 w 778"/>
                <a:gd name="T33" fmla="*/ 117 h 1283"/>
                <a:gd name="T34" fmla="*/ 392 w 778"/>
                <a:gd name="T35" fmla="*/ 167 h 1283"/>
                <a:gd name="T36" fmla="*/ 64 w 778"/>
                <a:gd name="T37" fmla="*/ 495 h 1283"/>
                <a:gd name="T38" fmla="*/ 64 w 778"/>
                <a:gd name="T39" fmla="*/ 350 h 1283"/>
                <a:gd name="T40" fmla="*/ 64 w 778"/>
                <a:gd name="T41" fmla="*/ 733 h 1283"/>
                <a:gd name="T42" fmla="*/ 64 w 778"/>
                <a:gd name="T43" fmla="*/ 585 h 1283"/>
                <a:gd name="T44" fmla="*/ 446 w 778"/>
                <a:gd name="T45" fmla="*/ 204 h 1283"/>
                <a:gd name="T46" fmla="*/ 522 w 778"/>
                <a:gd name="T47" fmla="*/ 272 h 1283"/>
                <a:gd name="T48" fmla="*/ 226 w 778"/>
                <a:gd name="T49" fmla="*/ 569 h 1283"/>
                <a:gd name="T50" fmla="*/ 226 w 778"/>
                <a:gd name="T51" fmla="*/ 614 h 1283"/>
                <a:gd name="T52" fmla="*/ 248 w 778"/>
                <a:gd name="T53" fmla="*/ 623 h 1283"/>
                <a:gd name="T54" fmla="*/ 271 w 778"/>
                <a:gd name="T55" fmla="*/ 614 h 1283"/>
                <a:gd name="T56" fmla="*/ 565 w 778"/>
                <a:gd name="T57" fmla="*/ 320 h 1283"/>
                <a:gd name="T58" fmla="*/ 623 w 778"/>
                <a:gd name="T59" fmla="*/ 406 h 1283"/>
                <a:gd name="T60" fmla="*/ 180 w 778"/>
                <a:gd name="T61" fmla="*/ 849 h 1283"/>
                <a:gd name="T62" fmla="*/ 64 w 778"/>
                <a:gd name="T63" fmla="*/ 733 h 1283"/>
                <a:gd name="T64" fmla="*/ 226 w 778"/>
                <a:gd name="T65" fmla="*/ 895 h 1283"/>
                <a:gd name="T66" fmla="*/ 654 w 778"/>
                <a:gd name="T67" fmla="*/ 466 h 1283"/>
                <a:gd name="T68" fmla="*/ 692 w 778"/>
                <a:gd name="T69" fmla="*/ 573 h 1283"/>
                <a:gd name="T70" fmla="*/ 298 w 778"/>
                <a:gd name="T71" fmla="*/ 967 h 1283"/>
                <a:gd name="T72" fmla="*/ 226 w 778"/>
                <a:gd name="T73" fmla="*/ 895 h 1283"/>
                <a:gd name="T74" fmla="*/ 537 w 778"/>
                <a:gd name="T75" fmla="*/ 1206 h 1283"/>
                <a:gd name="T76" fmla="*/ 461 w 778"/>
                <a:gd name="T77" fmla="*/ 1130 h 1283"/>
                <a:gd name="T78" fmla="*/ 699 w 778"/>
                <a:gd name="T79" fmla="*/ 892 h 1283"/>
                <a:gd name="T80" fmla="*/ 537 w 778"/>
                <a:gd name="T81" fmla="*/ 1206 h 1283"/>
                <a:gd name="T82" fmla="*/ 712 w 778"/>
                <a:gd name="T83" fmla="*/ 788 h 1283"/>
                <a:gd name="T84" fmla="*/ 416 w 778"/>
                <a:gd name="T85" fmla="*/ 1085 h 1283"/>
                <a:gd name="T86" fmla="*/ 343 w 778"/>
                <a:gd name="T87" fmla="*/ 1012 h 1283"/>
                <a:gd name="T88" fmla="*/ 707 w 778"/>
                <a:gd name="T89" fmla="*/ 648 h 1283"/>
                <a:gd name="T90" fmla="*/ 714 w 778"/>
                <a:gd name="T91" fmla="*/ 746 h 1283"/>
                <a:gd name="T92" fmla="*/ 713 w 778"/>
                <a:gd name="T93" fmla="*/ 787 h 1283"/>
                <a:gd name="T94" fmla="*/ 712 w 778"/>
                <a:gd name="T95" fmla="*/ 788 h 1283"/>
                <a:gd name="T96" fmla="*/ 712 w 778"/>
                <a:gd name="T97" fmla="*/ 788 h 1283"/>
                <a:gd name="T98" fmla="*/ 712 w 778"/>
                <a:gd name="T99" fmla="*/ 788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8" h="1283">
                  <a:moveTo>
                    <a:pt x="560" y="219"/>
                  </a:moveTo>
                  <a:cubicBezTo>
                    <a:pt x="419" y="78"/>
                    <a:pt x="231" y="0"/>
                    <a:pt x="32" y="0"/>
                  </a:cubicBezTo>
                  <a:cubicBezTo>
                    <a:pt x="14" y="0"/>
                    <a:pt x="0" y="14"/>
                    <a:pt x="0" y="32"/>
                  </a:cubicBezTo>
                  <a:cubicBezTo>
                    <a:pt x="0" y="746"/>
                    <a:pt x="0" y="746"/>
                    <a:pt x="0" y="746"/>
                  </a:cubicBezTo>
                  <a:cubicBezTo>
                    <a:pt x="0" y="755"/>
                    <a:pt x="3" y="763"/>
                    <a:pt x="9" y="769"/>
                  </a:cubicBezTo>
                  <a:cubicBezTo>
                    <a:pt x="515" y="1274"/>
                    <a:pt x="515" y="1274"/>
                    <a:pt x="515" y="1274"/>
                  </a:cubicBezTo>
                  <a:cubicBezTo>
                    <a:pt x="521" y="1280"/>
                    <a:pt x="529" y="1283"/>
                    <a:pt x="537" y="1283"/>
                  </a:cubicBezTo>
                  <a:cubicBezTo>
                    <a:pt x="545" y="1283"/>
                    <a:pt x="554" y="1280"/>
                    <a:pt x="560" y="1274"/>
                  </a:cubicBezTo>
                  <a:cubicBezTo>
                    <a:pt x="701" y="1133"/>
                    <a:pt x="778" y="946"/>
                    <a:pt x="778" y="746"/>
                  </a:cubicBezTo>
                  <a:cubicBezTo>
                    <a:pt x="778" y="547"/>
                    <a:pt x="701" y="360"/>
                    <a:pt x="560" y="219"/>
                  </a:cubicBezTo>
                  <a:close/>
                  <a:moveTo>
                    <a:pt x="64" y="65"/>
                  </a:moveTo>
                  <a:cubicBezTo>
                    <a:pt x="122" y="67"/>
                    <a:pt x="177" y="77"/>
                    <a:pt x="230" y="93"/>
                  </a:cubicBezTo>
                  <a:cubicBezTo>
                    <a:pt x="64" y="260"/>
                    <a:pt x="64" y="260"/>
                    <a:pt x="64" y="260"/>
                  </a:cubicBezTo>
                  <a:lnTo>
                    <a:pt x="64" y="65"/>
                  </a:lnTo>
                  <a:close/>
                  <a:moveTo>
                    <a:pt x="64" y="350"/>
                  </a:moveTo>
                  <a:cubicBezTo>
                    <a:pt x="64" y="350"/>
                    <a:pt x="65" y="349"/>
                    <a:pt x="65" y="349"/>
                  </a:cubicBezTo>
                  <a:cubicBezTo>
                    <a:pt x="297" y="117"/>
                    <a:pt x="297" y="117"/>
                    <a:pt x="297" y="117"/>
                  </a:cubicBezTo>
                  <a:cubicBezTo>
                    <a:pt x="330" y="131"/>
                    <a:pt x="362" y="148"/>
                    <a:pt x="392" y="167"/>
                  </a:cubicBezTo>
                  <a:cubicBezTo>
                    <a:pt x="64" y="495"/>
                    <a:pt x="64" y="495"/>
                    <a:pt x="64" y="495"/>
                  </a:cubicBezTo>
                  <a:lnTo>
                    <a:pt x="64" y="350"/>
                  </a:lnTo>
                  <a:close/>
                  <a:moveTo>
                    <a:pt x="64" y="733"/>
                  </a:moveTo>
                  <a:cubicBezTo>
                    <a:pt x="64" y="585"/>
                    <a:pt x="64" y="585"/>
                    <a:pt x="64" y="585"/>
                  </a:cubicBezTo>
                  <a:cubicBezTo>
                    <a:pt x="446" y="204"/>
                    <a:pt x="446" y="204"/>
                    <a:pt x="446" y="204"/>
                  </a:cubicBezTo>
                  <a:cubicBezTo>
                    <a:pt x="473" y="225"/>
                    <a:pt x="498" y="248"/>
                    <a:pt x="522" y="272"/>
                  </a:cubicBezTo>
                  <a:cubicBezTo>
                    <a:pt x="226" y="569"/>
                    <a:pt x="226" y="569"/>
                    <a:pt x="226" y="569"/>
                  </a:cubicBezTo>
                  <a:cubicBezTo>
                    <a:pt x="213" y="581"/>
                    <a:pt x="213" y="601"/>
                    <a:pt x="226" y="614"/>
                  </a:cubicBezTo>
                  <a:cubicBezTo>
                    <a:pt x="232" y="620"/>
                    <a:pt x="240" y="623"/>
                    <a:pt x="248" y="623"/>
                  </a:cubicBezTo>
                  <a:cubicBezTo>
                    <a:pt x="257" y="623"/>
                    <a:pt x="265" y="620"/>
                    <a:pt x="271" y="614"/>
                  </a:cubicBezTo>
                  <a:cubicBezTo>
                    <a:pt x="565" y="320"/>
                    <a:pt x="565" y="320"/>
                    <a:pt x="565" y="320"/>
                  </a:cubicBezTo>
                  <a:cubicBezTo>
                    <a:pt x="586" y="347"/>
                    <a:pt x="606" y="376"/>
                    <a:pt x="623" y="406"/>
                  </a:cubicBezTo>
                  <a:cubicBezTo>
                    <a:pt x="180" y="849"/>
                    <a:pt x="180" y="849"/>
                    <a:pt x="180" y="849"/>
                  </a:cubicBezTo>
                  <a:lnTo>
                    <a:pt x="64" y="733"/>
                  </a:lnTo>
                  <a:close/>
                  <a:moveTo>
                    <a:pt x="226" y="895"/>
                  </a:moveTo>
                  <a:cubicBezTo>
                    <a:pt x="654" y="466"/>
                    <a:pt x="654" y="466"/>
                    <a:pt x="654" y="466"/>
                  </a:cubicBezTo>
                  <a:cubicBezTo>
                    <a:pt x="670" y="500"/>
                    <a:pt x="682" y="536"/>
                    <a:pt x="692" y="573"/>
                  </a:cubicBezTo>
                  <a:cubicBezTo>
                    <a:pt x="298" y="967"/>
                    <a:pt x="298" y="967"/>
                    <a:pt x="298" y="967"/>
                  </a:cubicBezTo>
                  <a:lnTo>
                    <a:pt x="226" y="895"/>
                  </a:lnTo>
                  <a:close/>
                  <a:moveTo>
                    <a:pt x="537" y="1206"/>
                  </a:moveTo>
                  <a:cubicBezTo>
                    <a:pt x="461" y="1130"/>
                    <a:pt x="461" y="1130"/>
                    <a:pt x="461" y="1130"/>
                  </a:cubicBezTo>
                  <a:cubicBezTo>
                    <a:pt x="699" y="892"/>
                    <a:pt x="699" y="892"/>
                    <a:pt x="699" y="892"/>
                  </a:cubicBezTo>
                  <a:cubicBezTo>
                    <a:pt x="674" y="1008"/>
                    <a:pt x="618" y="1116"/>
                    <a:pt x="537" y="1206"/>
                  </a:cubicBezTo>
                  <a:close/>
                  <a:moveTo>
                    <a:pt x="712" y="788"/>
                  </a:moveTo>
                  <a:cubicBezTo>
                    <a:pt x="416" y="1085"/>
                    <a:pt x="416" y="1085"/>
                    <a:pt x="416" y="1085"/>
                  </a:cubicBezTo>
                  <a:cubicBezTo>
                    <a:pt x="343" y="1012"/>
                    <a:pt x="343" y="1012"/>
                    <a:pt x="343" y="1012"/>
                  </a:cubicBezTo>
                  <a:cubicBezTo>
                    <a:pt x="707" y="648"/>
                    <a:pt x="707" y="648"/>
                    <a:pt x="707" y="648"/>
                  </a:cubicBezTo>
                  <a:cubicBezTo>
                    <a:pt x="712" y="680"/>
                    <a:pt x="714" y="713"/>
                    <a:pt x="714" y="746"/>
                  </a:cubicBezTo>
                  <a:cubicBezTo>
                    <a:pt x="714" y="760"/>
                    <a:pt x="714" y="774"/>
                    <a:pt x="713" y="787"/>
                  </a:cubicBezTo>
                  <a:cubicBezTo>
                    <a:pt x="713" y="787"/>
                    <a:pt x="712" y="788"/>
                    <a:pt x="712" y="788"/>
                  </a:cubicBezTo>
                  <a:close/>
                  <a:moveTo>
                    <a:pt x="712" y="788"/>
                  </a:moveTo>
                  <a:cubicBezTo>
                    <a:pt x="712" y="788"/>
                    <a:pt x="712" y="788"/>
                    <a:pt x="712" y="7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92"/>
            <p:cNvSpPr>
              <a:spLocks noEditPoints="1"/>
            </p:cNvSpPr>
            <p:nvPr/>
          </p:nvSpPr>
          <p:spPr bwMode="auto">
            <a:xfrm>
              <a:off x="2916" y="843"/>
              <a:ext cx="2436" cy="2826"/>
            </a:xfrm>
            <a:custGeom>
              <a:avLst/>
              <a:gdLst>
                <a:gd name="T0" fmla="*/ 1274 w 1287"/>
                <a:gd name="T1" fmla="*/ 1229 h 1493"/>
                <a:gd name="T2" fmla="*/ 778 w 1287"/>
                <a:gd name="T3" fmla="*/ 733 h 1493"/>
                <a:gd name="T4" fmla="*/ 778 w 1287"/>
                <a:gd name="T5" fmla="*/ 32 h 1493"/>
                <a:gd name="T6" fmla="*/ 746 w 1287"/>
                <a:gd name="T7" fmla="*/ 0 h 1493"/>
                <a:gd name="T8" fmla="*/ 219 w 1287"/>
                <a:gd name="T9" fmla="*/ 218 h 1493"/>
                <a:gd name="T10" fmla="*/ 0 w 1287"/>
                <a:gd name="T11" fmla="*/ 746 h 1493"/>
                <a:gd name="T12" fmla="*/ 219 w 1287"/>
                <a:gd name="T13" fmla="*/ 1274 h 1493"/>
                <a:gd name="T14" fmla="*/ 746 w 1287"/>
                <a:gd name="T15" fmla="*/ 1493 h 1493"/>
                <a:gd name="T16" fmla="*/ 1274 w 1287"/>
                <a:gd name="T17" fmla="*/ 1274 h 1493"/>
                <a:gd name="T18" fmla="*/ 1274 w 1287"/>
                <a:gd name="T19" fmla="*/ 1229 h 1493"/>
                <a:gd name="T20" fmla="*/ 746 w 1287"/>
                <a:gd name="T21" fmla="*/ 1429 h 1493"/>
                <a:gd name="T22" fmla="*/ 64 w 1287"/>
                <a:gd name="T23" fmla="*/ 746 h 1493"/>
                <a:gd name="T24" fmla="*/ 714 w 1287"/>
                <a:gd name="T25" fmla="*/ 65 h 1493"/>
                <a:gd name="T26" fmla="*/ 714 w 1287"/>
                <a:gd name="T27" fmla="*/ 746 h 1493"/>
                <a:gd name="T28" fmla="*/ 715 w 1287"/>
                <a:gd name="T29" fmla="*/ 754 h 1493"/>
                <a:gd name="T30" fmla="*/ 715 w 1287"/>
                <a:gd name="T31" fmla="*/ 754 h 1493"/>
                <a:gd name="T32" fmla="*/ 871 w 1287"/>
                <a:gd name="T33" fmla="*/ 1417 h 1493"/>
                <a:gd name="T34" fmla="*/ 746 w 1287"/>
                <a:gd name="T35" fmla="*/ 1429 h 1493"/>
                <a:gd name="T36" fmla="*/ 933 w 1287"/>
                <a:gd name="T37" fmla="*/ 1403 h 1493"/>
                <a:gd name="T38" fmla="*/ 803 w 1287"/>
                <a:gd name="T39" fmla="*/ 848 h 1493"/>
                <a:gd name="T40" fmla="*/ 1206 w 1287"/>
                <a:gd name="T41" fmla="*/ 1251 h 1493"/>
                <a:gd name="T42" fmla="*/ 933 w 1287"/>
                <a:gd name="T43" fmla="*/ 1403 h 1493"/>
                <a:gd name="T44" fmla="*/ 933 w 1287"/>
                <a:gd name="T45" fmla="*/ 1403 h 1493"/>
                <a:gd name="T46" fmla="*/ 933 w 1287"/>
                <a:gd name="T47" fmla="*/ 1403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7" h="1493">
                  <a:moveTo>
                    <a:pt x="1274" y="1229"/>
                  </a:moveTo>
                  <a:cubicBezTo>
                    <a:pt x="778" y="733"/>
                    <a:pt x="778" y="733"/>
                    <a:pt x="778" y="733"/>
                  </a:cubicBezTo>
                  <a:cubicBezTo>
                    <a:pt x="778" y="32"/>
                    <a:pt x="778" y="32"/>
                    <a:pt x="778" y="32"/>
                  </a:cubicBezTo>
                  <a:cubicBezTo>
                    <a:pt x="778" y="14"/>
                    <a:pt x="764" y="0"/>
                    <a:pt x="746" y="0"/>
                  </a:cubicBezTo>
                  <a:cubicBezTo>
                    <a:pt x="547" y="0"/>
                    <a:pt x="360" y="77"/>
                    <a:pt x="219" y="218"/>
                  </a:cubicBezTo>
                  <a:cubicBezTo>
                    <a:pt x="78" y="359"/>
                    <a:pt x="0" y="547"/>
                    <a:pt x="0" y="746"/>
                  </a:cubicBezTo>
                  <a:cubicBezTo>
                    <a:pt x="0" y="946"/>
                    <a:pt x="78" y="1133"/>
                    <a:pt x="219" y="1274"/>
                  </a:cubicBezTo>
                  <a:cubicBezTo>
                    <a:pt x="360" y="1415"/>
                    <a:pt x="547" y="1493"/>
                    <a:pt x="746" y="1493"/>
                  </a:cubicBezTo>
                  <a:cubicBezTo>
                    <a:pt x="946" y="1493"/>
                    <a:pt x="1133" y="1415"/>
                    <a:pt x="1274" y="1274"/>
                  </a:cubicBezTo>
                  <a:cubicBezTo>
                    <a:pt x="1287" y="1261"/>
                    <a:pt x="1287" y="1241"/>
                    <a:pt x="1274" y="1229"/>
                  </a:cubicBezTo>
                  <a:close/>
                  <a:moveTo>
                    <a:pt x="746" y="1429"/>
                  </a:moveTo>
                  <a:cubicBezTo>
                    <a:pt x="370" y="1429"/>
                    <a:pt x="64" y="1122"/>
                    <a:pt x="64" y="746"/>
                  </a:cubicBezTo>
                  <a:cubicBezTo>
                    <a:pt x="64" y="381"/>
                    <a:pt x="353" y="81"/>
                    <a:pt x="714" y="65"/>
                  </a:cubicBezTo>
                  <a:cubicBezTo>
                    <a:pt x="714" y="746"/>
                    <a:pt x="714" y="746"/>
                    <a:pt x="714" y="746"/>
                  </a:cubicBezTo>
                  <a:cubicBezTo>
                    <a:pt x="714" y="749"/>
                    <a:pt x="715" y="751"/>
                    <a:pt x="715" y="754"/>
                  </a:cubicBezTo>
                  <a:cubicBezTo>
                    <a:pt x="715" y="754"/>
                    <a:pt x="715" y="754"/>
                    <a:pt x="715" y="754"/>
                  </a:cubicBezTo>
                  <a:cubicBezTo>
                    <a:pt x="871" y="1417"/>
                    <a:pt x="871" y="1417"/>
                    <a:pt x="871" y="1417"/>
                  </a:cubicBezTo>
                  <a:cubicBezTo>
                    <a:pt x="830" y="1425"/>
                    <a:pt x="789" y="1429"/>
                    <a:pt x="746" y="1429"/>
                  </a:cubicBezTo>
                  <a:close/>
                  <a:moveTo>
                    <a:pt x="933" y="1403"/>
                  </a:moveTo>
                  <a:cubicBezTo>
                    <a:pt x="803" y="848"/>
                    <a:pt x="803" y="848"/>
                    <a:pt x="803" y="848"/>
                  </a:cubicBezTo>
                  <a:cubicBezTo>
                    <a:pt x="1206" y="1251"/>
                    <a:pt x="1206" y="1251"/>
                    <a:pt x="1206" y="1251"/>
                  </a:cubicBezTo>
                  <a:cubicBezTo>
                    <a:pt x="1127" y="1323"/>
                    <a:pt x="1034" y="1374"/>
                    <a:pt x="933" y="1403"/>
                  </a:cubicBezTo>
                  <a:close/>
                  <a:moveTo>
                    <a:pt x="933" y="1403"/>
                  </a:moveTo>
                  <a:cubicBezTo>
                    <a:pt x="933" y="1403"/>
                    <a:pt x="933" y="1403"/>
                    <a:pt x="933" y="14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93"/>
            <p:cNvSpPr>
              <a:spLocks noEditPoints="1"/>
            </p:cNvSpPr>
            <p:nvPr/>
          </p:nvSpPr>
          <p:spPr bwMode="auto">
            <a:xfrm>
              <a:off x="4792" y="1931"/>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94"/>
            <p:cNvSpPr>
              <a:spLocks noEditPoints="1"/>
            </p:cNvSpPr>
            <p:nvPr/>
          </p:nvSpPr>
          <p:spPr bwMode="auto">
            <a:xfrm>
              <a:off x="3204" y="2192"/>
              <a:ext cx="121" cy="123"/>
            </a:xfrm>
            <a:custGeom>
              <a:avLst/>
              <a:gdLst>
                <a:gd name="T0" fmla="*/ 32 w 64"/>
                <a:gd name="T1" fmla="*/ 0 h 65"/>
                <a:gd name="T2" fmla="*/ 32 w 64"/>
                <a:gd name="T3" fmla="*/ 0 h 65"/>
                <a:gd name="T4" fmla="*/ 0 w 64"/>
                <a:gd name="T5" fmla="*/ 32 h 65"/>
                <a:gd name="T6" fmla="*/ 0 w 64"/>
                <a:gd name="T7" fmla="*/ 33 h 65"/>
                <a:gd name="T8" fmla="*/ 32 w 64"/>
                <a:gd name="T9" fmla="*/ 65 h 65"/>
                <a:gd name="T10" fmla="*/ 64 w 64"/>
                <a:gd name="T11" fmla="*/ 33 h 65"/>
                <a:gd name="T12" fmla="*/ 64 w 64"/>
                <a:gd name="T13" fmla="*/ 32 h 65"/>
                <a:gd name="T14" fmla="*/ 32 w 64"/>
                <a:gd name="T15" fmla="*/ 0 h 65"/>
                <a:gd name="T16" fmla="*/ 32 w 64"/>
                <a:gd name="T17" fmla="*/ 0 h 65"/>
                <a:gd name="T18" fmla="*/ 32 w 64"/>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5">
                  <a:moveTo>
                    <a:pt x="32" y="0"/>
                  </a:moveTo>
                  <a:cubicBezTo>
                    <a:pt x="32" y="0"/>
                    <a:pt x="32" y="0"/>
                    <a:pt x="32" y="0"/>
                  </a:cubicBezTo>
                  <a:cubicBezTo>
                    <a:pt x="14" y="0"/>
                    <a:pt x="0" y="14"/>
                    <a:pt x="0" y="32"/>
                  </a:cubicBezTo>
                  <a:cubicBezTo>
                    <a:pt x="0" y="33"/>
                    <a:pt x="0" y="33"/>
                    <a:pt x="0" y="33"/>
                  </a:cubicBezTo>
                  <a:cubicBezTo>
                    <a:pt x="0" y="51"/>
                    <a:pt x="14" y="65"/>
                    <a:pt x="32" y="65"/>
                  </a:cubicBezTo>
                  <a:cubicBezTo>
                    <a:pt x="50" y="65"/>
                    <a:pt x="64" y="51"/>
                    <a:pt x="64" y="33"/>
                  </a:cubicBezTo>
                  <a:cubicBezTo>
                    <a:pt x="64" y="32"/>
                    <a:pt x="64" y="32"/>
                    <a:pt x="64" y="32"/>
                  </a:cubicBezTo>
                  <a:cubicBezTo>
                    <a:pt x="64" y="15"/>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95"/>
            <p:cNvSpPr>
              <a:spLocks noEditPoints="1"/>
            </p:cNvSpPr>
            <p:nvPr/>
          </p:nvSpPr>
          <p:spPr bwMode="auto">
            <a:xfrm>
              <a:off x="3228" y="1261"/>
              <a:ext cx="644" cy="795"/>
            </a:xfrm>
            <a:custGeom>
              <a:avLst/>
              <a:gdLst>
                <a:gd name="T0" fmla="*/ 331 w 340"/>
                <a:gd name="T1" fmla="*/ 20 h 420"/>
                <a:gd name="T2" fmla="*/ 288 w 340"/>
                <a:gd name="T3" fmla="*/ 8 h 420"/>
                <a:gd name="T4" fmla="*/ 5 w 340"/>
                <a:gd name="T5" fmla="*/ 380 h 420"/>
                <a:gd name="T6" fmla="*/ 28 w 340"/>
                <a:gd name="T7" fmla="*/ 419 h 420"/>
                <a:gd name="T8" fmla="*/ 36 w 340"/>
                <a:gd name="T9" fmla="*/ 420 h 420"/>
                <a:gd name="T10" fmla="*/ 67 w 340"/>
                <a:gd name="T11" fmla="*/ 396 h 420"/>
                <a:gd name="T12" fmla="*/ 319 w 340"/>
                <a:gd name="T13" fmla="*/ 64 h 420"/>
                <a:gd name="T14" fmla="*/ 331 w 340"/>
                <a:gd name="T15" fmla="*/ 20 h 420"/>
                <a:gd name="T16" fmla="*/ 331 w 340"/>
                <a:gd name="T17" fmla="*/ 20 h 420"/>
                <a:gd name="T18" fmla="*/ 331 w 340"/>
                <a:gd name="T19" fmla="*/ 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420">
                  <a:moveTo>
                    <a:pt x="331" y="20"/>
                  </a:moveTo>
                  <a:cubicBezTo>
                    <a:pt x="322" y="5"/>
                    <a:pt x="303" y="0"/>
                    <a:pt x="288" y="8"/>
                  </a:cubicBezTo>
                  <a:cubicBezTo>
                    <a:pt x="147" y="89"/>
                    <a:pt x="44" y="224"/>
                    <a:pt x="5" y="380"/>
                  </a:cubicBezTo>
                  <a:cubicBezTo>
                    <a:pt x="0" y="398"/>
                    <a:pt x="11" y="415"/>
                    <a:pt x="28" y="419"/>
                  </a:cubicBezTo>
                  <a:cubicBezTo>
                    <a:pt x="31" y="420"/>
                    <a:pt x="33" y="420"/>
                    <a:pt x="36" y="420"/>
                  </a:cubicBezTo>
                  <a:cubicBezTo>
                    <a:pt x="50" y="420"/>
                    <a:pt x="63" y="411"/>
                    <a:pt x="67" y="396"/>
                  </a:cubicBezTo>
                  <a:cubicBezTo>
                    <a:pt x="102" y="257"/>
                    <a:pt x="194" y="136"/>
                    <a:pt x="319" y="64"/>
                  </a:cubicBezTo>
                  <a:cubicBezTo>
                    <a:pt x="335" y="55"/>
                    <a:pt x="340" y="36"/>
                    <a:pt x="331" y="20"/>
                  </a:cubicBezTo>
                  <a:close/>
                  <a:moveTo>
                    <a:pt x="331" y="20"/>
                  </a:moveTo>
                  <a:cubicBezTo>
                    <a:pt x="331" y="20"/>
                    <a:pt x="331" y="20"/>
                    <a:pt x="331"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0" name="Group 238"/>
          <p:cNvGrpSpPr>
            <a:grpSpLocks noChangeAspect="1"/>
          </p:cNvGrpSpPr>
          <p:nvPr/>
        </p:nvGrpSpPr>
        <p:grpSpPr bwMode="auto">
          <a:xfrm>
            <a:off x="4748232" y="2984382"/>
            <a:ext cx="360955" cy="457200"/>
            <a:chOff x="2336" y="512"/>
            <a:chExt cx="2449" cy="3102"/>
          </a:xfrm>
          <a:solidFill>
            <a:schemeClr val="accent1"/>
          </a:solidFill>
        </p:grpSpPr>
        <p:sp>
          <p:nvSpPr>
            <p:cNvPr id="242" name="Freeform 239"/>
            <p:cNvSpPr>
              <a:spLocks noEditPoints="1"/>
            </p:cNvSpPr>
            <p:nvPr/>
          </p:nvSpPr>
          <p:spPr bwMode="auto">
            <a:xfrm>
              <a:off x="2336" y="512"/>
              <a:ext cx="2449" cy="3102"/>
            </a:xfrm>
            <a:custGeom>
              <a:avLst/>
              <a:gdLst>
                <a:gd name="T0" fmla="*/ 768 w 1293"/>
                <a:gd name="T1" fmla="*/ 1402 h 1638"/>
                <a:gd name="T2" fmla="*/ 1259 w 1293"/>
                <a:gd name="T3" fmla="*/ 1261 h 1638"/>
                <a:gd name="T4" fmla="*/ 1291 w 1293"/>
                <a:gd name="T5" fmla="*/ 794 h 1638"/>
                <a:gd name="T6" fmla="*/ 1147 w 1293"/>
                <a:gd name="T7" fmla="*/ 762 h 1638"/>
                <a:gd name="T8" fmla="*/ 1147 w 1293"/>
                <a:gd name="T9" fmla="*/ 826 h 1638"/>
                <a:gd name="T10" fmla="*/ 1227 w 1293"/>
                <a:gd name="T11" fmla="*/ 1197 h 1638"/>
                <a:gd name="T12" fmla="*/ 858 w 1293"/>
                <a:gd name="T13" fmla="*/ 980 h 1638"/>
                <a:gd name="T14" fmla="*/ 813 w 1293"/>
                <a:gd name="T15" fmla="*/ 980 h 1638"/>
                <a:gd name="T16" fmla="*/ 634 w 1293"/>
                <a:gd name="T17" fmla="*/ 942 h 1638"/>
                <a:gd name="T18" fmla="*/ 629 w 1293"/>
                <a:gd name="T19" fmla="*/ 879 h 1638"/>
                <a:gd name="T20" fmla="*/ 525 w 1293"/>
                <a:gd name="T21" fmla="*/ 911 h 1638"/>
                <a:gd name="T22" fmla="*/ 557 w 1293"/>
                <a:gd name="T23" fmla="*/ 1014 h 1638"/>
                <a:gd name="T24" fmla="*/ 720 w 1293"/>
                <a:gd name="T25" fmla="*/ 1119 h 1638"/>
                <a:gd name="T26" fmla="*/ 765 w 1293"/>
                <a:gd name="T27" fmla="*/ 1119 h 1638"/>
                <a:gd name="T28" fmla="*/ 985 w 1293"/>
                <a:gd name="T29" fmla="*/ 1197 h 1638"/>
                <a:gd name="T30" fmla="*/ 113 w 1293"/>
                <a:gd name="T31" fmla="*/ 1011 h 1638"/>
                <a:gd name="T32" fmla="*/ 885 w 1293"/>
                <a:gd name="T33" fmla="*/ 826 h 1638"/>
                <a:gd name="T34" fmla="*/ 885 w 1293"/>
                <a:gd name="T35" fmla="*/ 762 h 1638"/>
                <a:gd name="T36" fmla="*/ 768 w 1293"/>
                <a:gd name="T37" fmla="*/ 672 h 1638"/>
                <a:gd name="T38" fmla="*/ 1027 w 1293"/>
                <a:gd name="T39" fmla="*/ 663 h 1638"/>
                <a:gd name="T40" fmla="*/ 1255 w 1293"/>
                <a:gd name="T41" fmla="*/ 422 h 1638"/>
                <a:gd name="T42" fmla="*/ 1027 w 1293"/>
                <a:gd name="T43" fmla="*/ 182 h 1638"/>
                <a:gd name="T44" fmla="*/ 768 w 1293"/>
                <a:gd name="T45" fmla="*/ 173 h 1638"/>
                <a:gd name="T46" fmla="*/ 646 w 1293"/>
                <a:gd name="T47" fmla="*/ 0 h 1638"/>
                <a:gd name="T48" fmla="*/ 525 w 1293"/>
                <a:gd name="T49" fmla="*/ 173 h 1638"/>
                <a:gd name="T50" fmla="*/ 352 w 1293"/>
                <a:gd name="T51" fmla="*/ 205 h 1638"/>
                <a:gd name="T52" fmla="*/ 992 w 1293"/>
                <a:gd name="T53" fmla="*/ 237 h 1638"/>
                <a:gd name="T54" fmla="*/ 992 w 1293"/>
                <a:gd name="T55" fmla="*/ 608 h 1638"/>
                <a:gd name="T56" fmla="*/ 455 w 1293"/>
                <a:gd name="T57" fmla="*/ 458 h 1638"/>
                <a:gd name="T58" fmla="*/ 549 w 1293"/>
                <a:gd name="T59" fmla="*/ 539 h 1638"/>
                <a:gd name="T60" fmla="*/ 702 w 1293"/>
                <a:gd name="T61" fmla="*/ 398 h 1638"/>
                <a:gd name="T62" fmla="*/ 766 w 1293"/>
                <a:gd name="T63" fmla="*/ 393 h 1638"/>
                <a:gd name="T64" fmla="*/ 734 w 1293"/>
                <a:gd name="T65" fmla="*/ 290 h 1638"/>
                <a:gd name="T66" fmla="*/ 630 w 1293"/>
                <a:gd name="T67" fmla="*/ 322 h 1638"/>
                <a:gd name="T68" fmla="*/ 549 w 1293"/>
                <a:gd name="T69" fmla="*/ 462 h 1638"/>
                <a:gd name="T70" fmla="*/ 455 w 1293"/>
                <a:gd name="T71" fmla="*/ 381 h 1638"/>
                <a:gd name="T72" fmla="*/ 215 w 1293"/>
                <a:gd name="T73" fmla="*/ 608 h 1638"/>
                <a:gd name="T74" fmla="*/ 64 w 1293"/>
                <a:gd name="T75" fmla="*/ 237 h 1638"/>
                <a:gd name="T76" fmla="*/ 163 w 1293"/>
                <a:gd name="T77" fmla="*/ 205 h 1638"/>
                <a:gd name="T78" fmla="*/ 32 w 1293"/>
                <a:gd name="T79" fmla="*/ 173 h 1638"/>
                <a:gd name="T80" fmla="*/ 0 w 1293"/>
                <a:gd name="T81" fmla="*/ 640 h 1638"/>
                <a:gd name="T82" fmla="*/ 525 w 1293"/>
                <a:gd name="T83" fmla="*/ 672 h 1638"/>
                <a:gd name="T84" fmla="*/ 286 w 1293"/>
                <a:gd name="T85" fmla="*/ 762 h 1638"/>
                <a:gd name="T86" fmla="*/ 45 w 1293"/>
                <a:gd name="T87" fmla="*/ 989 h 1638"/>
                <a:gd name="T88" fmla="*/ 45 w 1293"/>
                <a:gd name="T89" fmla="*/ 1034 h 1638"/>
                <a:gd name="T90" fmla="*/ 286 w 1293"/>
                <a:gd name="T91" fmla="*/ 1261 h 1638"/>
                <a:gd name="T92" fmla="*/ 525 w 1293"/>
                <a:gd name="T93" fmla="*/ 1402 h 1638"/>
                <a:gd name="T94" fmla="*/ 0 w 1293"/>
                <a:gd name="T95" fmla="*/ 1606 h 1638"/>
                <a:gd name="T96" fmla="*/ 1261 w 1293"/>
                <a:gd name="T97" fmla="*/ 1638 h 1638"/>
                <a:gd name="T98" fmla="*/ 1088 w 1293"/>
                <a:gd name="T99" fmla="*/ 1402 h 1638"/>
                <a:gd name="T100" fmla="*/ 589 w 1293"/>
                <a:gd name="T101" fmla="*/ 173 h 1638"/>
                <a:gd name="T102" fmla="*/ 646 w 1293"/>
                <a:gd name="T103" fmla="*/ 64 h 1638"/>
                <a:gd name="T104" fmla="*/ 704 w 1293"/>
                <a:gd name="T105" fmla="*/ 173 h 1638"/>
                <a:gd name="T106" fmla="*/ 704 w 1293"/>
                <a:gd name="T107" fmla="*/ 672 h 1638"/>
                <a:gd name="T108" fmla="*/ 589 w 1293"/>
                <a:gd name="T109" fmla="*/ 762 h 1638"/>
                <a:gd name="T110" fmla="*/ 589 w 1293"/>
                <a:gd name="T111" fmla="*/ 1261 h 1638"/>
                <a:gd name="T112" fmla="*/ 704 w 1293"/>
                <a:gd name="T113" fmla="*/ 1402 h 1638"/>
                <a:gd name="T114" fmla="*/ 589 w 1293"/>
                <a:gd name="T115" fmla="*/ 1261 h 1638"/>
                <a:gd name="T116" fmla="*/ 205 w 1293"/>
                <a:gd name="T117" fmla="*/ 1466 h 1638"/>
                <a:gd name="T118" fmla="*/ 1225 w 1293"/>
                <a:gd name="T119" fmla="*/ 1574 h 1638"/>
                <a:gd name="T120" fmla="*/ 68 w 1293"/>
                <a:gd name="T121" fmla="*/ 1574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3" h="1638">
                  <a:moveTo>
                    <a:pt x="1088" y="1402"/>
                  </a:moveTo>
                  <a:cubicBezTo>
                    <a:pt x="768" y="1402"/>
                    <a:pt x="768" y="1402"/>
                    <a:pt x="768" y="1402"/>
                  </a:cubicBezTo>
                  <a:cubicBezTo>
                    <a:pt x="768" y="1261"/>
                    <a:pt x="768" y="1261"/>
                    <a:pt x="768" y="1261"/>
                  </a:cubicBezTo>
                  <a:cubicBezTo>
                    <a:pt x="1259" y="1261"/>
                    <a:pt x="1259" y="1261"/>
                    <a:pt x="1259" y="1261"/>
                  </a:cubicBezTo>
                  <a:cubicBezTo>
                    <a:pt x="1277" y="1261"/>
                    <a:pt x="1291" y="1246"/>
                    <a:pt x="1291" y="1229"/>
                  </a:cubicBezTo>
                  <a:cubicBezTo>
                    <a:pt x="1291" y="794"/>
                    <a:pt x="1291" y="794"/>
                    <a:pt x="1291" y="794"/>
                  </a:cubicBezTo>
                  <a:cubicBezTo>
                    <a:pt x="1291" y="776"/>
                    <a:pt x="1277" y="762"/>
                    <a:pt x="1259" y="762"/>
                  </a:cubicBezTo>
                  <a:cubicBezTo>
                    <a:pt x="1147" y="762"/>
                    <a:pt x="1147" y="762"/>
                    <a:pt x="1147" y="762"/>
                  </a:cubicBezTo>
                  <a:cubicBezTo>
                    <a:pt x="1130" y="762"/>
                    <a:pt x="1115" y="776"/>
                    <a:pt x="1115" y="794"/>
                  </a:cubicBezTo>
                  <a:cubicBezTo>
                    <a:pt x="1115" y="811"/>
                    <a:pt x="1130" y="826"/>
                    <a:pt x="1147" y="826"/>
                  </a:cubicBezTo>
                  <a:cubicBezTo>
                    <a:pt x="1227" y="826"/>
                    <a:pt x="1227" y="826"/>
                    <a:pt x="1227" y="826"/>
                  </a:cubicBezTo>
                  <a:cubicBezTo>
                    <a:pt x="1227" y="1197"/>
                    <a:pt x="1227" y="1197"/>
                    <a:pt x="1227" y="1197"/>
                  </a:cubicBezTo>
                  <a:cubicBezTo>
                    <a:pt x="1076" y="1197"/>
                    <a:pt x="1076" y="1197"/>
                    <a:pt x="1076" y="1197"/>
                  </a:cubicBezTo>
                  <a:cubicBezTo>
                    <a:pt x="858" y="980"/>
                    <a:pt x="858" y="980"/>
                    <a:pt x="858" y="980"/>
                  </a:cubicBezTo>
                  <a:cubicBezTo>
                    <a:pt x="852" y="974"/>
                    <a:pt x="844" y="970"/>
                    <a:pt x="836" y="970"/>
                  </a:cubicBezTo>
                  <a:cubicBezTo>
                    <a:pt x="827" y="970"/>
                    <a:pt x="819" y="974"/>
                    <a:pt x="813" y="980"/>
                  </a:cubicBezTo>
                  <a:cubicBezTo>
                    <a:pt x="742" y="1051"/>
                    <a:pt x="742" y="1051"/>
                    <a:pt x="742" y="1051"/>
                  </a:cubicBezTo>
                  <a:cubicBezTo>
                    <a:pt x="634" y="942"/>
                    <a:pt x="634" y="942"/>
                    <a:pt x="634" y="942"/>
                  </a:cubicBezTo>
                  <a:cubicBezTo>
                    <a:pt x="649" y="940"/>
                    <a:pt x="661" y="926"/>
                    <a:pt x="661" y="911"/>
                  </a:cubicBezTo>
                  <a:cubicBezTo>
                    <a:pt x="661" y="893"/>
                    <a:pt x="646" y="879"/>
                    <a:pt x="629" y="879"/>
                  </a:cubicBezTo>
                  <a:cubicBezTo>
                    <a:pt x="557" y="879"/>
                    <a:pt x="557" y="879"/>
                    <a:pt x="557" y="879"/>
                  </a:cubicBezTo>
                  <a:cubicBezTo>
                    <a:pt x="539" y="879"/>
                    <a:pt x="525" y="893"/>
                    <a:pt x="525" y="911"/>
                  </a:cubicBezTo>
                  <a:cubicBezTo>
                    <a:pt x="525" y="982"/>
                    <a:pt x="525" y="982"/>
                    <a:pt x="525" y="982"/>
                  </a:cubicBezTo>
                  <a:cubicBezTo>
                    <a:pt x="525" y="1000"/>
                    <a:pt x="539" y="1014"/>
                    <a:pt x="557" y="1014"/>
                  </a:cubicBezTo>
                  <a:cubicBezTo>
                    <a:pt x="573" y="1014"/>
                    <a:pt x="586" y="1003"/>
                    <a:pt x="588" y="987"/>
                  </a:cubicBezTo>
                  <a:cubicBezTo>
                    <a:pt x="720" y="1119"/>
                    <a:pt x="720" y="1119"/>
                    <a:pt x="720" y="1119"/>
                  </a:cubicBezTo>
                  <a:cubicBezTo>
                    <a:pt x="726" y="1125"/>
                    <a:pt x="734" y="1128"/>
                    <a:pt x="742" y="1128"/>
                  </a:cubicBezTo>
                  <a:cubicBezTo>
                    <a:pt x="751" y="1128"/>
                    <a:pt x="759" y="1125"/>
                    <a:pt x="765" y="1119"/>
                  </a:cubicBezTo>
                  <a:cubicBezTo>
                    <a:pt x="836" y="1048"/>
                    <a:pt x="836" y="1048"/>
                    <a:pt x="836" y="1048"/>
                  </a:cubicBezTo>
                  <a:cubicBezTo>
                    <a:pt x="985" y="1197"/>
                    <a:pt x="985" y="1197"/>
                    <a:pt x="985" y="1197"/>
                  </a:cubicBezTo>
                  <a:cubicBezTo>
                    <a:pt x="299" y="1197"/>
                    <a:pt x="299" y="1197"/>
                    <a:pt x="299" y="1197"/>
                  </a:cubicBezTo>
                  <a:cubicBezTo>
                    <a:pt x="113" y="1011"/>
                    <a:pt x="113" y="1011"/>
                    <a:pt x="113" y="1011"/>
                  </a:cubicBezTo>
                  <a:cubicBezTo>
                    <a:pt x="299" y="826"/>
                    <a:pt x="299" y="826"/>
                    <a:pt x="299" y="826"/>
                  </a:cubicBezTo>
                  <a:cubicBezTo>
                    <a:pt x="885" y="826"/>
                    <a:pt x="885" y="826"/>
                    <a:pt x="885" y="826"/>
                  </a:cubicBezTo>
                  <a:cubicBezTo>
                    <a:pt x="902" y="826"/>
                    <a:pt x="917" y="811"/>
                    <a:pt x="917" y="794"/>
                  </a:cubicBezTo>
                  <a:cubicBezTo>
                    <a:pt x="917" y="776"/>
                    <a:pt x="902" y="762"/>
                    <a:pt x="885" y="762"/>
                  </a:cubicBezTo>
                  <a:cubicBezTo>
                    <a:pt x="768" y="762"/>
                    <a:pt x="768" y="762"/>
                    <a:pt x="768" y="762"/>
                  </a:cubicBezTo>
                  <a:cubicBezTo>
                    <a:pt x="768" y="672"/>
                    <a:pt x="768" y="672"/>
                    <a:pt x="768" y="672"/>
                  </a:cubicBezTo>
                  <a:cubicBezTo>
                    <a:pt x="1005" y="672"/>
                    <a:pt x="1005" y="672"/>
                    <a:pt x="1005" y="672"/>
                  </a:cubicBezTo>
                  <a:cubicBezTo>
                    <a:pt x="1013" y="672"/>
                    <a:pt x="1021" y="669"/>
                    <a:pt x="1027" y="663"/>
                  </a:cubicBezTo>
                  <a:cubicBezTo>
                    <a:pt x="1246" y="445"/>
                    <a:pt x="1246" y="445"/>
                    <a:pt x="1246" y="445"/>
                  </a:cubicBezTo>
                  <a:cubicBezTo>
                    <a:pt x="1252" y="439"/>
                    <a:pt x="1255" y="431"/>
                    <a:pt x="1255" y="422"/>
                  </a:cubicBezTo>
                  <a:cubicBezTo>
                    <a:pt x="1255" y="414"/>
                    <a:pt x="1252" y="406"/>
                    <a:pt x="1246" y="400"/>
                  </a:cubicBezTo>
                  <a:cubicBezTo>
                    <a:pt x="1027" y="182"/>
                    <a:pt x="1027" y="182"/>
                    <a:pt x="1027" y="182"/>
                  </a:cubicBezTo>
                  <a:cubicBezTo>
                    <a:pt x="1021" y="176"/>
                    <a:pt x="1013" y="173"/>
                    <a:pt x="1005" y="173"/>
                  </a:cubicBezTo>
                  <a:cubicBezTo>
                    <a:pt x="768" y="173"/>
                    <a:pt x="768" y="173"/>
                    <a:pt x="768" y="173"/>
                  </a:cubicBezTo>
                  <a:cubicBezTo>
                    <a:pt x="768" y="122"/>
                    <a:pt x="768" y="122"/>
                    <a:pt x="768" y="122"/>
                  </a:cubicBezTo>
                  <a:cubicBezTo>
                    <a:pt x="768" y="55"/>
                    <a:pt x="713" y="0"/>
                    <a:pt x="646" y="0"/>
                  </a:cubicBezTo>
                  <a:cubicBezTo>
                    <a:pt x="579" y="0"/>
                    <a:pt x="525" y="55"/>
                    <a:pt x="525" y="122"/>
                  </a:cubicBezTo>
                  <a:cubicBezTo>
                    <a:pt x="525" y="173"/>
                    <a:pt x="525" y="173"/>
                    <a:pt x="525" y="173"/>
                  </a:cubicBezTo>
                  <a:cubicBezTo>
                    <a:pt x="384" y="173"/>
                    <a:pt x="384" y="173"/>
                    <a:pt x="384" y="173"/>
                  </a:cubicBezTo>
                  <a:cubicBezTo>
                    <a:pt x="366" y="173"/>
                    <a:pt x="352" y="187"/>
                    <a:pt x="352" y="205"/>
                  </a:cubicBezTo>
                  <a:cubicBezTo>
                    <a:pt x="352" y="222"/>
                    <a:pt x="366" y="237"/>
                    <a:pt x="384" y="237"/>
                  </a:cubicBezTo>
                  <a:cubicBezTo>
                    <a:pt x="992" y="237"/>
                    <a:pt x="992" y="237"/>
                    <a:pt x="992" y="237"/>
                  </a:cubicBezTo>
                  <a:cubicBezTo>
                    <a:pt x="1178" y="422"/>
                    <a:pt x="1178" y="422"/>
                    <a:pt x="1178" y="422"/>
                  </a:cubicBezTo>
                  <a:cubicBezTo>
                    <a:pt x="992" y="608"/>
                    <a:pt x="992" y="608"/>
                    <a:pt x="992" y="608"/>
                  </a:cubicBezTo>
                  <a:cubicBezTo>
                    <a:pt x="305" y="608"/>
                    <a:pt x="305" y="608"/>
                    <a:pt x="305" y="608"/>
                  </a:cubicBezTo>
                  <a:cubicBezTo>
                    <a:pt x="455" y="458"/>
                    <a:pt x="455" y="458"/>
                    <a:pt x="455" y="458"/>
                  </a:cubicBezTo>
                  <a:cubicBezTo>
                    <a:pt x="526" y="529"/>
                    <a:pt x="526" y="529"/>
                    <a:pt x="526" y="529"/>
                  </a:cubicBezTo>
                  <a:cubicBezTo>
                    <a:pt x="532" y="535"/>
                    <a:pt x="540" y="539"/>
                    <a:pt x="549" y="539"/>
                  </a:cubicBezTo>
                  <a:cubicBezTo>
                    <a:pt x="557" y="539"/>
                    <a:pt x="565" y="535"/>
                    <a:pt x="571" y="529"/>
                  </a:cubicBezTo>
                  <a:cubicBezTo>
                    <a:pt x="702" y="398"/>
                    <a:pt x="702" y="398"/>
                    <a:pt x="702" y="398"/>
                  </a:cubicBezTo>
                  <a:cubicBezTo>
                    <a:pt x="705" y="414"/>
                    <a:pt x="718" y="425"/>
                    <a:pt x="734" y="425"/>
                  </a:cubicBezTo>
                  <a:cubicBezTo>
                    <a:pt x="752" y="425"/>
                    <a:pt x="766" y="411"/>
                    <a:pt x="766" y="393"/>
                  </a:cubicBezTo>
                  <a:cubicBezTo>
                    <a:pt x="766" y="322"/>
                    <a:pt x="766" y="322"/>
                    <a:pt x="766" y="322"/>
                  </a:cubicBezTo>
                  <a:cubicBezTo>
                    <a:pt x="766" y="304"/>
                    <a:pt x="752" y="290"/>
                    <a:pt x="734" y="290"/>
                  </a:cubicBezTo>
                  <a:cubicBezTo>
                    <a:pt x="662" y="290"/>
                    <a:pt x="662" y="290"/>
                    <a:pt x="662" y="290"/>
                  </a:cubicBezTo>
                  <a:cubicBezTo>
                    <a:pt x="645" y="290"/>
                    <a:pt x="630" y="304"/>
                    <a:pt x="630" y="322"/>
                  </a:cubicBezTo>
                  <a:cubicBezTo>
                    <a:pt x="630" y="337"/>
                    <a:pt x="642" y="351"/>
                    <a:pt x="657" y="353"/>
                  </a:cubicBezTo>
                  <a:cubicBezTo>
                    <a:pt x="549" y="462"/>
                    <a:pt x="549" y="462"/>
                    <a:pt x="549" y="462"/>
                  </a:cubicBezTo>
                  <a:cubicBezTo>
                    <a:pt x="478" y="391"/>
                    <a:pt x="478" y="391"/>
                    <a:pt x="478" y="391"/>
                  </a:cubicBezTo>
                  <a:cubicBezTo>
                    <a:pt x="472" y="385"/>
                    <a:pt x="463" y="381"/>
                    <a:pt x="455" y="381"/>
                  </a:cubicBezTo>
                  <a:cubicBezTo>
                    <a:pt x="447" y="381"/>
                    <a:pt x="438" y="385"/>
                    <a:pt x="432" y="391"/>
                  </a:cubicBezTo>
                  <a:cubicBezTo>
                    <a:pt x="215" y="608"/>
                    <a:pt x="215" y="608"/>
                    <a:pt x="215" y="608"/>
                  </a:cubicBezTo>
                  <a:cubicBezTo>
                    <a:pt x="64" y="608"/>
                    <a:pt x="64" y="608"/>
                    <a:pt x="64" y="608"/>
                  </a:cubicBezTo>
                  <a:cubicBezTo>
                    <a:pt x="64" y="237"/>
                    <a:pt x="64" y="237"/>
                    <a:pt x="64" y="237"/>
                  </a:cubicBezTo>
                  <a:cubicBezTo>
                    <a:pt x="131" y="237"/>
                    <a:pt x="131" y="237"/>
                    <a:pt x="131" y="237"/>
                  </a:cubicBezTo>
                  <a:cubicBezTo>
                    <a:pt x="149" y="237"/>
                    <a:pt x="163" y="222"/>
                    <a:pt x="163" y="205"/>
                  </a:cubicBezTo>
                  <a:cubicBezTo>
                    <a:pt x="163" y="187"/>
                    <a:pt x="149" y="173"/>
                    <a:pt x="131" y="173"/>
                  </a:cubicBezTo>
                  <a:cubicBezTo>
                    <a:pt x="32" y="173"/>
                    <a:pt x="32" y="173"/>
                    <a:pt x="32" y="173"/>
                  </a:cubicBezTo>
                  <a:cubicBezTo>
                    <a:pt x="14" y="173"/>
                    <a:pt x="0" y="187"/>
                    <a:pt x="0" y="205"/>
                  </a:cubicBezTo>
                  <a:cubicBezTo>
                    <a:pt x="0" y="640"/>
                    <a:pt x="0" y="640"/>
                    <a:pt x="0" y="640"/>
                  </a:cubicBezTo>
                  <a:cubicBezTo>
                    <a:pt x="0" y="658"/>
                    <a:pt x="14" y="672"/>
                    <a:pt x="32" y="672"/>
                  </a:cubicBezTo>
                  <a:cubicBezTo>
                    <a:pt x="525" y="672"/>
                    <a:pt x="525" y="672"/>
                    <a:pt x="525" y="672"/>
                  </a:cubicBezTo>
                  <a:cubicBezTo>
                    <a:pt x="525" y="762"/>
                    <a:pt x="525" y="762"/>
                    <a:pt x="525" y="762"/>
                  </a:cubicBezTo>
                  <a:cubicBezTo>
                    <a:pt x="286" y="762"/>
                    <a:pt x="286" y="762"/>
                    <a:pt x="286" y="762"/>
                  </a:cubicBezTo>
                  <a:cubicBezTo>
                    <a:pt x="278" y="762"/>
                    <a:pt x="270" y="765"/>
                    <a:pt x="264" y="771"/>
                  </a:cubicBezTo>
                  <a:cubicBezTo>
                    <a:pt x="45" y="989"/>
                    <a:pt x="45" y="989"/>
                    <a:pt x="45" y="989"/>
                  </a:cubicBezTo>
                  <a:cubicBezTo>
                    <a:pt x="39" y="995"/>
                    <a:pt x="36" y="1003"/>
                    <a:pt x="36" y="1011"/>
                  </a:cubicBezTo>
                  <a:cubicBezTo>
                    <a:pt x="36" y="1020"/>
                    <a:pt x="39" y="1028"/>
                    <a:pt x="45" y="1034"/>
                  </a:cubicBezTo>
                  <a:cubicBezTo>
                    <a:pt x="264" y="1251"/>
                    <a:pt x="264" y="1251"/>
                    <a:pt x="264" y="1251"/>
                  </a:cubicBezTo>
                  <a:cubicBezTo>
                    <a:pt x="270" y="1257"/>
                    <a:pt x="278" y="1261"/>
                    <a:pt x="286" y="1261"/>
                  </a:cubicBezTo>
                  <a:cubicBezTo>
                    <a:pt x="525" y="1261"/>
                    <a:pt x="525" y="1261"/>
                    <a:pt x="525" y="1261"/>
                  </a:cubicBezTo>
                  <a:cubicBezTo>
                    <a:pt x="525" y="1402"/>
                    <a:pt x="525" y="1402"/>
                    <a:pt x="525" y="1402"/>
                  </a:cubicBezTo>
                  <a:cubicBezTo>
                    <a:pt x="205" y="1402"/>
                    <a:pt x="205" y="1402"/>
                    <a:pt x="205" y="1402"/>
                  </a:cubicBezTo>
                  <a:cubicBezTo>
                    <a:pt x="92" y="1402"/>
                    <a:pt x="0" y="1493"/>
                    <a:pt x="0" y="1606"/>
                  </a:cubicBezTo>
                  <a:cubicBezTo>
                    <a:pt x="0" y="1624"/>
                    <a:pt x="14" y="1638"/>
                    <a:pt x="32" y="1638"/>
                  </a:cubicBezTo>
                  <a:cubicBezTo>
                    <a:pt x="1261" y="1638"/>
                    <a:pt x="1261" y="1638"/>
                    <a:pt x="1261" y="1638"/>
                  </a:cubicBezTo>
                  <a:cubicBezTo>
                    <a:pt x="1278" y="1638"/>
                    <a:pt x="1293" y="1624"/>
                    <a:pt x="1293" y="1606"/>
                  </a:cubicBezTo>
                  <a:cubicBezTo>
                    <a:pt x="1293" y="1493"/>
                    <a:pt x="1201" y="1402"/>
                    <a:pt x="1088" y="1402"/>
                  </a:cubicBezTo>
                  <a:close/>
                  <a:moveTo>
                    <a:pt x="704" y="173"/>
                  </a:moveTo>
                  <a:cubicBezTo>
                    <a:pt x="589" y="173"/>
                    <a:pt x="589" y="173"/>
                    <a:pt x="589" y="173"/>
                  </a:cubicBezTo>
                  <a:cubicBezTo>
                    <a:pt x="589" y="122"/>
                    <a:pt x="589" y="122"/>
                    <a:pt x="589" y="122"/>
                  </a:cubicBezTo>
                  <a:cubicBezTo>
                    <a:pt x="589" y="90"/>
                    <a:pt x="615" y="64"/>
                    <a:pt x="646" y="64"/>
                  </a:cubicBezTo>
                  <a:cubicBezTo>
                    <a:pt x="678" y="64"/>
                    <a:pt x="704" y="90"/>
                    <a:pt x="704" y="122"/>
                  </a:cubicBezTo>
                  <a:lnTo>
                    <a:pt x="704" y="173"/>
                  </a:lnTo>
                  <a:close/>
                  <a:moveTo>
                    <a:pt x="589" y="672"/>
                  </a:moveTo>
                  <a:cubicBezTo>
                    <a:pt x="704" y="672"/>
                    <a:pt x="704" y="672"/>
                    <a:pt x="704" y="672"/>
                  </a:cubicBezTo>
                  <a:cubicBezTo>
                    <a:pt x="704" y="762"/>
                    <a:pt x="704" y="762"/>
                    <a:pt x="704" y="762"/>
                  </a:cubicBezTo>
                  <a:cubicBezTo>
                    <a:pt x="589" y="762"/>
                    <a:pt x="589" y="762"/>
                    <a:pt x="589" y="762"/>
                  </a:cubicBezTo>
                  <a:lnTo>
                    <a:pt x="589" y="672"/>
                  </a:lnTo>
                  <a:close/>
                  <a:moveTo>
                    <a:pt x="589" y="1261"/>
                  </a:moveTo>
                  <a:cubicBezTo>
                    <a:pt x="704" y="1261"/>
                    <a:pt x="704" y="1261"/>
                    <a:pt x="704" y="1261"/>
                  </a:cubicBezTo>
                  <a:cubicBezTo>
                    <a:pt x="704" y="1402"/>
                    <a:pt x="704" y="1402"/>
                    <a:pt x="704" y="1402"/>
                  </a:cubicBezTo>
                  <a:cubicBezTo>
                    <a:pt x="589" y="1402"/>
                    <a:pt x="589" y="1402"/>
                    <a:pt x="589" y="1402"/>
                  </a:cubicBezTo>
                  <a:lnTo>
                    <a:pt x="589" y="1261"/>
                  </a:lnTo>
                  <a:close/>
                  <a:moveTo>
                    <a:pt x="68" y="1574"/>
                  </a:moveTo>
                  <a:cubicBezTo>
                    <a:pt x="82" y="1512"/>
                    <a:pt x="138" y="1466"/>
                    <a:pt x="205" y="1466"/>
                  </a:cubicBezTo>
                  <a:cubicBezTo>
                    <a:pt x="1088" y="1466"/>
                    <a:pt x="1088" y="1466"/>
                    <a:pt x="1088" y="1466"/>
                  </a:cubicBezTo>
                  <a:cubicBezTo>
                    <a:pt x="1155" y="1466"/>
                    <a:pt x="1211" y="1512"/>
                    <a:pt x="1225" y="1574"/>
                  </a:cubicBezTo>
                  <a:lnTo>
                    <a:pt x="68" y="1574"/>
                  </a:lnTo>
                  <a:close/>
                  <a:moveTo>
                    <a:pt x="68" y="1574"/>
                  </a:moveTo>
                  <a:cubicBezTo>
                    <a:pt x="68" y="1574"/>
                    <a:pt x="68" y="1574"/>
                    <a:pt x="68" y="15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0"/>
            <p:cNvSpPr>
              <a:spLocks noEditPoints="1"/>
            </p:cNvSpPr>
            <p:nvPr/>
          </p:nvSpPr>
          <p:spPr bwMode="auto">
            <a:xfrm>
              <a:off x="2760" y="840"/>
              <a:ext cx="122"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41"/>
            <p:cNvSpPr>
              <a:spLocks noEditPoints="1"/>
            </p:cNvSpPr>
            <p:nvPr/>
          </p:nvSpPr>
          <p:spPr bwMode="auto">
            <a:xfrm>
              <a:off x="4209" y="1955"/>
              <a:ext cx="122"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8" name="Group 244"/>
          <p:cNvGrpSpPr>
            <a:grpSpLocks noChangeAspect="1"/>
          </p:cNvGrpSpPr>
          <p:nvPr/>
        </p:nvGrpSpPr>
        <p:grpSpPr bwMode="auto">
          <a:xfrm>
            <a:off x="3586763" y="2984382"/>
            <a:ext cx="457200" cy="457200"/>
            <a:chOff x="2269" y="1479"/>
            <a:chExt cx="3101" cy="3101"/>
          </a:xfrm>
          <a:solidFill>
            <a:schemeClr val="accent1"/>
          </a:solidFill>
        </p:grpSpPr>
        <p:sp>
          <p:nvSpPr>
            <p:cNvPr id="250" name="Freeform 245"/>
            <p:cNvSpPr>
              <a:spLocks noEditPoints="1"/>
            </p:cNvSpPr>
            <p:nvPr/>
          </p:nvSpPr>
          <p:spPr bwMode="auto">
            <a:xfrm>
              <a:off x="2778" y="1479"/>
              <a:ext cx="2592" cy="3101"/>
            </a:xfrm>
            <a:custGeom>
              <a:avLst/>
              <a:gdLst>
                <a:gd name="T0" fmla="*/ 1360 w 1369"/>
                <a:gd name="T1" fmla="*/ 301 h 1638"/>
                <a:gd name="T2" fmla="*/ 1069 w 1369"/>
                <a:gd name="T3" fmla="*/ 9 h 1638"/>
                <a:gd name="T4" fmla="*/ 1046 w 1369"/>
                <a:gd name="T5" fmla="*/ 0 h 1638"/>
                <a:gd name="T6" fmla="*/ 96 w 1369"/>
                <a:gd name="T7" fmla="*/ 0 h 1638"/>
                <a:gd name="T8" fmla="*/ 0 w 1369"/>
                <a:gd name="T9" fmla="*/ 96 h 1638"/>
                <a:gd name="T10" fmla="*/ 0 w 1369"/>
                <a:gd name="T11" fmla="*/ 384 h 1638"/>
                <a:gd name="T12" fmla="*/ 32 w 1369"/>
                <a:gd name="T13" fmla="*/ 416 h 1638"/>
                <a:gd name="T14" fmla="*/ 64 w 1369"/>
                <a:gd name="T15" fmla="*/ 384 h 1638"/>
                <a:gd name="T16" fmla="*/ 64 w 1369"/>
                <a:gd name="T17" fmla="*/ 96 h 1638"/>
                <a:gd name="T18" fmla="*/ 96 w 1369"/>
                <a:gd name="T19" fmla="*/ 64 h 1638"/>
                <a:gd name="T20" fmla="*/ 1014 w 1369"/>
                <a:gd name="T21" fmla="*/ 64 h 1638"/>
                <a:gd name="T22" fmla="*/ 1014 w 1369"/>
                <a:gd name="T23" fmla="*/ 259 h 1638"/>
                <a:gd name="T24" fmla="*/ 1110 w 1369"/>
                <a:gd name="T25" fmla="*/ 355 h 1638"/>
                <a:gd name="T26" fmla="*/ 1305 w 1369"/>
                <a:gd name="T27" fmla="*/ 355 h 1638"/>
                <a:gd name="T28" fmla="*/ 1305 w 1369"/>
                <a:gd name="T29" fmla="*/ 1421 h 1638"/>
                <a:gd name="T30" fmla="*/ 1023 w 1369"/>
                <a:gd name="T31" fmla="*/ 1421 h 1638"/>
                <a:gd name="T32" fmla="*/ 991 w 1369"/>
                <a:gd name="T33" fmla="*/ 1453 h 1638"/>
                <a:gd name="T34" fmla="*/ 1023 w 1369"/>
                <a:gd name="T35" fmla="*/ 1485 h 1638"/>
                <a:gd name="T36" fmla="*/ 1305 w 1369"/>
                <a:gd name="T37" fmla="*/ 1485 h 1638"/>
                <a:gd name="T38" fmla="*/ 1305 w 1369"/>
                <a:gd name="T39" fmla="*/ 1542 h 1638"/>
                <a:gd name="T40" fmla="*/ 1273 w 1369"/>
                <a:gd name="T41" fmla="*/ 1574 h 1638"/>
                <a:gd name="T42" fmla="*/ 96 w 1369"/>
                <a:gd name="T43" fmla="*/ 1574 h 1638"/>
                <a:gd name="T44" fmla="*/ 64 w 1369"/>
                <a:gd name="T45" fmla="*/ 1606 h 1638"/>
                <a:gd name="T46" fmla="*/ 96 w 1369"/>
                <a:gd name="T47" fmla="*/ 1638 h 1638"/>
                <a:gd name="T48" fmla="*/ 1273 w 1369"/>
                <a:gd name="T49" fmla="*/ 1638 h 1638"/>
                <a:gd name="T50" fmla="*/ 1369 w 1369"/>
                <a:gd name="T51" fmla="*/ 1542 h 1638"/>
                <a:gd name="T52" fmla="*/ 1369 w 1369"/>
                <a:gd name="T53" fmla="*/ 323 h 1638"/>
                <a:gd name="T54" fmla="*/ 1360 w 1369"/>
                <a:gd name="T55" fmla="*/ 301 h 1638"/>
                <a:gd name="T56" fmla="*/ 1110 w 1369"/>
                <a:gd name="T57" fmla="*/ 291 h 1638"/>
                <a:gd name="T58" fmla="*/ 1078 w 1369"/>
                <a:gd name="T59" fmla="*/ 259 h 1638"/>
                <a:gd name="T60" fmla="*/ 1078 w 1369"/>
                <a:gd name="T61" fmla="*/ 109 h 1638"/>
                <a:gd name="T62" fmla="*/ 1260 w 1369"/>
                <a:gd name="T63" fmla="*/ 291 h 1638"/>
                <a:gd name="T64" fmla="*/ 1110 w 1369"/>
                <a:gd name="T65" fmla="*/ 291 h 1638"/>
                <a:gd name="T66" fmla="*/ 1110 w 1369"/>
                <a:gd name="T67" fmla="*/ 291 h 1638"/>
                <a:gd name="T68" fmla="*/ 1110 w 1369"/>
                <a:gd name="T69" fmla="*/ 291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9" h="1638">
                  <a:moveTo>
                    <a:pt x="1360" y="301"/>
                  </a:moveTo>
                  <a:cubicBezTo>
                    <a:pt x="1069" y="9"/>
                    <a:pt x="1069" y="9"/>
                    <a:pt x="1069" y="9"/>
                  </a:cubicBezTo>
                  <a:cubicBezTo>
                    <a:pt x="1063" y="3"/>
                    <a:pt x="1055" y="0"/>
                    <a:pt x="1046" y="0"/>
                  </a:cubicBezTo>
                  <a:cubicBezTo>
                    <a:pt x="96" y="0"/>
                    <a:pt x="96" y="0"/>
                    <a:pt x="96" y="0"/>
                  </a:cubicBezTo>
                  <a:cubicBezTo>
                    <a:pt x="43" y="0"/>
                    <a:pt x="0" y="43"/>
                    <a:pt x="0" y="96"/>
                  </a:cubicBezTo>
                  <a:cubicBezTo>
                    <a:pt x="0" y="384"/>
                    <a:pt x="0" y="384"/>
                    <a:pt x="0" y="384"/>
                  </a:cubicBezTo>
                  <a:cubicBezTo>
                    <a:pt x="0" y="402"/>
                    <a:pt x="14" y="416"/>
                    <a:pt x="32" y="416"/>
                  </a:cubicBezTo>
                  <a:cubicBezTo>
                    <a:pt x="49" y="416"/>
                    <a:pt x="64" y="402"/>
                    <a:pt x="64" y="384"/>
                  </a:cubicBezTo>
                  <a:cubicBezTo>
                    <a:pt x="64" y="96"/>
                    <a:pt x="64" y="96"/>
                    <a:pt x="64" y="96"/>
                  </a:cubicBezTo>
                  <a:cubicBezTo>
                    <a:pt x="64" y="78"/>
                    <a:pt x="78" y="64"/>
                    <a:pt x="96" y="64"/>
                  </a:cubicBezTo>
                  <a:cubicBezTo>
                    <a:pt x="1014" y="64"/>
                    <a:pt x="1014" y="64"/>
                    <a:pt x="1014" y="64"/>
                  </a:cubicBezTo>
                  <a:cubicBezTo>
                    <a:pt x="1014" y="259"/>
                    <a:pt x="1014" y="259"/>
                    <a:pt x="1014" y="259"/>
                  </a:cubicBezTo>
                  <a:cubicBezTo>
                    <a:pt x="1014" y="312"/>
                    <a:pt x="1057" y="355"/>
                    <a:pt x="1110" y="355"/>
                  </a:cubicBezTo>
                  <a:cubicBezTo>
                    <a:pt x="1305" y="355"/>
                    <a:pt x="1305" y="355"/>
                    <a:pt x="1305" y="355"/>
                  </a:cubicBezTo>
                  <a:cubicBezTo>
                    <a:pt x="1305" y="1421"/>
                    <a:pt x="1305" y="1421"/>
                    <a:pt x="1305" y="1421"/>
                  </a:cubicBezTo>
                  <a:cubicBezTo>
                    <a:pt x="1023" y="1421"/>
                    <a:pt x="1023" y="1421"/>
                    <a:pt x="1023" y="1421"/>
                  </a:cubicBezTo>
                  <a:cubicBezTo>
                    <a:pt x="1006" y="1421"/>
                    <a:pt x="991" y="1435"/>
                    <a:pt x="991" y="1453"/>
                  </a:cubicBezTo>
                  <a:cubicBezTo>
                    <a:pt x="991" y="1470"/>
                    <a:pt x="1006" y="1485"/>
                    <a:pt x="1023" y="1485"/>
                  </a:cubicBezTo>
                  <a:cubicBezTo>
                    <a:pt x="1305" y="1485"/>
                    <a:pt x="1305" y="1485"/>
                    <a:pt x="1305" y="1485"/>
                  </a:cubicBezTo>
                  <a:cubicBezTo>
                    <a:pt x="1305" y="1542"/>
                    <a:pt x="1305" y="1542"/>
                    <a:pt x="1305" y="1542"/>
                  </a:cubicBezTo>
                  <a:cubicBezTo>
                    <a:pt x="1305" y="1560"/>
                    <a:pt x="1291" y="1574"/>
                    <a:pt x="1273" y="1574"/>
                  </a:cubicBezTo>
                  <a:cubicBezTo>
                    <a:pt x="96" y="1574"/>
                    <a:pt x="96" y="1574"/>
                    <a:pt x="96" y="1574"/>
                  </a:cubicBezTo>
                  <a:cubicBezTo>
                    <a:pt x="78" y="1574"/>
                    <a:pt x="64" y="1589"/>
                    <a:pt x="64" y="1606"/>
                  </a:cubicBezTo>
                  <a:cubicBezTo>
                    <a:pt x="64" y="1624"/>
                    <a:pt x="78" y="1638"/>
                    <a:pt x="96" y="1638"/>
                  </a:cubicBezTo>
                  <a:cubicBezTo>
                    <a:pt x="1273" y="1638"/>
                    <a:pt x="1273" y="1638"/>
                    <a:pt x="1273" y="1638"/>
                  </a:cubicBezTo>
                  <a:cubicBezTo>
                    <a:pt x="1326" y="1638"/>
                    <a:pt x="1369" y="1595"/>
                    <a:pt x="1369" y="1542"/>
                  </a:cubicBezTo>
                  <a:cubicBezTo>
                    <a:pt x="1369" y="323"/>
                    <a:pt x="1369" y="323"/>
                    <a:pt x="1369" y="323"/>
                  </a:cubicBezTo>
                  <a:cubicBezTo>
                    <a:pt x="1369" y="315"/>
                    <a:pt x="1366" y="307"/>
                    <a:pt x="1360" y="301"/>
                  </a:cubicBezTo>
                  <a:close/>
                  <a:moveTo>
                    <a:pt x="1110" y="291"/>
                  </a:moveTo>
                  <a:cubicBezTo>
                    <a:pt x="1093" y="291"/>
                    <a:pt x="1078" y="277"/>
                    <a:pt x="1078" y="259"/>
                  </a:cubicBezTo>
                  <a:cubicBezTo>
                    <a:pt x="1078" y="109"/>
                    <a:pt x="1078" y="109"/>
                    <a:pt x="1078" y="109"/>
                  </a:cubicBezTo>
                  <a:cubicBezTo>
                    <a:pt x="1260" y="291"/>
                    <a:pt x="1260" y="291"/>
                    <a:pt x="1260" y="291"/>
                  </a:cubicBezTo>
                  <a:lnTo>
                    <a:pt x="1110" y="291"/>
                  </a:lnTo>
                  <a:close/>
                  <a:moveTo>
                    <a:pt x="1110" y="291"/>
                  </a:moveTo>
                  <a:cubicBezTo>
                    <a:pt x="1110" y="291"/>
                    <a:pt x="1110" y="291"/>
                    <a:pt x="1110" y="2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46"/>
            <p:cNvSpPr>
              <a:spLocks noEditPoints="1"/>
            </p:cNvSpPr>
            <p:nvPr/>
          </p:nvSpPr>
          <p:spPr bwMode="auto">
            <a:xfrm>
              <a:off x="4450" y="4169"/>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47"/>
            <p:cNvSpPr>
              <a:spLocks noEditPoints="1"/>
            </p:cNvSpPr>
            <p:nvPr/>
          </p:nvSpPr>
          <p:spPr bwMode="auto">
            <a:xfrm>
              <a:off x="3106" y="2053"/>
              <a:ext cx="1936" cy="1603"/>
            </a:xfrm>
            <a:custGeom>
              <a:avLst/>
              <a:gdLst>
                <a:gd name="T0" fmla="*/ 921 w 1023"/>
                <a:gd name="T1" fmla="*/ 582 h 847"/>
                <a:gd name="T2" fmla="*/ 921 w 1023"/>
                <a:gd name="T3" fmla="*/ 430 h 847"/>
                <a:gd name="T4" fmla="*/ 889 w 1023"/>
                <a:gd name="T5" fmla="*/ 398 h 847"/>
                <a:gd name="T6" fmla="*/ 544 w 1023"/>
                <a:gd name="T7" fmla="*/ 398 h 847"/>
                <a:gd name="T8" fmla="*/ 544 w 1023"/>
                <a:gd name="T9" fmla="*/ 320 h 847"/>
                <a:gd name="T10" fmla="*/ 639 w 1023"/>
                <a:gd name="T11" fmla="*/ 320 h 847"/>
                <a:gd name="T12" fmla="*/ 671 w 1023"/>
                <a:gd name="T13" fmla="*/ 288 h 847"/>
                <a:gd name="T14" fmla="*/ 671 w 1023"/>
                <a:gd name="T15" fmla="*/ 32 h 847"/>
                <a:gd name="T16" fmla="*/ 639 w 1023"/>
                <a:gd name="T17" fmla="*/ 0 h 847"/>
                <a:gd name="T18" fmla="*/ 383 w 1023"/>
                <a:gd name="T19" fmla="*/ 0 h 847"/>
                <a:gd name="T20" fmla="*/ 351 w 1023"/>
                <a:gd name="T21" fmla="*/ 32 h 847"/>
                <a:gd name="T22" fmla="*/ 351 w 1023"/>
                <a:gd name="T23" fmla="*/ 288 h 847"/>
                <a:gd name="T24" fmla="*/ 383 w 1023"/>
                <a:gd name="T25" fmla="*/ 320 h 847"/>
                <a:gd name="T26" fmla="*/ 480 w 1023"/>
                <a:gd name="T27" fmla="*/ 320 h 847"/>
                <a:gd name="T28" fmla="*/ 480 w 1023"/>
                <a:gd name="T29" fmla="*/ 398 h 847"/>
                <a:gd name="T30" fmla="*/ 134 w 1023"/>
                <a:gd name="T31" fmla="*/ 398 h 847"/>
                <a:gd name="T32" fmla="*/ 102 w 1023"/>
                <a:gd name="T33" fmla="*/ 430 h 847"/>
                <a:gd name="T34" fmla="*/ 102 w 1023"/>
                <a:gd name="T35" fmla="*/ 582 h 847"/>
                <a:gd name="T36" fmla="*/ 0 w 1023"/>
                <a:gd name="T37" fmla="*/ 713 h 847"/>
                <a:gd name="T38" fmla="*/ 134 w 1023"/>
                <a:gd name="T39" fmla="*/ 847 h 847"/>
                <a:gd name="T40" fmla="*/ 269 w 1023"/>
                <a:gd name="T41" fmla="*/ 713 h 847"/>
                <a:gd name="T42" fmla="*/ 166 w 1023"/>
                <a:gd name="T43" fmla="*/ 582 h 847"/>
                <a:gd name="T44" fmla="*/ 166 w 1023"/>
                <a:gd name="T45" fmla="*/ 462 h 847"/>
                <a:gd name="T46" fmla="*/ 480 w 1023"/>
                <a:gd name="T47" fmla="*/ 462 h 847"/>
                <a:gd name="T48" fmla="*/ 480 w 1023"/>
                <a:gd name="T49" fmla="*/ 582 h 847"/>
                <a:gd name="T50" fmla="*/ 377 w 1023"/>
                <a:gd name="T51" fmla="*/ 713 h 847"/>
                <a:gd name="T52" fmla="*/ 512 w 1023"/>
                <a:gd name="T53" fmla="*/ 847 h 847"/>
                <a:gd name="T54" fmla="*/ 646 w 1023"/>
                <a:gd name="T55" fmla="*/ 713 h 847"/>
                <a:gd name="T56" fmla="*/ 544 w 1023"/>
                <a:gd name="T57" fmla="*/ 583 h 847"/>
                <a:gd name="T58" fmla="*/ 544 w 1023"/>
                <a:gd name="T59" fmla="*/ 462 h 847"/>
                <a:gd name="T60" fmla="*/ 857 w 1023"/>
                <a:gd name="T61" fmla="*/ 462 h 847"/>
                <a:gd name="T62" fmla="*/ 857 w 1023"/>
                <a:gd name="T63" fmla="*/ 582 h 847"/>
                <a:gd name="T64" fmla="*/ 755 w 1023"/>
                <a:gd name="T65" fmla="*/ 713 h 847"/>
                <a:gd name="T66" fmla="*/ 889 w 1023"/>
                <a:gd name="T67" fmla="*/ 847 h 847"/>
                <a:gd name="T68" fmla="*/ 1023 w 1023"/>
                <a:gd name="T69" fmla="*/ 713 h 847"/>
                <a:gd name="T70" fmla="*/ 921 w 1023"/>
                <a:gd name="T71" fmla="*/ 582 h 847"/>
                <a:gd name="T72" fmla="*/ 205 w 1023"/>
                <a:gd name="T73" fmla="*/ 713 h 847"/>
                <a:gd name="T74" fmla="*/ 134 w 1023"/>
                <a:gd name="T75" fmla="*/ 783 h 847"/>
                <a:gd name="T76" fmla="*/ 64 w 1023"/>
                <a:gd name="T77" fmla="*/ 713 h 847"/>
                <a:gd name="T78" fmla="*/ 134 w 1023"/>
                <a:gd name="T79" fmla="*/ 643 h 847"/>
                <a:gd name="T80" fmla="*/ 205 w 1023"/>
                <a:gd name="T81" fmla="*/ 713 h 847"/>
                <a:gd name="T82" fmla="*/ 415 w 1023"/>
                <a:gd name="T83" fmla="*/ 256 h 847"/>
                <a:gd name="T84" fmla="*/ 415 w 1023"/>
                <a:gd name="T85" fmla="*/ 64 h 847"/>
                <a:gd name="T86" fmla="*/ 607 w 1023"/>
                <a:gd name="T87" fmla="*/ 64 h 847"/>
                <a:gd name="T88" fmla="*/ 607 w 1023"/>
                <a:gd name="T89" fmla="*/ 256 h 847"/>
                <a:gd name="T90" fmla="*/ 415 w 1023"/>
                <a:gd name="T91" fmla="*/ 256 h 847"/>
                <a:gd name="T92" fmla="*/ 582 w 1023"/>
                <a:gd name="T93" fmla="*/ 713 h 847"/>
                <a:gd name="T94" fmla="*/ 512 w 1023"/>
                <a:gd name="T95" fmla="*/ 783 h 847"/>
                <a:gd name="T96" fmla="*/ 441 w 1023"/>
                <a:gd name="T97" fmla="*/ 713 h 847"/>
                <a:gd name="T98" fmla="*/ 512 w 1023"/>
                <a:gd name="T99" fmla="*/ 643 h 847"/>
                <a:gd name="T100" fmla="*/ 582 w 1023"/>
                <a:gd name="T101" fmla="*/ 713 h 847"/>
                <a:gd name="T102" fmla="*/ 889 w 1023"/>
                <a:gd name="T103" fmla="*/ 783 h 847"/>
                <a:gd name="T104" fmla="*/ 819 w 1023"/>
                <a:gd name="T105" fmla="*/ 713 h 847"/>
                <a:gd name="T106" fmla="*/ 889 w 1023"/>
                <a:gd name="T107" fmla="*/ 643 h 847"/>
                <a:gd name="T108" fmla="*/ 959 w 1023"/>
                <a:gd name="T109" fmla="*/ 713 h 847"/>
                <a:gd name="T110" fmla="*/ 889 w 1023"/>
                <a:gd name="T111" fmla="*/ 783 h 847"/>
                <a:gd name="T112" fmla="*/ 889 w 1023"/>
                <a:gd name="T113" fmla="*/ 783 h 847"/>
                <a:gd name="T114" fmla="*/ 889 w 1023"/>
                <a:gd name="T115" fmla="*/ 783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3" h="847">
                  <a:moveTo>
                    <a:pt x="921" y="582"/>
                  </a:moveTo>
                  <a:cubicBezTo>
                    <a:pt x="921" y="430"/>
                    <a:pt x="921" y="430"/>
                    <a:pt x="921" y="430"/>
                  </a:cubicBezTo>
                  <a:cubicBezTo>
                    <a:pt x="921" y="412"/>
                    <a:pt x="907" y="398"/>
                    <a:pt x="889" y="398"/>
                  </a:cubicBezTo>
                  <a:cubicBezTo>
                    <a:pt x="544" y="398"/>
                    <a:pt x="544" y="398"/>
                    <a:pt x="544" y="398"/>
                  </a:cubicBezTo>
                  <a:cubicBezTo>
                    <a:pt x="544" y="320"/>
                    <a:pt x="544" y="320"/>
                    <a:pt x="544" y="320"/>
                  </a:cubicBezTo>
                  <a:cubicBezTo>
                    <a:pt x="639" y="320"/>
                    <a:pt x="639" y="320"/>
                    <a:pt x="639" y="320"/>
                  </a:cubicBezTo>
                  <a:cubicBezTo>
                    <a:pt x="657" y="320"/>
                    <a:pt x="671" y="305"/>
                    <a:pt x="671" y="288"/>
                  </a:cubicBezTo>
                  <a:cubicBezTo>
                    <a:pt x="671" y="32"/>
                    <a:pt x="671" y="32"/>
                    <a:pt x="671" y="32"/>
                  </a:cubicBezTo>
                  <a:cubicBezTo>
                    <a:pt x="671" y="14"/>
                    <a:pt x="657" y="0"/>
                    <a:pt x="639" y="0"/>
                  </a:cubicBezTo>
                  <a:cubicBezTo>
                    <a:pt x="383" y="0"/>
                    <a:pt x="383" y="0"/>
                    <a:pt x="383" y="0"/>
                  </a:cubicBezTo>
                  <a:cubicBezTo>
                    <a:pt x="365" y="0"/>
                    <a:pt x="351" y="14"/>
                    <a:pt x="351" y="32"/>
                  </a:cubicBezTo>
                  <a:cubicBezTo>
                    <a:pt x="351" y="288"/>
                    <a:pt x="351" y="288"/>
                    <a:pt x="351" y="288"/>
                  </a:cubicBezTo>
                  <a:cubicBezTo>
                    <a:pt x="351" y="305"/>
                    <a:pt x="365" y="320"/>
                    <a:pt x="383" y="320"/>
                  </a:cubicBezTo>
                  <a:cubicBezTo>
                    <a:pt x="480" y="320"/>
                    <a:pt x="480" y="320"/>
                    <a:pt x="480" y="320"/>
                  </a:cubicBezTo>
                  <a:cubicBezTo>
                    <a:pt x="480" y="398"/>
                    <a:pt x="480" y="398"/>
                    <a:pt x="480" y="398"/>
                  </a:cubicBezTo>
                  <a:cubicBezTo>
                    <a:pt x="134" y="398"/>
                    <a:pt x="134" y="398"/>
                    <a:pt x="134" y="398"/>
                  </a:cubicBezTo>
                  <a:cubicBezTo>
                    <a:pt x="117" y="398"/>
                    <a:pt x="102" y="412"/>
                    <a:pt x="102" y="430"/>
                  </a:cubicBezTo>
                  <a:cubicBezTo>
                    <a:pt x="102" y="582"/>
                    <a:pt x="102" y="582"/>
                    <a:pt x="102" y="582"/>
                  </a:cubicBezTo>
                  <a:cubicBezTo>
                    <a:pt x="44" y="597"/>
                    <a:pt x="0" y="650"/>
                    <a:pt x="0" y="713"/>
                  </a:cubicBezTo>
                  <a:cubicBezTo>
                    <a:pt x="0" y="787"/>
                    <a:pt x="60" y="847"/>
                    <a:pt x="134" y="847"/>
                  </a:cubicBezTo>
                  <a:cubicBezTo>
                    <a:pt x="208" y="847"/>
                    <a:pt x="269" y="787"/>
                    <a:pt x="269" y="713"/>
                  </a:cubicBezTo>
                  <a:cubicBezTo>
                    <a:pt x="269" y="650"/>
                    <a:pt x="225" y="597"/>
                    <a:pt x="166" y="582"/>
                  </a:cubicBezTo>
                  <a:cubicBezTo>
                    <a:pt x="166" y="462"/>
                    <a:pt x="166" y="462"/>
                    <a:pt x="166" y="462"/>
                  </a:cubicBezTo>
                  <a:cubicBezTo>
                    <a:pt x="480" y="462"/>
                    <a:pt x="480" y="462"/>
                    <a:pt x="480" y="462"/>
                  </a:cubicBezTo>
                  <a:cubicBezTo>
                    <a:pt x="480" y="582"/>
                    <a:pt x="480" y="582"/>
                    <a:pt x="480" y="582"/>
                  </a:cubicBezTo>
                  <a:cubicBezTo>
                    <a:pt x="421" y="597"/>
                    <a:pt x="377" y="650"/>
                    <a:pt x="377" y="713"/>
                  </a:cubicBezTo>
                  <a:cubicBezTo>
                    <a:pt x="377" y="787"/>
                    <a:pt x="437" y="847"/>
                    <a:pt x="512" y="847"/>
                  </a:cubicBezTo>
                  <a:cubicBezTo>
                    <a:pt x="586" y="847"/>
                    <a:pt x="646" y="787"/>
                    <a:pt x="646" y="713"/>
                  </a:cubicBezTo>
                  <a:cubicBezTo>
                    <a:pt x="646" y="650"/>
                    <a:pt x="603" y="597"/>
                    <a:pt x="544" y="583"/>
                  </a:cubicBezTo>
                  <a:cubicBezTo>
                    <a:pt x="544" y="462"/>
                    <a:pt x="544" y="462"/>
                    <a:pt x="544" y="462"/>
                  </a:cubicBezTo>
                  <a:cubicBezTo>
                    <a:pt x="857" y="462"/>
                    <a:pt x="857" y="462"/>
                    <a:pt x="857" y="462"/>
                  </a:cubicBezTo>
                  <a:cubicBezTo>
                    <a:pt x="857" y="582"/>
                    <a:pt x="857" y="582"/>
                    <a:pt x="857" y="582"/>
                  </a:cubicBezTo>
                  <a:cubicBezTo>
                    <a:pt x="798" y="597"/>
                    <a:pt x="755" y="650"/>
                    <a:pt x="755" y="713"/>
                  </a:cubicBezTo>
                  <a:cubicBezTo>
                    <a:pt x="755" y="787"/>
                    <a:pt x="815" y="847"/>
                    <a:pt x="889" y="847"/>
                  </a:cubicBezTo>
                  <a:cubicBezTo>
                    <a:pt x="963" y="847"/>
                    <a:pt x="1023" y="787"/>
                    <a:pt x="1023" y="713"/>
                  </a:cubicBezTo>
                  <a:cubicBezTo>
                    <a:pt x="1023" y="650"/>
                    <a:pt x="980" y="597"/>
                    <a:pt x="921" y="582"/>
                  </a:cubicBezTo>
                  <a:close/>
                  <a:moveTo>
                    <a:pt x="205" y="713"/>
                  </a:moveTo>
                  <a:cubicBezTo>
                    <a:pt x="205" y="752"/>
                    <a:pt x="173" y="783"/>
                    <a:pt x="134" y="783"/>
                  </a:cubicBezTo>
                  <a:cubicBezTo>
                    <a:pt x="95" y="783"/>
                    <a:pt x="64" y="752"/>
                    <a:pt x="64" y="713"/>
                  </a:cubicBezTo>
                  <a:cubicBezTo>
                    <a:pt x="64" y="674"/>
                    <a:pt x="95" y="643"/>
                    <a:pt x="134" y="643"/>
                  </a:cubicBezTo>
                  <a:cubicBezTo>
                    <a:pt x="173" y="643"/>
                    <a:pt x="205" y="674"/>
                    <a:pt x="205" y="713"/>
                  </a:cubicBezTo>
                  <a:close/>
                  <a:moveTo>
                    <a:pt x="415" y="256"/>
                  </a:moveTo>
                  <a:cubicBezTo>
                    <a:pt x="415" y="64"/>
                    <a:pt x="415" y="64"/>
                    <a:pt x="415" y="64"/>
                  </a:cubicBezTo>
                  <a:cubicBezTo>
                    <a:pt x="607" y="64"/>
                    <a:pt x="607" y="64"/>
                    <a:pt x="607" y="64"/>
                  </a:cubicBezTo>
                  <a:cubicBezTo>
                    <a:pt x="607" y="256"/>
                    <a:pt x="607" y="256"/>
                    <a:pt x="607" y="256"/>
                  </a:cubicBezTo>
                  <a:lnTo>
                    <a:pt x="415" y="256"/>
                  </a:lnTo>
                  <a:close/>
                  <a:moveTo>
                    <a:pt x="582" y="713"/>
                  </a:moveTo>
                  <a:cubicBezTo>
                    <a:pt x="582" y="752"/>
                    <a:pt x="550" y="783"/>
                    <a:pt x="512" y="783"/>
                  </a:cubicBezTo>
                  <a:cubicBezTo>
                    <a:pt x="473" y="783"/>
                    <a:pt x="441" y="752"/>
                    <a:pt x="441" y="713"/>
                  </a:cubicBezTo>
                  <a:cubicBezTo>
                    <a:pt x="441" y="674"/>
                    <a:pt x="473" y="643"/>
                    <a:pt x="512" y="643"/>
                  </a:cubicBezTo>
                  <a:cubicBezTo>
                    <a:pt x="550" y="643"/>
                    <a:pt x="582" y="674"/>
                    <a:pt x="582" y="713"/>
                  </a:cubicBezTo>
                  <a:close/>
                  <a:moveTo>
                    <a:pt x="889" y="783"/>
                  </a:moveTo>
                  <a:cubicBezTo>
                    <a:pt x="850" y="783"/>
                    <a:pt x="819" y="752"/>
                    <a:pt x="819" y="713"/>
                  </a:cubicBezTo>
                  <a:cubicBezTo>
                    <a:pt x="819" y="674"/>
                    <a:pt x="850" y="643"/>
                    <a:pt x="889" y="643"/>
                  </a:cubicBezTo>
                  <a:cubicBezTo>
                    <a:pt x="928" y="643"/>
                    <a:pt x="959" y="674"/>
                    <a:pt x="959" y="713"/>
                  </a:cubicBezTo>
                  <a:cubicBezTo>
                    <a:pt x="959" y="752"/>
                    <a:pt x="928" y="783"/>
                    <a:pt x="889" y="783"/>
                  </a:cubicBezTo>
                  <a:close/>
                  <a:moveTo>
                    <a:pt x="889" y="783"/>
                  </a:moveTo>
                  <a:cubicBezTo>
                    <a:pt x="889" y="783"/>
                    <a:pt x="889" y="783"/>
                    <a:pt x="889" y="7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48"/>
            <p:cNvSpPr>
              <a:spLocks noEditPoints="1"/>
            </p:cNvSpPr>
            <p:nvPr/>
          </p:nvSpPr>
          <p:spPr bwMode="auto">
            <a:xfrm>
              <a:off x="2657" y="3126"/>
              <a:ext cx="121" cy="121"/>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249"/>
            <p:cNvSpPr>
              <a:spLocks noEditPoints="1"/>
            </p:cNvSpPr>
            <p:nvPr/>
          </p:nvSpPr>
          <p:spPr bwMode="auto">
            <a:xfrm>
              <a:off x="2269" y="1884"/>
              <a:ext cx="752" cy="2696"/>
            </a:xfrm>
            <a:custGeom>
              <a:avLst/>
              <a:gdLst>
                <a:gd name="T0" fmla="*/ 365 w 397"/>
                <a:gd name="T1" fmla="*/ 935 h 1424"/>
                <a:gd name="T2" fmla="*/ 333 w 397"/>
                <a:gd name="T3" fmla="*/ 967 h 1424"/>
                <a:gd name="T4" fmla="*/ 333 w 397"/>
                <a:gd name="T5" fmla="*/ 1237 h 1424"/>
                <a:gd name="T6" fmla="*/ 311 w 397"/>
                <a:gd name="T7" fmla="*/ 1258 h 1424"/>
                <a:gd name="T8" fmla="*/ 269 w 397"/>
                <a:gd name="T9" fmla="*/ 1258 h 1424"/>
                <a:gd name="T10" fmla="*/ 269 w 397"/>
                <a:gd name="T11" fmla="*/ 823 h 1424"/>
                <a:gd name="T12" fmla="*/ 237 w 397"/>
                <a:gd name="T13" fmla="*/ 791 h 1424"/>
                <a:gd name="T14" fmla="*/ 205 w 397"/>
                <a:gd name="T15" fmla="*/ 823 h 1424"/>
                <a:gd name="T16" fmla="*/ 205 w 397"/>
                <a:gd name="T17" fmla="*/ 1188 h 1424"/>
                <a:gd name="T18" fmla="*/ 64 w 397"/>
                <a:gd name="T19" fmla="*/ 1188 h 1424"/>
                <a:gd name="T20" fmla="*/ 64 w 397"/>
                <a:gd name="T21" fmla="*/ 384 h 1424"/>
                <a:gd name="T22" fmla="*/ 205 w 397"/>
                <a:gd name="T23" fmla="*/ 384 h 1424"/>
                <a:gd name="T24" fmla="*/ 205 w 397"/>
                <a:gd name="T25" fmla="*/ 548 h 1424"/>
                <a:gd name="T26" fmla="*/ 237 w 397"/>
                <a:gd name="T27" fmla="*/ 580 h 1424"/>
                <a:gd name="T28" fmla="*/ 269 w 397"/>
                <a:gd name="T29" fmla="*/ 548 h 1424"/>
                <a:gd name="T30" fmla="*/ 269 w 397"/>
                <a:gd name="T31" fmla="*/ 352 h 1424"/>
                <a:gd name="T32" fmla="*/ 266 w 397"/>
                <a:gd name="T33" fmla="*/ 339 h 1424"/>
                <a:gd name="T34" fmla="*/ 166 w 397"/>
                <a:gd name="T35" fmla="*/ 130 h 1424"/>
                <a:gd name="T36" fmla="*/ 166 w 397"/>
                <a:gd name="T37" fmla="*/ 32 h 1424"/>
                <a:gd name="T38" fmla="*/ 134 w 397"/>
                <a:gd name="T39" fmla="*/ 0 h 1424"/>
                <a:gd name="T40" fmla="*/ 102 w 397"/>
                <a:gd name="T41" fmla="*/ 32 h 1424"/>
                <a:gd name="T42" fmla="*/ 102 w 397"/>
                <a:gd name="T43" fmla="*/ 130 h 1424"/>
                <a:gd name="T44" fmla="*/ 3 w 397"/>
                <a:gd name="T45" fmla="*/ 339 h 1424"/>
                <a:gd name="T46" fmla="*/ 0 w 397"/>
                <a:gd name="T47" fmla="*/ 352 h 1424"/>
                <a:gd name="T48" fmla="*/ 0 w 397"/>
                <a:gd name="T49" fmla="*/ 1360 h 1424"/>
                <a:gd name="T50" fmla="*/ 64 w 397"/>
                <a:gd name="T51" fmla="*/ 1424 h 1424"/>
                <a:gd name="T52" fmla="*/ 205 w 397"/>
                <a:gd name="T53" fmla="*/ 1424 h 1424"/>
                <a:gd name="T54" fmla="*/ 269 w 397"/>
                <a:gd name="T55" fmla="*/ 1360 h 1424"/>
                <a:gd name="T56" fmla="*/ 269 w 397"/>
                <a:gd name="T57" fmla="*/ 1322 h 1424"/>
                <a:gd name="T58" fmla="*/ 311 w 397"/>
                <a:gd name="T59" fmla="*/ 1322 h 1424"/>
                <a:gd name="T60" fmla="*/ 397 w 397"/>
                <a:gd name="T61" fmla="*/ 1237 h 1424"/>
                <a:gd name="T62" fmla="*/ 397 w 397"/>
                <a:gd name="T63" fmla="*/ 967 h 1424"/>
                <a:gd name="T64" fmla="*/ 365 w 397"/>
                <a:gd name="T65" fmla="*/ 935 h 1424"/>
                <a:gd name="T66" fmla="*/ 134 w 397"/>
                <a:gd name="T67" fmla="*/ 211 h 1424"/>
                <a:gd name="T68" fmla="*/ 186 w 397"/>
                <a:gd name="T69" fmla="*/ 320 h 1424"/>
                <a:gd name="T70" fmla="*/ 83 w 397"/>
                <a:gd name="T71" fmla="*/ 320 h 1424"/>
                <a:gd name="T72" fmla="*/ 134 w 397"/>
                <a:gd name="T73" fmla="*/ 211 h 1424"/>
                <a:gd name="T74" fmla="*/ 205 w 397"/>
                <a:gd name="T75" fmla="*/ 1360 h 1424"/>
                <a:gd name="T76" fmla="*/ 64 w 397"/>
                <a:gd name="T77" fmla="*/ 1360 h 1424"/>
                <a:gd name="T78" fmla="*/ 64 w 397"/>
                <a:gd name="T79" fmla="*/ 1252 h 1424"/>
                <a:gd name="T80" fmla="*/ 205 w 397"/>
                <a:gd name="T81" fmla="*/ 1252 h 1424"/>
                <a:gd name="T82" fmla="*/ 205 w 397"/>
                <a:gd name="T83" fmla="*/ 1360 h 1424"/>
                <a:gd name="T84" fmla="*/ 205 w 397"/>
                <a:gd name="T85" fmla="*/ 1360 h 1424"/>
                <a:gd name="T86" fmla="*/ 205 w 397"/>
                <a:gd name="T87" fmla="*/ 1360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7" h="1424">
                  <a:moveTo>
                    <a:pt x="365" y="935"/>
                  </a:moveTo>
                  <a:cubicBezTo>
                    <a:pt x="347" y="935"/>
                    <a:pt x="333" y="949"/>
                    <a:pt x="333" y="967"/>
                  </a:cubicBezTo>
                  <a:cubicBezTo>
                    <a:pt x="333" y="1237"/>
                    <a:pt x="333" y="1237"/>
                    <a:pt x="333" y="1237"/>
                  </a:cubicBezTo>
                  <a:cubicBezTo>
                    <a:pt x="333" y="1248"/>
                    <a:pt x="323" y="1258"/>
                    <a:pt x="311" y="1258"/>
                  </a:cubicBezTo>
                  <a:cubicBezTo>
                    <a:pt x="269" y="1258"/>
                    <a:pt x="269" y="1258"/>
                    <a:pt x="269" y="1258"/>
                  </a:cubicBezTo>
                  <a:cubicBezTo>
                    <a:pt x="269" y="823"/>
                    <a:pt x="269" y="823"/>
                    <a:pt x="269" y="823"/>
                  </a:cubicBezTo>
                  <a:cubicBezTo>
                    <a:pt x="269" y="805"/>
                    <a:pt x="254" y="791"/>
                    <a:pt x="237" y="791"/>
                  </a:cubicBezTo>
                  <a:cubicBezTo>
                    <a:pt x="219" y="791"/>
                    <a:pt x="205" y="805"/>
                    <a:pt x="205" y="823"/>
                  </a:cubicBezTo>
                  <a:cubicBezTo>
                    <a:pt x="205" y="1188"/>
                    <a:pt x="205" y="1188"/>
                    <a:pt x="205" y="1188"/>
                  </a:cubicBezTo>
                  <a:cubicBezTo>
                    <a:pt x="64" y="1188"/>
                    <a:pt x="64" y="1188"/>
                    <a:pt x="64" y="1188"/>
                  </a:cubicBezTo>
                  <a:cubicBezTo>
                    <a:pt x="64" y="384"/>
                    <a:pt x="64" y="384"/>
                    <a:pt x="64" y="384"/>
                  </a:cubicBezTo>
                  <a:cubicBezTo>
                    <a:pt x="205" y="384"/>
                    <a:pt x="205" y="384"/>
                    <a:pt x="205" y="384"/>
                  </a:cubicBezTo>
                  <a:cubicBezTo>
                    <a:pt x="205" y="548"/>
                    <a:pt x="205" y="548"/>
                    <a:pt x="205" y="548"/>
                  </a:cubicBezTo>
                  <a:cubicBezTo>
                    <a:pt x="205" y="565"/>
                    <a:pt x="219" y="580"/>
                    <a:pt x="237" y="580"/>
                  </a:cubicBezTo>
                  <a:cubicBezTo>
                    <a:pt x="254" y="580"/>
                    <a:pt x="269" y="565"/>
                    <a:pt x="269" y="548"/>
                  </a:cubicBezTo>
                  <a:cubicBezTo>
                    <a:pt x="269" y="352"/>
                    <a:pt x="269" y="352"/>
                    <a:pt x="269" y="352"/>
                  </a:cubicBezTo>
                  <a:cubicBezTo>
                    <a:pt x="269" y="348"/>
                    <a:pt x="268" y="343"/>
                    <a:pt x="266" y="339"/>
                  </a:cubicBezTo>
                  <a:cubicBezTo>
                    <a:pt x="166" y="130"/>
                    <a:pt x="166" y="130"/>
                    <a:pt x="166" y="130"/>
                  </a:cubicBezTo>
                  <a:cubicBezTo>
                    <a:pt x="166" y="32"/>
                    <a:pt x="166" y="32"/>
                    <a:pt x="166" y="32"/>
                  </a:cubicBezTo>
                  <a:cubicBezTo>
                    <a:pt x="166" y="15"/>
                    <a:pt x="152" y="0"/>
                    <a:pt x="134" y="0"/>
                  </a:cubicBezTo>
                  <a:cubicBezTo>
                    <a:pt x="117" y="0"/>
                    <a:pt x="102" y="15"/>
                    <a:pt x="102" y="32"/>
                  </a:cubicBezTo>
                  <a:cubicBezTo>
                    <a:pt x="102" y="130"/>
                    <a:pt x="102" y="130"/>
                    <a:pt x="102" y="130"/>
                  </a:cubicBezTo>
                  <a:cubicBezTo>
                    <a:pt x="3" y="339"/>
                    <a:pt x="3" y="339"/>
                    <a:pt x="3" y="339"/>
                  </a:cubicBezTo>
                  <a:cubicBezTo>
                    <a:pt x="1" y="343"/>
                    <a:pt x="0" y="348"/>
                    <a:pt x="0" y="352"/>
                  </a:cubicBezTo>
                  <a:cubicBezTo>
                    <a:pt x="0" y="1360"/>
                    <a:pt x="0" y="1360"/>
                    <a:pt x="0" y="1360"/>
                  </a:cubicBezTo>
                  <a:cubicBezTo>
                    <a:pt x="0" y="1396"/>
                    <a:pt x="29" y="1424"/>
                    <a:pt x="64" y="1424"/>
                  </a:cubicBezTo>
                  <a:cubicBezTo>
                    <a:pt x="205" y="1424"/>
                    <a:pt x="205" y="1424"/>
                    <a:pt x="205" y="1424"/>
                  </a:cubicBezTo>
                  <a:cubicBezTo>
                    <a:pt x="240" y="1424"/>
                    <a:pt x="269" y="1396"/>
                    <a:pt x="269" y="1360"/>
                  </a:cubicBezTo>
                  <a:cubicBezTo>
                    <a:pt x="269" y="1322"/>
                    <a:pt x="269" y="1322"/>
                    <a:pt x="269" y="1322"/>
                  </a:cubicBezTo>
                  <a:cubicBezTo>
                    <a:pt x="311" y="1322"/>
                    <a:pt x="311" y="1322"/>
                    <a:pt x="311" y="1322"/>
                  </a:cubicBezTo>
                  <a:cubicBezTo>
                    <a:pt x="359" y="1322"/>
                    <a:pt x="397" y="1284"/>
                    <a:pt x="397" y="1237"/>
                  </a:cubicBezTo>
                  <a:cubicBezTo>
                    <a:pt x="397" y="967"/>
                    <a:pt x="397" y="967"/>
                    <a:pt x="397" y="967"/>
                  </a:cubicBezTo>
                  <a:cubicBezTo>
                    <a:pt x="397" y="949"/>
                    <a:pt x="382" y="935"/>
                    <a:pt x="365" y="935"/>
                  </a:cubicBezTo>
                  <a:close/>
                  <a:moveTo>
                    <a:pt x="134" y="211"/>
                  </a:moveTo>
                  <a:cubicBezTo>
                    <a:pt x="186" y="320"/>
                    <a:pt x="186" y="320"/>
                    <a:pt x="186" y="320"/>
                  </a:cubicBezTo>
                  <a:cubicBezTo>
                    <a:pt x="83" y="320"/>
                    <a:pt x="83" y="320"/>
                    <a:pt x="83" y="320"/>
                  </a:cubicBezTo>
                  <a:lnTo>
                    <a:pt x="134" y="211"/>
                  </a:lnTo>
                  <a:close/>
                  <a:moveTo>
                    <a:pt x="205" y="1360"/>
                  </a:moveTo>
                  <a:cubicBezTo>
                    <a:pt x="64" y="1360"/>
                    <a:pt x="64" y="1360"/>
                    <a:pt x="64" y="1360"/>
                  </a:cubicBezTo>
                  <a:cubicBezTo>
                    <a:pt x="64" y="1252"/>
                    <a:pt x="64" y="1252"/>
                    <a:pt x="64" y="1252"/>
                  </a:cubicBezTo>
                  <a:cubicBezTo>
                    <a:pt x="205" y="1252"/>
                    <a:pt x="205" y="1252"/>
                    <a:pt x="205" y="1252"/>
                  </a:cubicBezTo>
                  <a:lnTo>
                    <a:pt x="205" y="1360"/>
                  </a:lnTo>
                  <a:close/>
                  <a:moveTo>
                    <a:pt x="205" y="1360"/>
                  </a:moveTo>
                  <a:cubicBezTo>
                    <a:pt x="205" y="1360"/>
                    <a:pt x="205" y="1360"/>
                    <a:pt x="205" y="13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270"/>
          <p:cNvGrpSpPr>
            <a:grpSpLocks noChangeAspect="1"/>
          </p:cNvGrpSpPr>
          <p:nvPr/>
        </p:nvGrpSpPr>
        <p:grpSpPr bwMode="auto">
          <a:xfrm>
            <a:off x="9291367" y="2984382"/>
            <a:ext cx="457200" cy="457200"/>
            <a:chOff x="3133" y="1393"/>
            <a:chExt cx="3101" cy="3101"/>
          </a:xfrm>
          <a:solidFill>
            <a:schemeClr val="accent1"/>
          </a:solidFill>
        </p:grpSpPr>
        <p:sp>
          <p:nvSpPr>
            <p:cNvPr id="276" name="Freeform 271"/>
            <p:cNvSpPr>
              <a:spLocks noEditPoints="1"/>
            </p:cNvSpPr>
            <p:nvPr/>
          </p:nvSpPr>
          <p:spPr bwMode="auto">
            <a:xfrm>
              <a:off x="4284" y="2968"/>
              <a:ext cx="121" cy="121"/>
            </a:xfrm>
            <a:custGeom>
              <a:avLst/>
              <a:gdLst>
                <a:gd name="T0" fmla="*/ 55 w 64"/>
                <a:gd name="T1" fmla="*/ 9 h 64"/>
                <a:gd name="T2" fmla="*/ 32 w 64"/>
                <a:gd name="T3" fmla="*/ 0 h 64"/>
                <a:gd name="T4" fmla="*/ 10 w 64"/>
                <a:gd name="T5" fmla="*/ 9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4"/>
                    <a:pt x="0" y="32"/>
                  </a:cubicBezTo>
                  <a:cubicBezTo>
                    <a:pt x="0" y="40"/>
                    <a:pt x="4" y="49"/>
                    <a:pt x="10" y="55"/>
                  </a:cubicBezTo>
                  <a:cubicBezTo>
                    <a:pt x="16" y="61"/>
                    <a:pt x="24" y="64"/>
                    <a:pt x="32" y="64"/>
                  </a:cubicBezTo>
                  <a:cubicBezTo>
                    <a:pt x="41"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272"/>
            <p:cNvSpPr>
              <a:spLocks noEditPoints="1"/>
            </p:cNvSpPr>
            <p:nvPr/>
          </p:nvSpPr>
          <p:spPr bwMode="auto">
            <a:xfrm>
              <a:off x="4182" y="1393"/>
              <a:ext cx="2052" cy="1696"/>
            </a:xfrm>
            <a:custGeom>
              <a:avLst/>
              <a:gdLst>
                <a:gd name="T0" fmla="*/ 924 w 1084"/>
                <a:gd name="T1" fmla="*/ 0 h 896"/>
                <a:gd name="T2" fmla="*/ 32 w 1084"/>
                <a:gd name="T3" fmla="*/ 0 h 896"/>
                <a:gd name="T4" fmla="*/ 0 w 1084"/>
                <a:gd name="T5" fmla="*/ 32 h 896"/>
                <a:gd name="T6" fmla="*/ 32 w 1084"/>
                <a:gd name="T7" fmla="*/ 64 h 896"/>
                <a:gd name="T8" fmla="*/ 924 w 1084"/>
                <a:gd name="T9" fmla="*/ 64 h 896"/>
                <a:gd name="T10" fmla="*/ 1020 w 1084"/>
                <a:gd name="T11" fmla="*/ 160 h 896"/>
                <a:gd name="T12" fmla="*/ 1020 w 1084"/>
                <a:gd name="T13" fmla="*/ 736 h 896"/>
                <a:gd name="T14" fmla="*/ 924 w 1084"/>
                <a:gd name="T15" fmla="*/ 832 h 896"/>
                <a:gd name="T16" fmla="*/ 215 w 1084"/>
                <a:gd name="T17" fmla="*/ 832 h 896"/>
                <a:gd name="T18" fmla="*/ 183 w 1084"/>
                <a:gd name="T19" fmla="*/ 864 h 896"/>
                <a:gd name="T20" fmla="*/ 215 w 1084"/>
                <a:gd name="T21" fmla="*/ 896 h 896"/>
                <a:gd name="T22" fmla="*/ 924 w 1084"/>
                <a:gd name="T23" fmla="*/ 896 h 896"/>
                <a:gd name="T24" fmla="*/ 1084 w 1084"/>
                <a:gd name="T25" fmla="*/ 736 h 896"/>
                <a:gd name="T26" fmla="*/ 1084 w 1084"/>
                <a:gd name="T27" fmla="*/ 160 h 896"/>
                <a:gd name="T28" fmla="*/ 924 w 1084"/>
                <a:gd name="T29" fmla="*/ 0 h 896"/>
                <a:gd name="T30" fmla="*/ 924 w 1084"/>
                <a:gd name="T31" fmla="*/ 0 h 896"/>
                <a:gd name="T32" fmla="*/ 924 w 1084"/>
                <a:gd name="T3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4" h="896">
                  <a:moveTo>
                    <a:pt x="924" y="0"/>
                  </a:moveTo>
                  <a:cubicBezTo>
                    <a:pt x="32" y="0"/>
                    <a:pt x="32" y="0"/>
                    <a:pt x="32" y="0"/>
                  </a:cubicBezTo>
                  <a:cubicBezTo>
                    <a:pt x="14" y="0"/>
                    <a:pt x="0" y="14"/>
                    <a:pt x="0" y="32"/>
                  </a:cubicBezTo>
                  <a:cubicBezTo>
                    <a:pt x="0" y="50"/>
                    <a:pt x="14" y="64"/>
                    <a:pt x="32" y="64"/>
                  </a:cubicBezTo>
                  <a:cubicBezTo>
                    <a:pt x="924" y="64"/>
                    <a:pt x="924" y="64"/>
                    <a:pt x="924" y="64"/>
                  </a:cubicBezTo>
                  <a:cubicBezTo>
                    <a:pt x="977" y="64"/>
                    <a:pt x="1020" y="107"/>
                    <a:pt x="1020" y="160"/>
                  </a:cubicBezTo>
                  <a:cubicBezTo>
                    <a:pt x="1020" y="736"/>
                    <a:pt x="1020" y="736"/>
                    <a:pt x="1020" y="736"/>
                  </a:cubicBezTo>
                  <a:cubicBezTo>
                    <a:pt x="1020" y="789"/>
                    <a:pt x="977" y="832"/>
                    <a:pt x="924" y="832"/>
                  </a:cubicBezTo>
                  <a:cubicBezTo>
                    <a:pt x="215" y="832"/>
                    <a:pt x="215" y="832"/>
                    <a:pt x="215" y="832"/>
                  </a:cubicBezTo>
                  <a:cubicBezTo>
                    <a:pt x="197" y="832"/>
                    <a:pt x="183" y="846"/>
                    <a:pt x="183" y="864"/>
                  </a:cubicBezTo>
                  <a:cubicBezTo>
                    <a:pt x="183" y="882"/>
                    <a:pt x="197" y="896"/>
                    <a:pt x="215" y="896"/>
                  </a:cubicBezTo>
                  <a:cubicBezTo>
                    <a:pt x="924" y="896"/>
                    <a:pt x="924" y="896"/>
                    <a:pt x="924" y="896"/>
                  </a:cubicBezTo>
                  <a:cubicBezTo>
                    <a:pt x="1013" y="896"/>
                    <a:pt x="1084" y="824"/>
                    <a:pt x="1084" y="736"/>
                  </a:cubicBezTo>
                  <a:cubicBezTo>
                    <a:pt x="1084" y="160"/>
                    <a:pt x="1084" y="160"/>
                    <a:pt x="1084" y="160"/>
                  </a:cubicBezTo>
                  <a:cubicBezTo>
                    <a:pt x="1084" y="72"/>
                    <a:pt x="1013" y="0"/>
                    <a:pt x="924" y="0"/>
                  </a:cubicBezTo>
                  <a:close/>
                  <a:moveTo>
                    <a:pt x="924" y="0"/>
                  </a:moveTo>
                  <a:cubicBezTo>
                    <a:pt x="924" y="0"/>
                    <a:pt x="924" y="0"/>
                    <a:pt x="9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273"/>
            <p:cNvSpPr>
              <a:spLocks noEditPoints="1"/>
            </p:cNvSpPr>
            <p:nvPr/>
          </p:nvSpPr>
          <p:spPr bwMode="auto">
            <a:xfrm>
              <a:off x="4174" y="1635"/>
              <a:ext cx="1818" cy="1212"/>
            </a:xfrm>
            <a:custGeom>
              <a:avLst/>
              <a:gdLst>
                <a:gd name="T0" fmla="*/ 928 w 960"/>
                <a:gd name="T1" fmla="*/ 0 h 640"/>
                <a:gd name="T2" fmla="*/ 32 w 960"/>
                <a:gd name="T3" fmla="*/ 0 h 640"/>
                <a:gd name="T4" fmla="*/ 0 w 960"/>
                <a:gd name="T5" fmla="*/ 32 h 640"/>
                <a:gd name="T6" fmla="*/ 0 w 960"/>
                <a:gd name="T7" fmla="*/ 93 h 640"/>
                <a:gd name="T8" fmla="*/ 32 w 960"/>
                <a:gd name="T9" fmla="*/ 125 h 640"/>
                <a:gd name="T10" fmla="*/ 64 w 960"/>
                <a:gd name="T11" fmla="*/ 93 h 640"/>
                <a:gd name="T12" fmla="*/ 64 w 960"/>
                <a:gd name="T13" fmla="*/ 64 h 640"/>
                <a:gd name="T14" fmla="*/ 896 w 960"/>
                <a:gd name="T15" fmla="*/ 64 h 640"/>
                <a:gd name="T16" fmla="*/ 896 w 960"/>
                <a:gd name="T17" fmla="*/ 576 h 640"/>
                <a:gd name="T18" fmla="*/ 367 w 960"/>
                <a:gd name="T19" fmla="*/ 576 h 640"/>
                <a:gd name="T20" fmla="*/ 504 w 960"/>
                <a:gd name="T21" fmla="*/ 438 h 640"/>
                <a:gd name="T22" fmla="*/ 569 w 960"/>
                <a:gd name="T23" fmla="*/ 503 h 640"/>
                <a:gd name="T24" fmla="*/ 614 w 960"/>
                <a:gd name="T25" fmla="*/ 503 h 640"/>
                <a:gd name="T26" fmla="*/ 757 w 960"/>
                <a:gd name="T27" fmla="*/ 360 h 640"/>
                <a:gd name="T28" fmla="*/ 789 w 960"/>
                <a:gd name="T29" fmla="*/ 391 h 640"/>
                <a:gd name="T30" fmla="*/ 821 w 960"/>
                <a:gd name="T31" fmla="*/ 359 h 640"/>
                <a:gd name="T32" fmla="*/ 821 w 960"/>
                <a:gd name="T33" fmla="*/ 281 h 640"/>
                <a:gd name="T34" fmla="*/ 789 w 960"/>
                <a:gd name="T35" fmla="*/ 249 h 640"/>
                <a:gd name="T36" fmla="*/ 712 w 960"/>
                <a:gd name="T37" fmla="*/ 249 h 640"/>
                <a:gd name="T38" fmla="*/ 680 w 960"/>
                <a:gd name="T39" fmla="*/ 281 h 640"/>
                <a:gd name="T40" fmla="*/ 712 w 960"/>
                <a:gd name="T41" fmla="*/ 313 h 640"/>
                <a:gd name="T42" fmla="*/ 713 w 960"/>
                <a:gd name="T43" fmla="*/ 313 h 640"/>
                <a:gd name="T44" fmla="*/ 591 w 960"/>
                <a:gd name="T45" fmla="*/ 435 h 640"/>
                <a:gd name="T46" fmla="*/ 527 w 960"/>
                <a:gd name="T47" fmla="*/ 370 h 640"/>
                <a:gd name="T48" fmla="*/ 482 w 960"/>
                <a:gd name="T49" fmla="*/ 370 h 640"/>
                <a:gd name="T50" fmla="*/ 276 w 960"/>
                <a:gd name="T51" fmla="*/ 576 h 640"/>
                <a:gd name="T52" fmla="*/ 102 w 960"/>
                <a:gd name="T53" fmla="*/ 576 h 640"/>
                <a:gd name="T54" fmla="*/ 70 w 960"/>
                <a:gd name="T55" fmla="*/ 608 h 640"/>
                <a:gd name="T56" fmla="*/ 102 w 960"/>
                <a:gd name="T57" fmla="*/ 640 h 640"/>
                <a:gd name="T58" fmla="*/ 928 w 960"/>
                <a:gd name="T59" fmla="*/ 640 h 640"/>
                <a:gd name="T60" fmla="*/ 960 w 960"/>
                <a:gd name="T61" fmla="*/ 608 h 640"/>
                <a:gd name="T62" fmla="*/ 960 w 960"/>
                <a:gd name="T63" fmla="*/ 32 h 640"/>
                <a:gd name="T64" fmla="*/ 928 w 960"/>
                <a:gd name="T65" fmla="*/ 0 h 640"/>
                <a:gd name="T66" fmla="*/ 928 w 960"/>
                <a:gd name="T67" fmla="*/ 0 h 640"/>
                <a:gd name="T68" fmla="*/ 928 w 960"/>
                <a:gd name="T69"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0" h="640">
                  <a:moveTo>
                    <a:pt x="928" y="0"/>
                  </a:moveTo>
                  <a:cubicBezTo>
                    <a:pt x="32" y="0"/>
                    <a:pt x="32" y="0"/>
                    <a:pt x="32" y="0"/>
                  </a:cubicBezTo>
                  <a:cubicBezTo>
                    <a:pt x="15" y="0"/>
                    <a:pt x="0" y="14"/>
                    <a:pt x="0" y="32"/>
                  </a:cubicBezTo>
                  <a:cubicBezTo>
                    <a:pt x="0" y="93"/>
                    <a:pt x="0" y="93"/>
                    <a:pt x="0" y="93"/>
                  </a:cubicBezTo>
                  <a:cubicBezTo>
                    <a:pt x="0" y="110"/>
                    <a:pt x="15" y="125"/>
                    <a:pt x="32" y="125"/>
                  </a:cubicBezTo>
                  <a:cubicBezTo>
                    <a:pt x="50" y="125"/>
                    <a:pt x="64" y="110"/>
                    <a:pt x="64" y="93"/>
                  </a:cubicBezTo>
                  <a:cubicBezTo>
                    <a:pt x="64" y="64"/>
                    <a:pt x="64" y="64"/>
                    <a:pt x="64" y="64"/>
                  </a:cubicBezTo>
                  <a:cubicBezTo>
                    <a:pt x="896" y="64"/>
                    <a:pt x="896" y="64"/>
                    <a:pt x="896" y="64"/>
                  </a:cubicBezTo>
                  <a:cubicBezTo>
                    <a:pt x="896" y="576"/>
                    <a:pt x="896" y="576"/>
                    <a:pt x="896" y="576"/>
                  </a:cubicBezTo>
                  <a:cubicBezTo>
                    <a:pt x="367" y="576"/>
                    <a:pt x="367" y="576"/>
                    <a:pt x="367" y="576"/>
                  </a:cubicBezTo>
                  <a:cubicBezTo>
                    <a:pt x="504" y="438"/>
                    <a:pt x="504" y="438"/>
                    <a:pt x="504" y="438"/>
                  </a:cubicBezTo>
                  <a:cubicBezTo>
                    <a:pt x="569" y="503"/>
                    <a:pt x="569" y="503"/>
                    <a:pt x="569" y="503"/>
                  </a:cubicBezTo>
                  <a:cubicBezTo>
                    <a:pt x="581" y="515"/>
                    <a:pt x="601" y="515"/>
                    <a:pt x="614" y="503"/>
                  </a:cubicBezTo>
                  <a:cubicBezTo>
                    <a:pt x="757" y="360"/>
                    <a:pt x="757" y="360"/>
                    <a:pt x="757" y="360"/>
                  </a:cubicBezTo>
                  <a:cubicBezTo>
                    <a:pt x="757" y="377"/>
                    <a:pt x="771" y="391"/>
                    <a:pt x="789" y="391"/>
                  </a:cubicBezTo>
                  <a:cubicBezTo>
                    <a:pt x="806" y="391"/>
                    <a:pt x="821" y="376"/>
                    <a:pt x="821" y="359"/>
                  </a:cubicBezTo>
                  <a:cubicBezTo>
                    <a:pt x="821" y="281"/>
                    <a:pt x="821" y="281"/>
                    <a:pt x="821" y="281"/>
                  </a:cubicBezTo>
                  <a:cubicBezTo>
                    <a:pt x="821" y="264"/>
                    <a:pt x="806" y="249"/>
                    <a:pt x="789" y="249"/>
                  </a:cubicBezTo>
                  <a:cubicBezTo>
                    <a:pt x="712" y="249"/>
                    <a:pt x="712" y="249"/>
                    <a:pt x="712" y="249"/>
                  </a:cubicBezTo>
                  <a:cubicBezTo>
                    <a:pt x="694" y="249"/>
                    <a:pt x="680" y="264"/>
                    <a:pt x="680" y="281"/>
                  </a:cubicBezTo>
                  <a:cubicBezTo>
                    <a:pt x="680" y="299"/>
                    <a:pt x="694" y="313"/>
                    <a:pt x="712" y="313"/>
                  </a:cubicBezTo>
                  <a:cubicBezTo>
                    <a:pt x="713" y="313"/>
                    <a:pt x="713" y="313"/>
                    <a:pt x="713" y="313"/>
                  </a:cubicBezTo>
                  <a:cubicBezTo>
                    <a:pt x="591" y="435"/>
                    <a:pt x="591" y="435"/>
                    <a:pt x="591" y="435"/>
                  </a:cubicBezTo>
                  <a:cubicBezTo>
                    <a:pt x="527" y="370"/>
                    <a:pt x="527" y="370"/>
                    <a:pt x="527" y="370"/>
                  </a:cubicBezTo>
                  <a:cubicBezTo>
                    <a:pt x="515" y="358"/>
                    <a:pt x="494" y="358"/>
                    <a:pt x="482" y="370"/>
                  </a:cubicBezTo>
                  <a:cubicBezTo>
                    <a:pt x="276" y="576"/>
                    <a:pt x="276" y="576"/>
                    <a:pt x="276" y="576"/>
                  </a:cubicBezTo>
                  <a:cubicBezTo>
                    <a:pt x="102" y="576"/>
                    <a:pt x="102" y="576"/>
                    <a:pt x="102" y="576"/>
                  </a:cubicBezTo>
                  <a:cubicBezTo>
                    <a:pt x="84" y="576"/>
                    <a:pt x="70" y="590"/>
                    <a:pt x="70" y="608"/>
                  </a:cubicBezTo>
                  <a:cubicBezTo>
                    <a:pt x="70" y="626"/>
                    <a:pt x="84" y="640"/>
                    <a:pt x="102" y="640"/>
                  </a:cubicBezTo>
                  <a:cubicBezTo>
                    <a:pt x="928" y="640"/>
                    <a:pt x="928" y="640"/>
                    <a:pt x="928" y="640"/>
                  </a:cubicBezTo>
                  <a:cubicBezTo>
                    <a:pt x="946" y="640"/>
                    <a:pt x="960" y="626"/>
                    <a:pt x="960" y="608"/>
                  </a:cubicBezTo>
                  <a:cubicBezTo>
                    <a:pt x="960" y="32"/>
                    <a:pt x="960" y="32"/>
                    <a:pt x="960" y="32"/>
                  </a:cubicBezTo>
                  <a:cubicBezTo>
                    <a:pt x="960" y="14"/>
                    <a:pt x="946" y="0"/>
                    <a:pt x="928" y="0"/>
                  </a:cubicBezTo>
                  <a:close/>
                  <a:moveTo>
                    <a:pt x="928" y="0"/>
                  </a:moveTo>
                  <a:cubicBezTo>
                    <a:pt x="928" y="0"/>
                    <a:pt x="928" y="0"/>
                    <a:pt x="9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74"/>
            <p:cNvSpPr>
              <a:spLocks noEditPoints="1"/>
            </p:cNvSpPr>
            <p:nvPr/>
          </p:nvSpPr>
          <p:spPr bwMode="auto">
            <a:xfrm>
              <a:off x="3133" y="1393"/>
              <a:ext cx="1859" cy="3101"/>
            </a:xfrm>
            <a:custGeom>
              <a:avLst/>
              <a:gdLst>
                <a:gd name="T0" fmla="*/ 453 w 982"/>
                <a:gd name="T1" fmla="*/ 311 h 1638"/>
                <a:gd name="T2" fmla="*/ 492 w 982"/>
                <a:gd name="T3" fmla="*/ 175 h 1638"/>
                <a:gd name="T4" fmla="*/ 143 w 982"/>
                <a:gd name="T5" fmla="*/ 175 h 1638"/>
                <a:gd name="T6" fmla="*/ 182 w 982"/>
                <a:gd name="T7" fmla="*/ 311 h 1638"/>
                <a:gd name="T8" fmla="*/ 0 w 982"/>
                <a:gd name="T9" fmla="*/ 487 h 1638"/>
                <a:gd name="T10" fmla="*/ 145 w 982"/>
                <a:gd name="T11" fmla="*/ 992 h 1638"/>
                <a:gd name="T12" fmla="*/ 177 w 982"/>
                <a:gd name="T13" fmla="*/ 1638 h 1638"/>
                <a:gd name="T14" fmla="*/ 516 w 982"/>
                <a:gd name="T15" fmla="*/ 1606 h 1638"/>
                <a:gd name="T16" fmla="*/ 484 w 982"/>
                <a:gd name="T17" fmla="*/ 1264 h 1638"/>
                <a:gd name="T18" fmla="*/ 452 w 982"/>
                <a:gd name="T19" fmla="*/ 1574 h 1638"/>
                <a:gd name="T20" fmla="*/ 363 w 982"/>
                <a:gd name="T21" fmla="*/ 1035 h 1638"/>
                <a:gd name="T22" fmla="*/ 299 w 982"/>
                <a:gd name="T23" fmla="*/ 1035 h 1638"/>
                <a:gd name="T24" fmla="*/ 209 w 982"/>
                <a:gd name="T25" fmla="*/ 1574 h 1638"/>
                <a:gd name="T26" fmla="*/ 209 w 982"/>
                <a:gd name="T27" fmla="*/ 895 h 1638"/>
                <a:gd name="T28" fmla="*/ 452 w 982"/>
                <a:gd name="T29" fmla="*/ 895 h 1638"/>
                <a:gd name="T30" fmla="*/ 484 w 982"/>
                <a:gd name="T31" fmla="*/ 1081 h 1638"/>
                <a:gd name="T32" fmla="*/ 516 w 982"/>
                <a:gd name="T33" fmla="*/ 519 h 1638"/>
                <a:gd name="T34" fmla="*/ 982 w 982"/>
                <a:gd name="T35" fmla="*/ 487 h 1638"/>
                <a:gd name="T36" fmla="*/ 207 w 982"/>
                <a:gd name="T37" fmla="*/ 175 h 1638"/>
                <a:gd name="T38" fmla="*/ 428 w 982"/>
                <a:gd name="T39" fmla="*/ 175 h 1638"/>
                <a:gd name="T40" fmla="*/ 318 w 982"/>
                <a:gd name="T41" fmla="*/ 311 h 1638"/>
                <a:gd name="T42" fmla="*/ 207 w 982"/>
                <a:gd name="T43" fmla="*/ 175 h 1638"/>
                <a:gd name="T44" fmla="*/ 486 w 982"/>
                <a:gd name="T45" fmla="*/ 455 h 1638"/>
                <a:gd name="T46" fmla="*/ 452 w 982"/>
                <a:gd name="T47" fmla="*/ 487 h 1638"/>
                <a:gd name="T48" fmla="*/ 452 w 982"/>
                <a:gd name="T49" fmla="*/ 831 h 1638"/>
                <a:gd name="T50" fmla="*/ 209 w 982"/>
                <a:gd name="T51" fmla="*/ 831 h 1638"/>
                <a:gd name="T52" fmla="*/ 177 w 982"/>
                <a:gd name="T53" fmla="*/ 455 h 1638"/>
                <a:gd name="T54" fmla="*/ 145 w 982"/>
                <a:gd name="T55" fmla="*/ 926 h 1638"/>
                <a:gd name="T56" fmla="*/ 64 w 982"/>
                <a:gd name="T57" fmla="*/ 487 h 1638"/>
                <a:gd name="T58" fmla="*/ 286 w 982"/>
                <a:gd name="T59" fmla="*/ 375 h 1638"/>
                <a:gd name="T60" fmla="*/ 318 w 982"/>
                <a:gd name="T61" fmla="*/ 480 h 1638"/>
                <a:gd name="T62" fmla="*/ 350 w 982"/>
                <a:gd name="T63" fmla="*/ 375 h 1638"/>
                <a:gd name="T64" fmla="*/ 913 w 982"/>
                <a:gd name="T65" fmla="*/ 455 h 1638"/>
                <a:gd name="T66" fmla="*/ 487 w 982"/>
                <a:gd name="T67" fmla="*/ 455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2" h="1638">
                  <a:moveTo>
                    <a:pt x="807" y="311"/>
                  </a:moveTo>
                  <a:cubicBezTo>
                    <a:pt x="453" y="311"/>
                    <a:pt x="453" y="311"/>
                    <a:pt x="453" y="311"/>
                  </a:cubicBezTo>
                  <a:cubicBezTo>
                    <a:pt x="477" y="281"/>
                    <a:pt x="492" y="243"/>
                    <a:pt x="492" y="201"/>
                  </a:cubicBezTo>
                  <a:cubicBezTo>
                    <a:pt x="492" y="175"/>
                    <a:pt x="492" y="175"/>
                    <a:pt x="492" y="175"/>
                  </a:cubicBezTo>
                  <a:cubicBezTo>
                    <a:pt x="492" y="78"/>
                    <a:pt x="414" y="0"/>
                    <a:pt x="318" y="0"/>
                  </a:cubicBezTo>
                  <a:cubicBezTo>
                    <a:pt x="221" y="0"/>
                    <a:pt x="143" y="78"/>
                    <a:pt x="143" y="175"/>
                  </a:cubicBezTo>
                  <a:cubicBezTo>
                    <a:pt x="143" y="201"/>
                    <a:pt x="143" y="201"/>
                    <a:pt x="143" y="201"/>
                  </a:cubicBezTo>
                  <a:cubicBezTo>
                    <a:pt x="143" y="243"/>
                    <a:pt x="158" y="281"/>
                    <a:pt x="182" y="311"/>
                  </a:cubicBezTo>
                  <a:cubicBezTo>
                    <a:pt x="175" y="311"/>
                    <a:pt x="175" y="311"/>
                    <a:pt x="175" y="311"/>
                  </a:cubicBezTo>
                  <a:cubicBezTo>
                    <a:pt x="79" y="311"/>
                    <a:pt x="0" y="390"/>
                    <a:pt x="0" y="487"/>
                  </a:cubicBezTo>
                  <a:cubicBezTo>
                    <a:pt x="0" y="819"/>
                    <a:pt x="0" y="819"/>
                    <a:pt x="0" y="819"/>
                  </a:cubicBezTo>
                  <a:cubicBezTo>
                    <a:pt x="0" y="906"/>
                    <a:pt x="63" y="978"/>
                    <a:pt x="145" y="992"/>
                  </a:cubicBezTo>
                  <a:cubicBezTo>
                    <a:pt x="145" y="1606"/>
                    <a:pt x="145" y="1606"/>
                    <a:pt x="145" y="1606"/>
                  </a:cubicBezTo>
                  <a:cubicBezTo>
                    <a:pt x="145" y="1624"/>
                    <a:pt x="160" y="1638"/>
                    <a:pt x="177" y="1638"/>
                  </a:cubicBezTo>
                  <a:cubicBezTo>
                    <a:pt x="484" y="1638"/>
                    <a:pt x="484" y="1638"/>
                    <a:pt x="484" y="1638"/>
                  </a:cubicBezTo>
                  <a:cubicBezTo>
                    <a:pt x="502" y="1638"/>
                    <a:pt x="516" y="1624"/>
                    <a:pt x="516" y="1606"/>
                  </a:cubicBezTo>
                  <a:cubicBezTo>
                    <a:pt x="516" y="1296"/>
                    <a:pt x="516" y="1296"/>
                    <a:pt x="516" y="1296"/>
                  </a:cubicBezTo>
                  <a:cubicBezTo>
                    <a:pt x="516" y="1279"/>
                    <a:pt x="502" y="1264"/>
                    <a:pt x="484" y="1264"/>
                  </a:cubicBezTo>
                  <a:cubicBezTo>
                    <a:pt x="467" y="1264"/>
                    <a:pt x="452" y="1279"/>
                    <a:pt x="452" y="1296"/>
                  </a:cubicBezTo>
                  <a:cubicBezTo>
                    <a:pt x="452" y="1574"/>
                    <a:pt x="452" y="1574"/>
                    <a:pt x="452" y="1574"/>
                  </a:cubicBezTo>
                  <a:cubicBezTo>
                    <a:pt x="363" y="1574"/>
                    <a:pt x="363" y="1574"/>
                    <a:pt x="363" y="1574"/>
                  </a:cubicBezTo>
                  <a:cubicBezTo>
                    <a:pt x="363" y="1035"/>
                    <a:pt x="363" y="1035"/>
                    <a:pt x="363" y="1035"/>
                  </a:cubicBezTo>
                  <a:cubicBezTo>
                    <a:pt x="363" y="1017"/>
                    <a:pt x="349" y="1003"/>
                    <a:pt x="331" y="1003"/>
                  </a:cubicBezTo>
                  <a:cubicBezTo>
                    <a:pt x="313" y="1003"/>
                    <a:pt x="299" y="1017"/>
                    <a:pt x="299" y="1035"/>
                  </a:cubicBezTo>
                  <a:cubicBezTo>
                    <a:pt x="299" y="1574"/>
                    <a:pt x="299" y="1574"/>
                    <a:pt x="299" y="1574"/>
                  </a:cubicBezTo>
                  <a:cubicBezTo>
                    <a:pt x="209" y="1574"/>
                    <a:pt x="209" y="1574"/>
                    <a:pt x="209" y="1574"/>
                  </a:cubicBezTo>
                  <a:cubicBezTo>
                    <a:pt x="209" y="895"/>
                    <a:pt x="209" y="895"/>
                    <a:pt x="209" y="895"/>
                  </a:cubicBezTo>
                  <a:cubicBezTo>
                    <a:pt x="209" y="895"/>
                    <a:pt x="209" y="895"/>
                    <a:pt x="209" y="895"/>
                  </a:cubicBezTo>
                  <a:cubicBezTo>
                    <a:pt x="452" y="895"/>
                    <a:pt x="452" y="895"/>
                    <a:pt x="452" y="895"/>
                  </a:cubicBezTo>
                  <a:cubicBezTo>
                    <a:pt x="452" y="895"/>
                    <a:pt x="452" y="895"/>
                    <a:pt x="452" y="895"/>
                  </a:cubicBezTo>
                  <a:cubicBezTo>
                    <a:pt x="452" y="1049"/>
                    <a:pt x="452" y="1049"/>
                    <a:pt x="452" y="1049"/>
                  </a:cubicBezTo>
                  <a:cubicBezTo>
                    <a:pt x="452" y="1066"/>
                    <a:pt x="467" y="1081"/>
                    <a:pt x="484" y="1081"/>
                  </a:cubicBezTo>
                  <a:cubicBezTo>
                    <a:pt x="502" y="1081"/>
                    <a:pt x="516" y="1066"/>
                    <a:pt x="516" y="1049"/>
                  </a:cubicBezTo>
                  <a:cubicBezTo>
                    <a:pt x="516" y="519"/>
                    <a:pt x="516" y="519"/>
                    <a:pt x="516" y="519"/>
                  </a:cubicBezTo>
                  <a:cubicBezTo>
                    <a:pt x="950" y="519"/>
                    <a:pt x="950" y="519"/>
                    <a:pt x="950" y="519"/>
                  </a:cubicBezTo>
                  <a:cubicBezTo>
                    <a:pt x="968" y="519"/>
                    <a:pt x="982" y="504"/>
                    <a:pt x="982" y="487"/>
                  </a:cubicBezTo>
                  <a:cubicBezTo>
                    <a:pt x="982" y="390"/>
                    <a:pt x="903" y="311"/>
                    <a:pt x="807" y="311"/>
                  </a:cubicBezTo>
                  <a:close/>
                  <a:moveTo>
                    <a:pt x="207" y="175"/>
                  </a:moveTo>
                  <a:cubicBezTo>
                    <a:pt x="207" y="114"/>
                    <a:pt x="256" y="64"/>
                    <a:pt x="318" y="64"/>
                  </a:cubicBezTo>
                  <a:cubicBezTo>
                    <a:pt x="379" y="64"/>
                    <a:pt x="428" y="114"/>
                    <a:pt x="428" y="175"/>
                  </a:cubicBezTo>
                  <a:cubicBezTo>
                    <a:pt x="428" y="201"/>
                    <a:pt x="428" y="201"/>
                    <a:pt x="428" y="201"/>
                  </a:cubicBezTo>
                  <a:cubicBezTo>
                    <a:pt x="428" y="262"/>
                    <a:pt x="379" y="311"/>
                    <a:pt x="318" y="311"/>
                  </a:cubicBezTo>
                  <a:cubicBezTo>
                    <a:pt x="256" y="311"/>
                    <a:pt x="207" y="262"/>
                    <a:pt x="207" y="201"/>
                  </a:cubicBezTo>
                  <a:lnTo>
                    <a:pt x="207" y="175"/>
                  </a:lnTo>
                  <a:close/>
                  <a:moveTo>
                    <a:pt x="487" y="455"/>
                  </a:moveTo>
                  <a:cubicBezTo>
                    <a:pt x="486" y="455"/>
                    <a:pt x="486" y="455"/>
                    <a:pt x="486" y="455"/>
                  </a:cubicBezTo>
                  <a:cubicBezTo>
                    <a:pt x="485" y="455"/>
                    <a:pt x="485" y="455"/>
                    <a:pt x="484" y="455"/>
                  </a:cubicBezTo>
                  <a:cubicBezTo>
                    <a:pt x="467" y="455"/>
                    <a:pt x="452" y="469"/>
                    <a:pt x="452" y="487"/>
                  </a:cubicBezTo>
                  <a:cubicBezTo>
                    <a:pt x="452" y="831"/>
                    <a:pt x="452" y="831"/>
                    <a:pt x="452" y="831"/>
                  </a:cubicBezTo>
                  <a:cubicBezTo>
                    <a:pt x="452" y="831"/>
                    <a:pt x="452" y="831"/>
                    <a:pt x="452" y="831"/>
                  </a:cubicBezTo>
                  <a:cubicBezTo>
                    <a:pt x="209" y="831"/>
                    <a:pt x="209" y="831"/>
                    <a:pt x="209" y="831"/>
                  </a:cubicBezTo>
                  <a:cubicBezTo>
                    <a:pt x="209" y="831"/>
                    <a:pt x="209" y="831"/>
                    <a:pt x="209" y="831"/>
                  </a:cubicBezTo>
                  <a:cubicBezTo>
                    <a:pt x="209" y="487"/>
                    <a:pt x="209" y="487"/>
                    <a:pt x="209" y="487"/>
                  </a:cubicBezTo>
                  <a:cubicBezTo>
                    <a:pt x="209" y="469"/>
                    <a:pt x="195" y="455"/>
                    <a:pt x="177" y="455"/>
                  </a:cubicBezTo>
                  <a:cubicBezTo>
                    <a:pt x="160" y="455"/>
                    <a:pt x="145" y="469"/>
                    <a:pt x="145" y="487"/>
                  </a:cubicBezTo>
                  <a:cubicBezTo>
                    <a:pt x="145" y="926"/>
                    <a:pt x="145" y="926"/>
                    <a:pt x="145" y="926"/>
                  </a:cubicBezTo>
                  <a:cubicBezTo>
                    <a:pt x="98" y="913"/>
                    <a:pt x="64" y="870"/>
                    <a:pt x="64" y="819"/>
                  </a:cubicBezTo>
                  <a:cubicBezTo>
                    <a:pt x="64" y="487"/>
                    <a:pt x="64" y="487"/>
                    <a:pt x="64" y="487"/>
                  </a:cubicBezTo>
                  <a:cubicBezTo>
                    <a:pt x="64" y="425"/>
                    <a:pt x="114" y="375"/>
                    <a:pt x="175" y="375"/>
                  </a:cubicBezTo>
                  <a:cubicBezTo>
                    <a:pt x="286" y="375"/>
                    <a:pt x="286" y="375"/>
                    <a:pt x="286" y="375"/>
                  </a:cubicBezTo>
                  <a:cubicBezTo>
                    <a:pt x="286" y="448"/>
                    <a:pt x="286" y="448"/>
                    <a:pt x="286" y="448"/>
                  </a:cubicBezTo>
                  <a:cubicBezTo>
                    <a:pt x="286" y="466"/>
                    <a:pt x="300" y="480"/>
                    <a:pt x="318" y="480"/>
                  </a:cubicBezTo>
                  <a:cubicBezTo>
                    <a:pt x="335" y="480"/>
                    <a:pt x="350" y="466"/>
                    <a:pt x="350" y="448"/>
                  </a:cubicBezTo>
                  <a:cubicBezTo>
                    <a:pt x="350" y="375"/>
                    <a:pt x="350" y="375"/>
                    <a:pt x="350" y="375"/>
                  </a:cubicBezTo>
                  <a:cubicBezTo>
                    <a:pt x="807" y="375"/>
                    <a:pt x="807" y="375"/>
                    <a:pt x="807" y="375"/>
                  </a:cubicBezTo>
                  <a:cubicBezTo>
                    <a:pt x="857" y="375"/>
                    <a:pt x="899" y="409"/>
                    <a:pt x="913" y="455"/>
                  </a:cubicBezTo>
                  <a:lnTo>
                    <a:pt x="487" y="455"/>
                  </a:lnTo>
                  <a:close/>
                  <a:moveTo>
                    <a:pt x="487" y="455"/>
                  </a:moveTo>
                  <a:cubicBezTo>
                    <a:pt x="487" y="455"/>
                    <a:pt x="487" y="455"/>
                    <a:pt x="487" y="4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275"/>
            <p:cNvSpPr>
              <a:spLocks noEditPoints="1"/>
            </p:cNvSpPr>
            <p:nvPr/>
          </p:nvSpPr>
          <p:spPr bwMode="auto">
            <a:xfrm>
              <a:off x="3989" y="3548"/>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1" name="Group 278"/>
          <p:cNvGrpSpPr>
            <a:grpSpLocks noChangeAspect="1"/>
          </p:cNvGrpSpPr>
          <p:nvPr/>
        </p:nvGrpSpPr>
        <p:grpSpPr bwMode="auto">
          <a:xfrm>
            <a:off x="5213198" y="2984382"/>
            <a:ext cx="457200" cy="457200"/>
            <a:chOff x="2566" y="826"/>
            <a:chExt cx="3101" cy="3101"/>
          </a:xfrm>
          <a:solidFill>
            <a:schemeClr val="accent1"/>
          </a:solidFill>
        </p:grpSpPr>
        <p:sp>
          <p:nvSpPr>
            <p:cNvPr id="283" name="Freeform 279"/>
            <p:cNvSpPr>
              <a:spLocks noEditPoints="1"/>
            </p:cNvSpPr>
            <p:nvPr/>
          </p:nvSpPr>
          <p:spPr bwMode="auto">
            <a:xfrm>
              <a:off x="2566" y="2808"/>
              <a:ext cx="3101" cy="1119"/>
            </a:xfrm>
            <a:custGeom>
              <a:avLst/>
              <a:gdLst>
                <a:gd name="T0" fmla="*/ 1493 w 1638"/>
                <a:gd name="T1" fmla="*/ 178 h 591"/>
                <a:gd name="T2" fmla="*/ 1344 w 1638"/>
                <a:gd name="T3" fmla="*/ 0 h 591"/>
                <a:gd name="T4" fmla="*/ 1195 w 1638"/>
                <a:gd name="T5" fmla="*/ 178 h 591"/>
                <a:gd name="T6" fmla="*/ 1082 w 1638"/>
                <a:gd name="T7" fmla="*/ 338 h 591"/>
                <a:gd name="T8" fmla="*/ 968 w 1638"/>
                <a:gd name="T9" fmla="*/ 178 h 591"/>
                <a:gd name="T10" fmla="*/ 819 w 1638"/>
                <a:gd name="T11" fmla="*/ 0 h 591"/>
                <a:gd name="T12" fmla="*/ 671 w 1638"/>
                <a:gd name="T13" fmla="*/ 178 h 591"/>
                <a:gd name="T14" fmla="*/ 557 w 1638"/>
                <a:gd name="T15" fmla="*/ 338 h 591"/>
                <a:gd name="T16" fmla="*/ 443 w 1638"/>
                <a:gd name="T17" fmla="*/ 178 h 591"/>
                <a:gd name="T18" fmla="*/ 294 w 1638"/>
                <a:gd name="T19" fmla="*/ 0 h 591"/>
                <a:gd name="T20" fmla="*/ 146 w 1638"/>
                <a:gd name="T21" fmla="*/ 178 h 591"/>
                <a:gd name="T22" fmla="*/ 0 w 1638"/>
                <a:gd name="T23" fmla="*/ 440 h 591"/>
                <a:gd name="T24" fmla="*/ 32 w 1638"/>
                <a:gd name="T25" fmla="*/ 591 h 591"/>
                <a:gd name="T26" fmla="*/ 1638 w 1638"/>
                <a:gd name="T27" fmla="*/ 559 h 591"/>
                <a:gd name="T28" fmla="*/ 1466 w 1638"/>
                <a:gd name="T29" fmla="*/ 262 h 591"/>
                <a:gd name="T30" fmla="*/ 294 w 1638"/>
                <a:gd name="T31" fmla="*/ 64 h 591"/>
                <a:gd name="T32" fmla="*/ 379 w 1638"/>
                <a:gd name="T33" fmla="*/ 178 h 591"/>
                <a:gd name="T34" fmla="*/ 210 w 1638"/>
                <a:gd name="T35" fmla="*/ 178 h 591"/>
                <a:gd name="T36" fmla="*/ 525 w 1638"/>
                <a:gd name="T37" fmla="*/ 527 h 591"/>
                <a:gd name="T38" fmla="*/ 64 w 1638"/>
                <a:gd name="T39" fmla="*/ 440 h 591"/>
                <a:gd name="T40" fmla="*/ 262 w 1638"/>
                <a:gd name="T41" fmla="*/ 326 h 591"/>
                <a:gd name="T42" fmla="*/ 294 w 1638"/>
                <a:gd name="T43" fmla="*/ 486 h 591"/>
                <a:gd name="T44" fmla="*/ 326 w 1638"/>
                <a:gd name="T45" fmla="*/ 326 h 591"/>
                <a:gd name="T46" fmla="*/ 525 w 1638"/>
                <a:gd name="T47" fmla="*/ 440 h 591"/>
                <a:gd name="T48" fmla="*/ 735 w 1638"/>
                <a:gd name="T49" fmla="*/ 148 h 591"/>
                <a:gd name="T50" fmla="*/ 904 w 1638"/>
                <a:gd name="T51" fmla="*/ 148 h 591"/>
                <a:gd name="T52" fmla="*/ 819 w 1638"/>
                <a:gd name="T53" fmla="*/ 262 h 591"/>
                <a:gd name="T54" fmla="*/ 735 w 1638"/>
                <a:gd name="T55" fmla="*/ 148 h 591"/>
                <a:gd name="T56" fmla="*/ 589 w 1638"/>
                <a:gd name="T57" fmla="*/ 527 h 591"/>
                <a:gd name="T58" fmla="*/ 703 w 1638"/>
                <a:gd name="T59" fmla="*/ 326 h 591"/>
                <a:gd name="T60" fmla="*/ 788 w 1638"/>
                <a:gd name="T61" fmla="*/ 454 h 591"/>
                <a:gd name="T62" fmla="*/ 852 w 1638"/>
                <a:gd name="T63" fmla="*/ 454 h 591"/>
                <a:gd name="T64" fmla="*/ 936 w 1638"/>
                <a:gd name="T65" fmla="*/ 326 h 591"/>
                <a:gd name="T66" fmla="*/ 1050 w 1638"/>
                <a:gd name="T67" fmla="*/ 527 h 591"/>
                <a:gd name="T68" fmla="*/ 1344 w 1638"/>
                <a:gd name="T69" fmla="*/ 64 h 591"/>
                <a:gd name="T70" fmla="*/ 1429 w 1638"/>
                <a:gd name="T71" fmla="*/ 178 h 591"/>
                <a:gd name="T72" fmla="*/ 1259 w 1638"/>
                <a:gd name="T73" fmla="*/ 178 h 591"/>
                <a:gd name="T74" fmla="*/ 1574 w 1638"/>
                <a:gd name="T75" fmla="*/ 527 h 591"/>
                <a:gd name="T76" fmla="*/ 1114 w 1638"/>
                <a:gd name="T77" fmla="*/ 440 h 591"/>
                <a:gd name="T78" fmla="*/ 1313 w 1638"/>
                <a:gd name="T79" fmla="*/ 326 h 591"/>
                <a:gd name="T80" fmla="*/ 1345 w 1638"/>
                <a:gd name="T81" fmla="*/ 486 h 591"/>
                <a:gd name="T82" fmla="*/ 1377 w 1638"/>
                <a:gd name="T83" fmla="*/ 326 h 591"/>
                <a:gd name="T84" fmla="*/ 1574 w 1638"/>
                <a:gd name="T85" fmla="*/ 440 h 591"/>
                <a:gd name="T86" fmla="*/ 1574 w 1638"/>
                <a:gd name="T87" fmla="*/ 527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38" h="591">
                  <a:moveTo>
                    <a:pt x="1466" y="262"/>
                  </a:moveTo>
                  <a:cubicBezTo>
                    <a:pt x="1483" y="238"/>
                    <a:pt x="1493" y="209"/>
                    <a:pt x="1493" y="178"/>
                  </a:cubicBezTo>
                  <a:cubicBezTo>
                    <a:pt x="1493" y="148"/>
                    <a:pt x="1493" y="148"/>
                    <a:pt x="1493" y="148"/>
                  </a:cubicBezTo>
                  <a:cubicBezTo>
                    <a:pt x="1493" y="66"/>
                    <a:pt x="1426" y="0"/>
                    <a:pt x="1344" y="0"/>
                  </a:cubicBezTo>
                  <a:cubicBezTo>
                    <a:pt x="1262" y="0"/>
                    <a:pt x="1195" y="66"/>
                    <a:pt x="1195" y="148"/>
                  </a:cubicBezTo>
                  <a:cubicBezTo>
                    <a:pt x="1195" y="178"/>
                    <a:pt x="1195" y="178"/>
                    <a:pt x="1195" y="178"/>
                  </a:cubicBezTo>
                  <a:cubicBezTo>
                    <a:pt x="1195" y="209"/>
                    <a:pt x="1205" y="238"/>
                    <a:pt x="1222" y="262"/>
                  </a:cubicBezTo>
                  <a:cubicBezTo>
                    <a:pt x="1164" y="264"/>
                    <a:pt x="1113" y="294"/>
                    <a:pt x="1082" y="338"/>
                  </a:cubicBezTo>
                  <a:cubicBezTo>
                    <a:pt x="1050" y="294"/>
                    <a:pt x="999" y="264"/>
                    <a:pt x="941" y="262"/>
                  </a:cubicBezTo>
                  <a:cubicBezTo>
                    <a:pt x="958" y="238"/>
                    <a:pt x="968" y="209"/>
                    <a:pt x="968" y="178"/>
                  </a:cubicBezTo>
                  <a:cubicBezTo>
                    <a:pt x="968" y="148"/>
                    <a:pt x="968" y="148"/>
                    <a:pt x="968" y="148"/>
                  </a:cubicBezTo>
                  <a:cubicBezTo>
                    <a:pt x="968" y="66"/>
                    <a:pt x="901" y="0"/>
                    <a:pt x="819" y="0"/>
                  </a:cubicBezTo>
                  <a:cubicBezTo>
                    <a:pt x="737" y="0"/>
                    <a:pt x="671" y="66"/>
                    <a:pt x="671" y="148"/>
                  </a:cubicBezTo>
                  <a:cubicBezTo>
                    <a:pt x="671" y="178"/>
                    <a:pt x="671" y="178"/>
                    <a:pt x="671" y="178"/>
                  </a:cubicBezTo>
                  <a:cubicBezTo>
                    <a:pt x="671" y="209"/>
                    <a:pt x="680" y="238"/>
                    <a:pt x="697" y="262"/>
                  </a:cubicBezTo>
                  <a:cubicBezTo>
                    <a:pt x="639" y="264"/>
                    <a:pt x="588" y="294"/>
                    <a:pt x="557" y="338"/>
                  </a:cubicBezTo>
                  <a:cubicBezTo>
                    <a:pt x="526" y="294"/>
                    <a:pt x="474" y="264"/>
                    <a:pt x="416" y="262"/>
                  </a:cubicBezTo>
                  <a:cubicBezTo>
                    <a:pt x="433" y="238"/>
                    <a:pt x="443" y="209"/>
                    <a:pt x="443" y="178"/>
                  </a:cubicBezTo>
                  <a:cubicBezTo>
                    <a:pt x="443" y="148"/>
                    <a:pt x="443" y="148"/>
                    <a:pt x="443" y="148"/>
                  </a:cubicBezTo>
                  <a:cubicBezTo>
                    <a:pt x="443" y="66"/>
                    <a:pt x="376" y="0"/>
                    <a:pt x="294" y="0"/>
                  </a:cubicBezTo>
                  <a:cubicBezTo>
                    <a:pt x="212" y="0"/>
                    <a:pt x="146" y="66"/>
                    <a:pt x="146" y="148"/>
                  </a:cubicBezTo>
                  <a:cubicBezTo>
                    <a:pt x="146" y="178"/>
                    <a:pt x="146" y="178"/>
                    <a:pt x="146" y="178"/>
                  </a:cubicBezTo>
                  <a:cubicBezTo>
                    <a:pt x="146" y="209"/>
                    <a:pt x="156" y="238"/>
                    <a:pt x="172" y="262"/>
                  </a:cubicBezTo>
                  <a:cubicBezTo>
                    <a:pt x="77" y="265"/>
                    <a:pt x="0" y="344"/>
                    <a:pt x="0" y="440"/>
                  </a:cubicBezTo>
                  <a:cubicBezTo>
                    <a:pt x="0" y="559"/>
                    <a:pt x="0" y="559"/>
                    <a:pt x="0" y="559"/>
                  </a:cubicBezTo>
                  <a:cubicBezTo>
                    <a:pt x="0" y="577"/>
                    <a:pt x="14" y="591"/>
                    <a:pt x="32" y="591"/>
                  </a:cubicBezTo>
                  <a:cubicBezTo>
                    <a:pt x="1606" y="591"/>
                    <a:pt x="1606" y="591"/>
                    <a:pt x="1606" y="591"/>
                  </a:cubicBezTo>
                  <a:cubicBezTo>
                    <a:pt x="1624" y="591"/>
                    <a:pt x="1638" y="577"/>
                    <a:pt x="1638" y="559"/>
                  </a:cubicBezTo>
                  <a:cubicBezTo>
                    <a:pt x="1638" y="440"/>
                    <a:pt x="1638" y="440"/>
                    <a:pt x="1638" y="440"/>
                  </a:cubicBezTo>
                  <a:cubicBezTo>
                    <a:pt x="1638" y="344"/>
                    <a:pt x="1562" y="265"/>
                    <a:pt x="1466" y="262"/>
                  </a:cubicBezTo>
                  <a:close/>
                  <a:moveTo>
                    <a:pt x="210" y="148"/>
                  </a:moveTo>
                  <a:cubicBezTo>
                    <a:pt x="210" y="102"/>
                    <a:pt x="248" y="64"/>
                    <a:pt x="294" y="64"/>
                  </a:cubicBezTo>
                  <a:cubicBezTo>
                    <a:pt x="341" y="64"/>
                    <a:pt x="379" y="102"/>
                    <a:pt x="379" y="148"/>
                  </a:cubicBezTo>
                  <a:cubicBezTo>
                    <a:pt x="379" y="178"/>
                    <a:pt x="379" y="178"/>
                    <a:pt x="379" y="178"/>
                  </a:cubicBezTo>
                  <a:cubicBezTo>
                    <a:pt x="379" y="224"/>
                    <a:pt x="341" y="262"/>
                    <a:pt x="294" y="262"/>
                  </a:cubicBezTo>
                  <a:cubicBezTo>
                    <a:pt x="248" y="262"/>
                    <a:pt x="210" y="224"/>
                    <a:pt x="210" y="178"/>
                  </a:cubicBezTo>
                  <a:lnTo>
                    <a:pt x="210" y="148"/>
                  </a:lnTo>
                  <a:close/>
                  <a:moveTo>
                    <a:pt x="525" y="527"/>
                  </a:moveTo>
                  <a:cubicBezTo>
                    <a:pt x="64" y="527"/>
                    <a:pt x="64" y="527"/>
                    <a:pt x="64" y="527"/>
                  </a:cubicBezTo>
                  <a:cubicBezTo>
                    <a:pt x="64" y="440"/>
                    <a:pt x="64" y="440"/>
                    <a:pt x="64" y="440"/>
                  </a:cubicBezTo>
                  <a:cubicBezTo>
                    <a:pt x="64" y="377"/>
                    <a:pt x="115" y="326"/>
                    <a:pt x="178" y="326"/>
                  </a:cubicBezTo>
                  <a:cubicBezTo>
                    <a:pt x="262" y="326"/>
                    <a:pt x="262" y="326"/>
                    <a:pt x="262" y="326"/>
                  </a:cubicBezTo>
                  <a:cubicBezTo>
                    <a:pt x="262" y="454"/>
                    <a:pt x="262" y="454"/>
                    <a:pt x="262" y="454"/>
                  </a:cubicBezTo>
                  <a:cubicBezTo>
                    <a:pt x="262" y="472"/>
                    <a:pt x="277" y="486"/>
                    <a:pt x="294" y="486"/>
                  </a:cubicBezTo>
                  <a:cubicBezTo>
                    <a:pt x="312" y="486"/>
                    <a:pt x="326" y="472"/>
                    <a:pt x="326" y="454"/>
                  </a:cubicBezTo>
                  <a:cubicBezTo>
                    <a:pt x="326" y="326"/>
                    <a:pt x="326" y="326"/>
                    <a:pt x="326" y="326"/>
                  </a:cubicBezTo>
                  <a:cubicBezTo>
                    <a:pt x="411" y="326"/>
                    <a:pt x="411" y="326"/>
                    <a:pt x="411" y="326"/>
                  </a:cubicBezTo>
                  <a:cubicBezTo>
                    <a:pt x="474" y="326"/>
                    <a:pt x="525" y="377"/>
                    <a:pt x="525" y="440"/>
                  </a:cubicBezTo>
                  <a:lnTo>
                    <a:pt x="525" y="527"/>
                  </a:lnTo>
                  <a:close/>
                  <a:moveTo>
                    <a:pt x="735" y="148"/>
                  </a:moveTo>
                  <a:cubicBezTo>
                    <a:pt x="735" y="102"/>
                    <a:pt x="773" y="64"/>
                    <a:pt x="819" y="64"/>
                  </a:cubicBezTo>
                  <a:cubicBezTo>
                    <a:pt x="866" y="64"/>
                    <a:pt x="904" y="102"/>
                    <a:pt x="904" y="148"/>
                  </a:cubicBezTo>
                  <a:cubicBezTo>
                    <a:pt x="904" y="178"/>
                    <a:pt x="904" y="178"/>
                    <a:pt x="904" y="178"/>
                  </a:cubicBezTo>
                  <a:cubicBezTo>
                    <a:pt x="904" y="224"/>
                    <a:pt x="866" y="262"/>
                    <a:pt x="819" y="262"/>
                  </a:cubicBezTo>
                  <a:cubicBezTo>
                    <a:pt x="773" y="262"/>
                    <a:pt x="735" y="224"/>
                    <a:pt x="735" y="178"/>
                  </a:cubicBezTo>
                  <a:lnTo>
                    <a:pt x="735" y="148"/>
                  </a:lnTo>
                  <a:close/>
                  <a:moveTo>
                    <a:pt x="1050" y="527"/>
                  </a:moveTo>
                  <a:cubicBezTo>
                    <a:pt x="589" y="527"/>
                    <a:pt x="589" y="527"/>
                    <a:pt x="589" y="527"/>
                  </a:cubicBezTo>
                  <a:cubicBezTo>
                    <a:pt x="589" y="440"/>
                    <a:pt x="589" y="440"/>
                    <a:pt x="589" y="440"/>
                  </a:cubicBezTo>
                  <a:cubicBezTo>
                    <a:pt x="589" y="377"/>
                    <a:pt x="640" y="326"/>
                    <a:pt x="703" y="326"/>
                  </a:cubicBezTo>
                  <a:cubicBezTo>
                    <a:pt x="788" y="326"/>
                    <a:pt x="788" y="326"/>
                    <a:pt x="788" y="326"/>
                  </a:cubicBezTo>
                  <a:cubicBezTo>
                    <a:pt x="788" y="454"/>
                    <a:pt x="788" y="454"/>
                    <a:pt x="788" y="454"/>
                  </a:cubicBezTo>
                  <a:cubicBezTo>
                    <a:pt x="788" y="472"/>
                    <a:pt x="802" y="486"/>
                    <a:pt x="820" y="486"/>
                  </a:cubicBezTo>
                  <a:cubicBezTo>
                    <a:pt x="837" y="486"/>
                    <a:pt x="852" y="472"/>
                    <a:pt x="852" y="454"/>
                  </a:cubicBezTo>
                  <a:cubicBezTo>
                    <a:pt x="852" y="326"/>
                    <a:pt x="852" y="326"/>
                    <a:pt x="852" y="326"/>
                  </a:cubicBezTo>
                  <a:cubicBezTo>
                    <a:pt x="936" y="326"/>
                    <a:pt x="936" y="326"/>
                    <a:pt x="936" y="326"/>
                  </a:cubicBezTo>
                  <a:cubicBezTo>
                    <a:pt x="999" y="326"/>
                    <a:pt x="1050" y="377"/>
                    <a:pt x="1050" y="440"/>
                  </a:cubicBezTo>
                  <a:lnTo>
                    <a:pt x="1050" y="527"/>
                  </a:lnTo>
                  <a:close/>
                  <a:moveTo>
                    <a:pt x="1259" y="148"/>
                  </a:moveTo>
                  <a:cubicBezTo>
                    <a:pt x="1259" y="102"/>
                    <a:pt x="1297" y="64"/>
                    <a:pt x="1344" y="64"/>
                  </a:cubicBezTo>
                  <a:cubicBezTo>
                    <a:pt x="1391" y="64"/>
                    <a:pt x="1429" y="102"/>
                    <a:pt x="1429" y="148"/>
                  </a:cubicBezTo>
                  <a:cubicBezTo>
                    <a:pt x="1429" y="178"/>
                    <a:pt x="1429" y="178"/>
                    <a:pt x="1429" y="178"/>
                  </a:cubicBezTo>
                  <a:cubicBezTo>
                    <a:pt x="1429" y="224"/>
                    <a:pt x="1391" y="262"/>
                    <a:pt x="1344" y="262"/>
                  </a:cubicBezTo>
                  <a:cubicBezTo>
                    <a:pt x="1297" y="262"/>
                    <a:pt x="1259" y="224"/>
                    <a:pt x="1259" y="178"/>
                  </a:cubicBezTo>
                  <a:lnTo>
                    <a:pt x="1259" y="148"/>
                  </a:lnTo>
                  <a:close/>
                  <a:moveTo>
                    <a:pt x="1574" y="527"/>
                  </a:moveTo>
                  <a:cubicBezTo>
                    <a:pt x="1114" y="527"/>
                    <a:pt x="1114" y="527"/>
                    <a:pt x="1114" y="527"/>
                  </a:cubicBezTo>
                  <a:cubicBezTo>
                    <a:pt x="1114" y="440"/>
                    <a:pt x="1114" y="440"/>
                    <a:pt x="1114" y="440"/>
                  </a:cubicBezTo>
                  <a:cubicBezTo>
                    <a:pt x="1114" y="377"/>
                    <a:pt x="1165" y="326"/>
                    <a:pt x="1227" y="326"/>
                  </a:cubicBezTo>
                  <a:cubicBezTo>
                    <a:pt x="1313" y="326"/>
                    <a:pt x="1313" y="326"/>
                    <a:pt x="1313" y="326"/>
                  </a:cubicBezTo>
                  <a:cubicBezTo>
                    <a:pt x="1313" y="454"/>
                    <a:pt x="1313" y="454"/>
                    <a:pt x="1313" y="454"/>
                  </a:cubicBezTo>
                  <a:cubicBezTo>
                    <a:pt x="1313" y="472"/>
                    <a:pt x="1327" y="486"/>
                    <a:pt x="1345" y="486"/>
                  </a:cubicBezTo>
                  <a:cubicBezTo>
                    <a:pt x="1362" y="486"/>
                    <a:pt x="1377" y="472"/>
                    <a:pt x="1377" y="454"/>
                  </a:cubicBezTo>
                  <a:cubicBezTo>
                    <a:pt x="1377" y="326"/>
                    <a:pt x="1377" y="326"/>
                    <a:pt x="1377" y="326"/>
                  </a:cubicBezTo>
                  <a:cubicBezTo>
                    <a:pt x="1461" y="326"/>
                    <a:pt x="1461" y="326"/>
                    <a:pt x="1461" y="326"/>
                  </a:cubicBezTo>
                  <a:cubicBezTo>
                    <a:pt x="1523" y="326"/>
                    <a:pt x="1574" y="377"/>
                    <a:pt x="1574" y="440"/>
                  </a:cubicBezTo>
                  <a:lnTo>
                    <a:pt x="1574" y="527"/>
                  </a:lnTo>
                  <a:close/>
                  <a:moveTo>
                    <a:pt x="1574" y="527"/>
                  </a:moveTo>
                  <a:cubicBezTo>
                    <a:pt x="1574" y="527"/>
                    <a:pt x="1574" y="527"/>
                    <a:pt x="1574" y="5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80"/>
            <p:cNvSpPr>
              <a:spLocks noEditPoints="1"/>
            </p:cNvSpPr>
            <p:nvPr/>
          </p:nvSpPr>
          <p:spPr bwMode="auto">
            <a:xfrm>
              <a:off x="4056" y="1983"/>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81"/>
            <p:cNvSpPr>
              <a:spLocks noEditPoints="1"/>
            </p:cNvSpPr>
            <p:nvPr/>
          </p:nvSpPr>
          <p:spPr bwMode="auto">
            <a:xfrm>
              <a:off x="3062" y="826"/>
              <a:ext cx="1797" cy="1897"/>
            </a:xfrm>
            <a:custGeom>
              <a:avLst/>
              <a:gdLst>
                <a:gd name="T0" fmla="*/ 699 w 949"/>
                <a:gd name="T1" fmla="*/ 422 h 1002"/>
                <a:gd name="T2" fmla="*/ 748 w 949"/>
                <a:gd name="T3" fmla="*/ 191 h 1002"/>
                <a:gd name="T4" fmla="*/ 367 w 949"/>
                <a:gd name="T5" fmla="*/ 191 h 1002"/>
                <a:gd name="T6" fmla="*/ 415 w 949"/>
                <a:gd name="T7" fmla="*/ 422 h 1002"/>
                <a:gd name="T8" fmla="*/ 165 w 949"/>
                <a:gd name="T9" fmla="*/ 659 h 1002"/>
                <a:gd name="T10" fmla="*/ 197 w 949"/>
                <a:gd name="T11" fmla="*/ 787 h 1002"/>
                <a:gd name="T12" fmla="*/ 525 w 949"/>
                <a:gd name="T13" fmla="*/ 864 h 1002"/>
                <a:gd name="T14" fmla="*/ 0 w 949"/>
                <a:gd name="T15" fmla="*/ 896 h 1002"/>
                <a:gd name="T16" fmla="*/ 32 w 949"/>
                <a:gd name="T17" fmla="*/ 1002 h 1002"/>
                <a:gd name="T18" fmla="*/ 64 w 949"/>
                <a:gd name="T19" fmla="*/ 928 h 1002"/>
                <a:gd name="T20" fmla="*/ 525 w 949"/>
                <a:gd name="T21" fmla="*/ 970 h 1002"/>
                <a:gd name="T22" fmla="*/ 589 w 949"/>
                <a:gd name="T23" fmla="*/ 970 h 1002"/>
                <a:gd name="T24" fmla="*/ 698 w 949"/>
                <a:gd name="T25" fmla="*/ 928 h 1002"/>
                <a:gd name="T26" fmla="*/ 698 w 949"/>
                <a:gd name="T27" fmla="*/ 864 h 1002"/>
                <a:gd name="T28" fmla="*/ 589 w 949"/>
                <a:gd name="T29" fmla="*/ 787 h 1002"/>
                <a:gd name="T30" fmla="*/ 949 w 949"/>
                <a:gd name="T31" fmla="*/ 755 h 1002"/>
                <a:gd name="T32" fmla="*/ 713 w 949"/>
                <a:gd name="T33" fmla="*/ 422 h 1002"/>
                <a:gd name="T34" fmla="*/ 682 w 949"/>
                <a:gd name="T35" fmla="*/ 172 h 1002"/>
                <a:gd name="T36" fmla="*/ 585 w 949"/>
                <a:gd name="T37" fmla="*/ 146 h 1002"/>
                <a:gd name="T38" fmla="*/ 431 w 949"/>
                <a:gd name="T39" fmla="*/ 197 h 1002"/>
                <a:gd name="T40" fmla="*/ 557 w 949"/>
                <a:gd name="T41" fmla="*/ 64 h 1002"/>
                <a:gd name="T42" fmla="*/ 476 w 949"/>
                <a:gd name="T43" fmla="*/ 261 h 1002"/>
                <a:gd name="T44" fmla="*/ 684 w 949"/>
                <a:gd name="T45" fmla="*/ 247 h 1002"/>
                <a:gd name="T46" fmla="*/ 557 w 949"/>
                <a:gd name="T47" fmla="*/ 422 h 1002"/>
                <a:gd name="T48" fmla="*/ 431 w 949"/>
                <a:gd name="T49" fmla="*/ 261 h 1002"/>
                <a:gd name="T50" fmla="*/ 229 w 949"/>
                <a:gd name="T51" fmla="*/ 723 h 1002"/>
                <a:gd name="T52" fmla="*/ 402 w 949"/>
                <a:gd name="T53" fmla="*/ 486 h 1002"/>
                <a:gd name="T54" fmla="*/ 525 w 949"/>
                <a:gd name="T55" fmla="*/ 522 h 1002"/>
                <a:gd name="T56" fmla="*/ 589 w 949"/>
                <a:gd name="T57" fmla="*/ 522 h 1002"/>
                <a:gd name="T58" fmla="*/ 713 w 949"/>
                <a:gd name="T59" fmla="*/ 486 h 1002"/>
                <a:gd name="T60" fmla="*/ 885 w 949"/>
                <a:gd name="T61" fmla="*/ 723 h 1002"/>
                <a:gd name="T62" fmla="*/ 885 w 949"/>
                <a:gd name="T63" fmla="*/ 723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9" h="1002">
                  <a:moveTo>
                    <a:pt x="713" y="422"/>
                  </a:moveTo>
                  <a:cubicBezTo>
                    <a:pt x="699" y="422"/>
                    <a:pt x="699" y="422"/>
                    <a:pt x="699" y="422"/>
                  </a:cubicBezTo>
                  <a:cubicBezTo>
                    <a:pt x="729" y="389"/>
                    <a:pt x="748" y="345"/>
                    <a:pt x="748" y="296"/>
                  </a:cubicBezTo>
                  <a:cubicBezTo>
                    <a:pt x="748" y="191"/>
                    <a:pt x="748" y="191"/>
                    <a:pt x="748" y="191"/>
                  </a:cubicBezTo>
                  <a:cubicBezTo>
                    <a:pt x="748" y="85"/>
                    <a:pt x="662" y="0"/>
                    <a:pt x="557" y="0"/>
                  </a:cubicBezTo>
                  <a:cubicBezTo>
                    <a:pt x="452" y="0"/>
                    <a:pt x="367" y="85"/>
                    <a:pt x="367" y="191"/>
                  </a:cubicBezTo>
                  <a:cubicBezTo>
                    <a:pt x="367" y="296"/>
                    <a:pt x="367" y="296"/>
                    <a:pt x="367" y="296"/>
                  </a:cubicBezTo>
                  <a:cubicBezTo>
                    <a:pt x="367" y="345"/>
                    <a:pt x="385" y="389"/>
                    <a:pt x="415" y="422"/>
                  </a:cubicBezTo>
                  <a:cubicBezTo>
                    <a:pt x="402" y="422"/>
                    <a:pt x="402" y="422"/>
                    <a:pt x="402" y="422"/>
                  </a:cubicBezTo>
                  <a:cubicBezTo>
                    <a:pt x="271" y="422"/>
                    <a:pt x="165" y="529"/>
                    <a:pt x="165" y="659"/>
                  </a:cubicBezTo>
                  <a:cubicBezTo>
                    <a:pt x="165" y="755"/>
                    <a:pt x="165" y="755"/>
                    <a:pt x="165" y="755"/>
                  </a:cubicBezTo>
                  <a:cubicBezTo>
                    <a:pt x="165" y="773"/>
                    <a:pt x="179" y="787"/>
                    <a:pt x="197" y="787"/>
                  </a:cubicBezTo>
                  <a:cubicBezTo>
                    <a:pt x="525" y="787"/>
                    <a:pt x="525" y="787"/>
                    <a:pt x="525" y="787"/>
                  </a:cubicBezTo>
                  <a:cubicBezTo>
                    <a:pt x="525" y="864"/>
                    <a:pt x="525" y="864"/>
                    <a:pt x="525" y="864"/>
                  </a:cubicBezTo>
                  <a:cubicBezTo>
                    <a:pt x="32" y="864"/>
                    <a:pt x="32" y="864"/>
                    <a:pt x="32" y="864"/>
                  </a:cubicBezTo>
                  <a:cubicBezTo>
                    <a:pt x="15" y="864"/>
                    <a:pt x="0" y="878"/>
                    <a:pt x="0" y="896"/>
                  </a:cubicBezTo>
                  <a:cubicBezTo>
                    <a:pt x="0" y="970"/>
                    <a:pt x="0" y="970"/>
                    <a:pt x="0" y="970"/>
                  </a:cubicBezTo>
                  <a:cubicBezTo>
                    <a:pt x="0" y="987"/>
                    <a:pt x="15" y="1002"/>
                    <a:pt x="32" y="1002"/>
                  </a:cubicBezTo>
                  <a:cubicBezTo>
                    <a:pt x="50" y="1002"/>
                    <a:pt x="64" y="987"/>
                    <a:pt x="64" y="970"/>
                  </a:cubicBezTo>
                  <a:cubicBezTo>
                    <a:pt x="64" y="928"/>
                    <a:pt x="64" y="928"/>
                    <a:pt x="64" y="928"/>
                  </a:cubicBezTo>
                  <a:cubicBezTo>
                    <a:pt x="525" y="928"/>
                    <a:pt x="525" y="928"/>
                    <a:pt x="525" y="928"/>
                  </a:cubicBezTo>
                  <a:cubicBezTo>
                    <a:pt x="525" y="970"/>
                    <a:pt x="525" y="970"/>
                    <a:pt x="525" y="970"/>
                  </a:cubicBezTo>
                  <a:cubicBezTo>
                    <a:pt x="525" y="987"/>
                    <a:pt x="540" y="1002"/>
                    <a:pt x="557" y="1002"/>
                  </a:cubicBezTo>
                  <a:cubicBezTo>
                    <a:pt x="575" y="1002"/>
                    <a:pt x="589" y="987"/>
                    <a:pt x="589" y="970"/>
                  </a:cubicBezTo>
                  <a:cubicBezTo>
                    <a:pt x="589" y="928"/>
                    <a:pt x="589" y="928"/>
                    <a:pt x="589" y="928"/>
                  </a:cubicBezTo>
                  <a:cubicBezTo>
                    <a:pt x="698" y="928"/>
                    <a:pt x="698" y="928"/>
                    <a:pt x="698" y="928"/>
                  </a:cubicBezTo>
                  <a:cubicBezTo>
                    <a:pt x="716" y="928"/>
                    <a:pt x="730" y="914"/>
                    <a:pt x="730" y="896"/>
                  </a:cubicBezTo>
                  <a:cubicBezTo>
                    <a:pt x="730" y="878"/>
                    <a:pt x="716" y="864"/>
                    <a:pt x="698" y="864"/>
                  </a:cubicBezTo>
                  <a:cubicBezTo>
                    <a:pt x="589" y="864"/>
                    <a:pt x="589" y="864"/>
                    <a:pt x="589" y="864"/>
                  </a:cubicBezTo>
                  <a:cubicBezTo>
                    <a:pt x="589" y="787"/>
                    <a:pt x="589" y="787"/>
                    <a:pt x="589" y="787"/>
                  </a:cubicBezTo>
                  <a:cubicBezTo>
                    <a:pt x="917" y="787"/>
                    <a:pt x="917" y="787"/>
                    <a:pt x="917" y="787"/>
                  </a:cubicBezTo>
                  <a:cubicBezTo>
                    <a:pt x="935" y="787"/>
                    <a:pt x="949" y="773"/>
                    <a:pt x="949" y="755"/>
                  </a:cubicBezTo>
                  <a:cubicBezTo>
                    <a:pt x="949" y="659"/>
                    <a:pt x="949" y="659"/>
                    <a:pt x="949" y="659"/>
                  </a:cubicBezTo>
                  <a:cubicBezTo>
                    <a:pt x="949" y="529"/>
                    <a:pt x="843" y="422"/>
                    <a:pt x="713" y="422"/>
                  </a:cubicBezTo>
                  <a:close/>
                  <a:moveTo>
                    <a:pt x="557" y="64"/>
                  </a:moveTo>
                  <a:cubicBezTo>
                    <a:pt x="621" y="64"/>
                    <a:pt x="673" y="111"/>
                    <a:pt x="682" y="172"/>
                  </a:cubicBezTo>
                  <a:cubicBezTo>
                    <a:pt x="626" y="139"/>
                    <a:pt x="626" y="139"/>
                    <a:pt x="626" y="139"/>
                  </a:cubicBezTo>
                  <a:cubicBezTo>
                    <a:pt x="612" y="131"/>
                    <a:pt x="595" y="134"/>
                    <a:pt x="585" y="146"/>
                  </a:cubicBezTo>
                  <a:cubicBezTo>
                    <a:pt x="558" y="178"/>
                    <a:pt x="518" y="197"/>
                    <a:pt x="476" y="197"/>
                  </a:cubicBezTo>
                  <a:cubicBezTo>
                    <a:pt x="431" y="197"/>
                    <a:pt x="431" y="197"/>
                    <a:pt x="431" y="197"/>
                  </a:cubicBezTo>
                  <a:cubicBezTo>
                    <a:pt x="431" y="191"/>
                    <a:pt x="431" y="191"/>
                    <a:pt x="431" y="191"/>
                  </a:cubicBezTo>
                  <a:cubicBezTo>
                    <a:pt x="431" y="121"/>
                    <a:pt x="487" y="64"/>
                    <a:pt x="557" y="64"/>
                  </a:cubicBezTo>
                  <a:close/>
                  <a:moveTo>
                    <a:pt x="431" y="261"/>
                  </a:moveTo>
                  <a:cubicBezTo>
                    <a:pt x="476" y="261"/>
                    <a:pt x="476" y="261"/>
                    <a:pt x="476" y="261"/>
                  </a:cubicBezTo>
                  <a:cubicBezTo>
                    <a:pt x="528" y="261"/>
                    <a:pt x="577" y="241"/>
                    <a:pt x="615" y="207"/>
                  </a:cubicBezTo>
                  <a:cubicBezTo>
                    <a:pt x="684" y="247"/>
                    <a:pt x="684" y="247"/>
                    <a:pt x="684" y="247"/>
                  </a:cubicBezTo>
                  <a:cubicBezTo>
                    <a:pt x="684" y="296"/>
                    <a:pt x="684" y="296"/>
                    <a:pt x="684" y="296"/>
                  </a:cubicBezTo>
                  <a:cubicBezTo>
                    <a:pt x="684" y="366"/>
                    <a:pt x="627" y="422"/>
                    <a:pt x="557" y="422"/>
                  </a:cubicBezTo>
                  <a:cubicBezTo>
                    <a:pt x="487" y="422"/>
                    <a:pt x="431" y="366"/>
                    <a:pt x="431" y="296"/>
                  </a:cubicBezTo>
                  <a:lnTo>
                    <a:pt x="431" y="261"/>
                  </a:lnTo>
                  <a:close/>
                  <a:moveTo>
                    <a:pt x="885" y="723"/>
                  </a:moveTo>
                  <a:cubicBezTo>
                    <a:pt x="229" y="723"/>
                    <a:pt x="229" y="723"/>
                    <a:pt x="229" y="723"/>
                  </a:cubicBezTo>
                  <a:cubicBezTo>
                    <a:pt x="229" y="659"/>
                    <a:pt x="229" y="659"/>
                    <a:pt x="229" y="659"/>
                  </a:cubicBezTo>
                  <a:cubicBezTo>
                    <a:pt x="229" y="564"/>
                    <a:pt x="306" y="486"/>
                    <a:pt x="402" y="486"/>
                  </a:cubicBezTo>
                  <a:cubicBezTo>
                    <a:pt x="525" y="486"/>
                    <a:pt x="525" y="486"/>
                    <a:pt x="525" y="486"/>
                  </a:cubicBezTo>
                  <a:cubicBezTo>
                    <a:pt x="525" y="522"/>
                    <a:pt x="525" y="522"/>
                    <a:pt x="525" y="522"/>
                  </a:cubicBezTo>
                  <a:cubicBezTo>
                    <a:pt x="525" y="539"/>
                    <a:pt x="540" y="554"/>
                    <a:pt x="557" y="554"/>
                  </a:cubicBezTo>
                  <a:cubicBezTo>
                    <a:pt x="575" y="554"/>
                    <a:pt x="589" y="539"/>
                    <a:pt x="589" y="522"/>
                  </a:cubicBezTo>
                  <a:cubicBezTo>
                    <a:pt x="589" y="486"/>
                    <a:pt x="589" y="486"/>
                    <a:pt x="589" y="486"/>
                  </a:cubicBezTo>
                  <a:cubicBezTo>
                    <a:pt x="713" y="486"/>
                    <a:pt x="713" y="486"/>
                    <a:pt x="713" y="486"/>
                  </a:cubicBezTo>
                  <a:cubicBezTo>
                    <a:pt x="808" y="486"/>
                    <a:pt x="885" y="564"/>
                    <a:pt x="885" y="659"/>
                  </a:cubicBezTo>
                  <a:lnTo>
                    <a:pt x="885" y="723"/>
                  </a:lnTo>
                  <a:close/>
                  <a:moveTo>
                    <a:pt x="885" y="723"/>
                  </a:moveTo>
                  <a:cubicBezTo>
                    <a:pt x="885" y="723"/>
                    <a:pt x="885" y="723"/>
                    <a:pt x="885" y="7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82"/>
            <p:cNvSpPr>
              <a:spLocks noEditPoints="1"/>
            </p:cNvSpPr>
            <p:nvPr/>
          </p:nvSpPr>
          <p:spPr bwMode="auto">
            <a:xfrm>
              <a:off x="4540" y="2462"/>
              <a:ext cx="122" cy="121"/>
            </a:xfrm>
            <a:custGeom>
              <a:avLst/>
              <a:gdLst>
                <a:gd name="T0" fmla="*/ 55 w 64"/>
                <a:gd name="T1" fmla="*/ 9 h 64"/>
                <a:gd name="T2" fmla="*/ 32 w 64"/>
                <a:gd name="T3" fmla="*/ 0 h 64"/>
                <a:gd name="T4" fmla="*/ 10 w 64"/>
                <a:gd name="T5" fmla="*/ 9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4"/>
                    <a:pt x="0" y="32"/>
                  </a:cubicBezTo>
                  <a:cubicBezTo>
                    <a:pt x="0" y="40"/>
                    <a:pt x="4" y="49"/>
                    <a:pt x="10" y="55"/>
                  </a:cubicBezTo>
                  <a:cubicBezTo>
                    <a:pt x="16" y="61"/>
                    <a:pt x="24" y="64"/>
                    <a:pt x="32" y="64"/>
                  </a:cubicBezTo>
                  <a:cubicBezTo>
                    <a:pt x="41"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83"/>
            <p:cNvSpPr>
              <a:spLocks noEditPoints="1"/>
            </p:cNvSpPr>
            <p:nvPr/>
          </p:nvSpPr>
          <p:spPr bwMode="auto">
            <a:xfrm>
              <a:off x="4737" y="2462"/>
              <a:ext cx="436" cy="261"/>
            </a:xfrm>
            <a:custGeom>
              <a:avLst/>
              <a:gdLst>
                <a:gd name="T0" fmla="*/ 198 w 230"/>
                <a:gd name="T1" fmla="*/ 0 h 138"/>
                <a:gd name="T2" fmla="*/ 32 w 230"/>
                <a:gd name="T3" fmla="*/ 0 h 138"/>
                <a:gd name="T4" fmla="*/ 0 w 230"/>
                <a:gd name="T5" fmla="*/ 32 h 138"/>
                <a:gd name="T6" fmla="*/ 32 w 230"/>
                <a:gd name="T7" fmla="*/ 64 h 138"/>
                <a:gd name="T8" fmla="*/ 166 w 230"/>
                <a:gd name="T9" fmla="*/ 64 h 138"/>
                <a:gd name="T10" fmla="*/ 166 w 230"/>
                <a:gd name="T11" fmla="*/ 106 h 138"/>
                <a:gd name="T12" fmla="*/ 198 w 230"/>
                <a:gd name="T13" fmla="*/ 138 h 138"/>
                <a:gd name="T14" fmla="*/ 230 w 230"/>
                <a:gd name="T15" fmla="*/ 106 h 138"/>
                <a:gd name="T16" fmla="*/ 230 w 230"/>
                <a:gd name="T17" fmla="*/ 32 h 138"/>
                <a:gd name="T18" fmla="*/ 198 w 230"/>
                <a:gd name="T19" fmla="*/ 0 h 138"/>
                <a:gd name="T20" fmla="*/ 198 w 230"/>
                <a:gd name="T21" fmla="*/ 0 h 138"/>
                <a:gd name="T22" fmla="*/ 198 w 230"/>
                <a:gd name="T2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138">
                  <a:moveTo>
                    <a:pt x="198" y="0"/>
                  </a:moveTo>
                  <a:cubicBezTo>
                    <a:pt x="32" y="0"/>
                    <a:pt x="32" y="0"/>
                    <a:pt x="32" y="0"/>
                  </a:cubicBezTo>
                  <a:cubicBezTo>
                    <a:pt x="15" y="0"/>
                    <a:pt x="0" y="14"/>
                    <a:pt x="0" y="32"/>
                  </a:cubicBezTo>
                  <a:cubicBezTo>
                    <a:pt x="0" y="50"/>
                    <a:pt x="15" y="64"/>
                    <a:pt x="32" y="64"/>
                  </a:cubicBezTo>
                  <a:cubicBezTo>
                    <a:pt x="166" y="64"/>
                    <a:pt x="166" y="64"/>
                    <a:pt x="166" y="64"/>
                  </a:cubicBezTo>
                  <a:cubicBezTo>
                    <a:pt x="166" y="106"/>
                    <a:pt x="166" y="106"/>
                    <a:pt x="166" y="106"/>
                  </a:cubicBezTo>
                  <a:cubicBezTo>
                    <a:pt x="166" y="123"/>
                    <a:pt x="180" y="138"/>
                    <a:pt x="198" y="138"/>
                  </a:cubicBezTo>
                  <a:cubicBezTo>
                    <a:pt x="215" y="138"/>
                    <a:pt x="230" y="123"/>
                    <a:pt x="230" y="106"/>
                  </a:cubicBezTo>
                  <a:cubicBezTo>
                    <a:pt x="230" y="32"/>
                    <a:pt x="230" y="32"/>
                    <a:pt x="230" y="32"/>
                  </a:cubicBezTo>
                  <a:cubicBezTo>
                    <a:pt x="230" y="14"/>
                    <a:pt x="215" y="0"/>
                    <a:pt x="198" y="0"/>
                  </a:cubicBezTo>
                  <a:close/>
                  <a:moveTo>
                    <a:pt x="198" y="0"/>
                  </a:moveTo>
                  <a:cubicBezTo>
                    <a:pt x="198" y="0"/>
                    <a:pt x="198" y="0"/>
                    <a:pt x="19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8" name="Group 286"/>
          <p:cNvGrpSpPr>
            <a:grpSpLocks noChangeAspect="1"/>
          </p:cNvGrpSpPr>
          <p:nvPr/>
        </p:nvGrpSpPr>
        <p:grpSpPr bwMode="auto">
          <a:xfrm>
            <a:off x="4147974" y="2984382"/>
            <a:ext cx="496247" cy="457200"/>
            <a:chOff x="2282" y="663"/>
            <a:chExt cx="3101" cy="2857"/>
          </a:xfrm>
          <a:solidFill>
            <a:schemeClr val="accent1"/>
          </a:solidFill>
        </p:grpSpPr>
        <p:sp>
          <p:nvSpPr>
            <p:cNvPr id="290" name="Freeform 287"/>
            <p:cNvSpPr>
              <a:spLocks noEditPoints="1"/>
            </p:cNvSpPr>
            <p:nvPr/>
          </p:nvSpPr>
          <p:spPr bwMode="auto">
            <a:xfrm>
              <a:off x="3026" y="663"/>
              <a:ext cx="1611" cy="1284"/>
            </a:xfrm>
            <a:custGeom>
              <a:avLst/>
              <a:gdLst>
                <a:gd name="T0" fmla="*/ 755 w 851"/>
                <a:gd name="T1" fmla="*/ 0 h 678"/>
                <a:gd name="T2" fmla="*/ 96 w 851"/>
                <a:gd name="T3" fmla="*/ 0 h 678"/>
                <a:gd name="T4" fmla="*/ 0 w 851"/>
                <a:gd name="T5" fmla="*/ 96 h 678"/>
                <a:gd name="T6" fmla="*/ 0 w 851"/>
                <a:gd name="T7" fmla="*/ 582 h 678"/>
                <a:gd name="T8" fmla="*/ 96 w 851"/>
                <a:gd name="T9" fmla="*/ 678 h 678"/>
                <a:gd name="T10" fmla="*/ 755 w 851"/>
                <a:gd name="T11" fmla="*/ 678 h 678"/>
                <a:gd name="T12" fmla="*/ 851 w 851"/>
                <a:gd name="T13" fmla="*/ 582 h 678"/>
                <a:gd name="T14" fmla="*/ 851 w 851"/>
                <a:gd name="T15" fmla="*/ 96 h 678"/>
                <a:gd name="T16" fmla="*/ 755 w 851"/>
                <a:gd name="T17" fmla="*/ 0 h 678"/>
                <a:gd name="T18" fmla="*/ 787 w 851"/>
                <a:gd name="T19" fmla="*/ 582 h 678"/>
                <a:gd name="T20" fmla="*/ 755 w 851"/>
                <a:gd name="T21" fmla="*/ 614 h 678"/>
                <a:gd name="T22" fmla="*/ 96 w 851"/>
                <a:gd name="T23" fmla="*/ 614 h 678"/>
                <a:gd name="T24" fmla="*/ 64 w 851"/>
                <a:gd name="T25" fmla="*/ 582 h 678"/>
                <a:gd name="T26" fmla="*/ 64 w 851"/>
                <a:gd name="T27" fmla="*/ 96 h 678"/>
                <a:gd name="T28" fmla="*/ 96 w 851"/>
                <a:gd name="T29" fmla="*/ 64 h 678"/>
                <a:gd name="T30" fmla="*/ 755 w 851"/>
                <a:gd name="T31" fmla="*/ 64 h 678"/>
                <a:gd name="T32" fmla="*/ 787 w 851"/>
                <a:gd name="T33" fmla="*/ 96 h 678"/>
                <a:gd name="T34" fmla="*/ 787 w 851"/>
                <a:gd name="T35" fmla="*/ 582 h 678"/>
                <a:gd name="T36" fmla="*/ 787 w 851"/>
                <a:gd name="T37" fmla="*/ 582 h 678"/>
                <a:gd name="T38" fmla="*/ 787 w 851"/>
                <a:gd name="T39" fmla="*/ 582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1" h="678">
                  <a:moveTo>
                    <a:pt x="755" y="0"/>
                  </a:moveTo>
                  <a:cubicBezTo>
                    <a:pt x="96" y="0"/>
                    <a:pt x="96" y="0"/>
                    <a:pt x="96" y="0"/>
                  </a:cubicBezTo>
                  <a:cubicBezTo>
                    <a:pt x="43" y="0"/>
                    <a:pt x="0" y="43"/>
                    <a:pt x="0" y="96"/>
                  </a:cubicBezTo>
                  <a:cubicBezTo>
                    <a:pt x="0" y="582"/>
                    <a:pt x="0" y="582"/>
                    <a:pt x="0" y="582"/>
                  </a:cubicBezTo>
                  <a:cubicBezTo>
                    <a:pt x="0" y="635"/>
                    <a:pt x="43" y="678"/>
                    <a:pt x="96" y="678"/>
                  </a:cubicBezTo>
                  <a:cubicBezTo>
                    <a:pt x="755" y="678"/>
                    <a:pt x="755" y="678"/>
                    <a:pt x="755" y="678"/>
                  </a:cubicBezTo>
                  <a:cubicBezTo>
                    <a:pt x="808" y="678"/>
                    <a:pt x="851" y="635"/>
                    <a:pt x="851" y="582"/>
                  </a:cubicBezTo>
                  <a:cubicBezTo>
                    <a:pt x="851" y="96"/>
                    <a:pt x="851" y="96"/>
                    <a:pt x="851" y="96"/>
                  </a:cubicBezTo>
                  <a:cubicBezTo>
                    <a:pt x="851" y="43"/>
                    <a:pt x="808" y="0"/>
                    <a:pt x="755" y="0"/>
                  </a:cubicBezTo>
                  <a:close/>
                  <a:moveTo>
                    <a:pt x="787" y="582"/>
                  </a:moveTo>
                  <a:cubicBezTo>
                    <a:pt x="787" y="600"/>
                    <a:pt x="773" y="614"/>
                    <a:pt x="755" y="614"/>
                  </a:cubicBezTo>
                  <a:cubicBezTo>
                    <a:pt x="96" y="614"/>
                    <a:pt x="96" y="614"/>
                    <a:pt x="96" y="614"/>
                  </a:cubicBezTo>
                  <a:cubicBezTo>
                    <a:pt x="79" y="614"/>
                    <a:pt x="64" y="600"/>
                    <a:pt x="64" y="582"/>
                  </a:cubicBezTo>
                  <a:cubicBezTo>
                    <a:pt x="64" y="96"/>
                    <a:pt x="64" y="96"/>
                    <a:pt x="64" y="96"/>
                  </a:cubicBezTo>
                  <a:cubicBezTo>
                    <a:pt x="64" y="78"/>
                    <a:pt x="79" y="64"/>
                    <a:pt x="96" y="64"/>
                  </a:cubicBezTo>
                  <a:cubicBezTo>
                    <a:pt x="755" y="64"/>
                    <a:pt x="755" y="64"/>
                    <a:pt x="755" y="64"/>
                  </a:cubicBezTo>
                  <a:cubicBezTo>
                    <a:pt x="773" y="64"/>
                    <a:pt x="787" y="78"/>
                    <a:pt x="787" y="96"/>
                  </a:cubicBezTo>
                  <a:lnTo>
                    <a:pt x="787" y="582"/>
                  </a:lnTo>
                  <a:close/>
                  <a:moveTo>
                    <a:pt x="787" y="582"/>
                  </a:moveTo>
                  <a:cubicBezTo>
                    <a:pt x="787" y="582"/>
                    <a:pt x="787" y="582"/>
                    <a:pt x="787" y="58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88"/>
            <p:cNvSpPr>
              <a:spLocks noEditPoints="1"/>
            </p:cNvSpPr>
            <p:nvPr/>
          </p:nvSpPr>
          <p:spPr bwMode="auto">
            <a:xfrm>
              <a:off x="3278" y="1487"/>
              <a:ext cx="838" cy="121"/>
            </a:xfrm>
            <a:custGeom>
              <a:avLst/>
              <a:gdLst>
                <a:gd name="T0" fmla="*/ 411 w 443"/>
                <a:gd name="T1" fmla="*/ 0 h 64"/>
                <a:gd name="T2" fmla="*/ 32 w 443"/>
                <a:gd name="T3" fmla="*/ 0 h 64"/>
                <a:gd name="T4" fmla="*/ 0 w 443"/>
                <a:gd name="T5" fmla="*/ 32 h 64"/>
                <a:gd name="T6" fmla="*/ 32 w 443"/>
                <a:gd name="T7" fmla="*/ 64 h 64"/>
                <a:gd name="T8" fmla="*/ 411 w 443"/>
                <a:gd name="T9" fmla="*/ 64 h 64"/>
                <a:gd name="T10" fmla="*/ 443 w 443"/>
                <a:gd name="T11" fmla="*/ 32 h 64"/>
                <a:gd name="T12" fmla="*/ 411 w 443"/>
                <a:gd name="T13" fmla="*/ 0 h 64"/>
                <a:gd name="T14" fmla="*/ 411 w 443"/>
                <a:gd name="T15" fmla="*/ 0 h 64"/>
                <a:gd name="T16" fmla="*/ 411 w 443"/>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3" h="64">
                  <a:moveTo>
                    <a:pt x="411" y="0"/>
                  </a:moveTo>
                  <a:cubicBezTo>
                    <a:pt x="32" y="0"/>
                    <a:pt x="32" y="0"/>
                    <a:pt x="32" y="0"/>
                  </a:cubicBezTo>
                  <a:cubicBezTo>
                    <a:pt x="14" y="0"/>
                    <a:pt x="0" y="14"/>
                    <a:pt x="0" y="32"/>
                  </a:cubicBezTo>
                  <a:cubicBezTo>
                    <a:pt x="0" y="50"/>
                    <a:pt x="14" y="64"/>
                    <a:pt x="32" y="64"/>
                  </a:cubicBezTo>
                  <a:cubicBezTo>
                    <a:pt x="411" y="64"/>
                    <a:pt x="411" y="64"/>
                    <a:pt x="411" y="64"/>
                  </a:cubicBezTo>
                  <a:cubicBezTo>
                    <a:pt x="429" y="64"/>
                    <a:pt x="443" y="50"/>
                    <a:pt x="443" y="32"/>
                  </a:cubicBezTo>
                  <a:cubicBezTo>
                    <a:pt x="443" y="14"/>
                    <a:pt x="429" y="0"/>
                    <a:pt x="411" y="0"/>
                  </a:cubicBezTo>
                  <a:close/>
                  <a:moveTo>
                    <a:pt x="411" y="0"/>
                  </a:moveTo>
                  <a:cubicBezTo>
                    <a:pt x="411" y="0"/>
                    <a:pt x="411" y="0"/>
                    <a:pt x="4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89"/>
            <p:cNvSpPr>
              <a:spLocks noEditPoints="1"/>
            </p:cNvSpPr>
            <p:nvPr/>
          </p:nvSpPr>
          <p:spPr bwMode="auto">
            <a:xfrm>
              <a:off x="4251" y="1487"/>
              <a:ext cx="121" cy="121"/>
            </a:xfrm>
            <a:custGeom>
              <a:avLst/>
              <a:gdLst>
                <a:gd name="T0" fmla="*/ 55 w 64"/>
                <a:gd name="T1" fmla="*/ 9 h 64"/>
                <a:gd name="T2" fmla="*/ 32 w 64"/>
                <a:gd name="T3" fmla="*/ 0 h 64"/>
                <a:gd name="T4" fmla="*/ 10 w 64"/>
                <a:gd name="T5" fmla="*/ 9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4"/>
                    <a:pt x="0" y="32"/>
                  </a:cubicBezTo>
                  <a:cubicBezTo>
                    <a:pt x="0" y="40"/>
                    <a:pt x="4" y="49"/>
                    <a:pt x="10" y="55"/>
                  </a:cubicBezTo>
                  <a:cubicBezTo>
                    <a:pt x="16" y="61"/>
                    <a:pt x="24" y="64"/>
                    <a:pt x="32" y="64"/>
                  </a:cubicBezTo>
                  <a:cubicBezTo>
                    <a:pt x="41"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90"/>
            <p:cNvSpPr>
              <a:spLocks noEditPoints="1"/>
            </p:cNvSpPr>
            <p:nvPr/>
          </p:nvSpPr>
          <p:spPr bwMode="auto">
            <a:xfrm>
              <a:off x="3278" y="905"/>
              <a:ext cx="1094" cy="122"/>
            </a:xfrm>
            <a:custGeom>
              <a:avLst/>
              <a:gdLst>
                <a:gd name="T0" fmla="*/ 546 w 578"/>
                <a:gd name="T1" fmla="*/ 0 h 64"/>
                <a:gd name="T2" fmla="*/ 32 w 578"/>
                <a:gd name="T3" fmla="*/ 0 h 64"/>
                <a:gd name="T4" fmla="*/ 0 w 578"/>
                <a:gd name="T5" fmla="*/ 32 h 64"/>
                <a:gd name="T6" fmla="*/ 32 w 578"/>
                <a:gd name="T7" fmla="*/ 64 h 64"/>
                <a:gd name="T8" fmla="*/ 546 w 578"/>
                <a:gd name="T9" fmla="*/ 64 h 64"/>
                <a:gd name="T10" fmla="*/ 578 w 578"/>
                <a:gd name="T11" fmla="*/ 32 h 64"/>
                <a:gd name="T12" fmla="*/ 546 w 578"/>
                <a:gd name="T13" fmla="*/ 0 h 64"/>
                <a:gd name="T14" fmla="*/ 546 w 578"/>
                <a:gd name="T15" fmla="*/ 0 h 64"/>
                <a:gd name="T16" fmla="*/ 546 w 578"/>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8" h="64">
                  <a:moveTo>
                    <a:pt x="546" y="0"/>
                  </a:moveTo>
                  <a:cubicBezTo>
                    <a:pt x="32" y="0"/>
                    <a:pt x="32" y="0"/>
                    <a:pt x="32" y="0"/>
                  </a:cubicBezTo>
                  <a:cubicBezTo>
                    <a:pt x="14" y="0"/>
                    <a:pt x="0" y="14"/>
                    <a:pt x="0" y="32"/>
                  </a:cubicBezTo>
                  <a:cubicBezTo>
                    <a:pt x="0" y="50"/>
                    <a:pt x="14" y="64"/>
                    <a:pt x="32" y="64"/>
                  </a:cubicBezTo>
                  <a:cubicBezTo>
                    <a:pt x="546" y="64"/>
                    <a:pt x="546" y="64"/>
                    <a:pt x="546" y="64"/>
                  </a:cubicBezTo>
                  <a:cubicBezTo>
                    <a:pt x="564" y="64"/>
                    <a:pt x="578" y="50"/>
                    <a:pt x="578" y="32"/>
                  </a:cubicBezTo>
                  <a:cubicBezTo>
                    <a:pt x="578" y="14"/>
                    <a:pt x="564" y="0"/>
                    <a:pt x="546" y="0"/>
                  </a:cubicBezTo>
                  <a:close/>
                  <a:moveTo>
                    <a:pt x="546" y="0"/>
                  </a:moveTo>
                  <a:cubicBezTo>
                    <a:pt x="546" y="0"/>
                    <a:pt x="546" y="0"/>
                    <a:pt x="5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91"/>
            <p:cNvSpPr>
              <a:spLocks noEditPoints="1"/>
            </p:cNvSpPr>
            <p:nvPr/>
          </p:nvSpPr>
          <p:spPr bwMode="auto">
            <a:xfrm>
              <a:off x="3278" y="1195"/>
              <a:ext cx="1094" cy="121"/>
            </a:xfrm>
            <a:custGeom>
              <a:avLst/>
              <a:gdLst>
                <a:gd name="T0" fmla="*/ 546 w 578"/>
                <a:gd name="T1" fmla="*/ 0 h 64"/>
                <a:gd name="T2" fmla="*/ 32 w 578"/>
                <a:gd name="T3" fmla="*/ 0 h 64"/>
                <a:gd name="T4" fmla="*/ 0 w 578"/>
                <a:gd name="T5" fmla="*/ 32 h 64"/>
                <a:gd name="T6" fmla="*/ 32 w 578"/>
                <a:gd name="T7" fmla="*/ 64 h 64"/>
                <a:gd name="T8" fmla="*/ 546 w 578"/>
                <a:gd name="T9" fmla="*/ 64 h 64"/>
                <a:gd name="T10" fmla="*/ 578 w 578"/>
                <a:gd name="T11" fmla="*/ 32 h 64"/>
                <a:gd name="T12" fmla="*/ 546 w 578"/>
                <a:gd name="T13" fmla="*/ 0 h 64"/>
                <a:gd name="T14" fmla="*/ 546 w 578"/>
                <a:gd name="T15" fmla="*/ 0 h 64"/>
                <a:gd name="T16" fmla="*/ 546 w 578"/>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8" h="64">
                  <a:moveTo>
                    <a:pt x="546" y="0"/>
                  </a:moveTo>
                  <a:cubicBezTo>
                    <a:pt x="32" y="0"/>
                    <a:pt x="32" y="0"/>
                    <a:pt x="32" y="0"/>
                  </a:cubicBezTo>
                  <a:cubicBezTo>
                    <a:pt x="14" y="0"/>
                    <a:pt x="0" y="15"/>
                    <a:pt x="0" y="32"/>
                  </a:cubicBezTo>
                  <a:cubicBezTo>
                    <a:pt x="0" y="50"/>
                    <a:pt x="14" y="64"/>
                    <a:pt x="32" y="64"/>
                  </a:cubicBezTo>
                  <a:cubicBezTo>
                    <a:pt x="546" y="64"/>
                    <a:pt x="546" y="64"/>
                    <a:pt x="546" y="64"/>
                  </a:cubicBezTo>
                  <a:cubicBezTo>
                    <a:pt x="564" y="64"/>
                    <a:pt x="578" y="50"/>
                    <a:pt x="578" y="32"/>
                  </a:cubicBezTo>
                  <a:cubicBezTo>
                    <a:pt x="578" y="15"/>
                    <a:pt x="564" y="0"/>
                    <a:pt x="546" y="0"/>
                  </a:cubicBezTo>
                  <a:close/>
                  <a:moveTo>
                    <a:pt x="546" y="0"/>
                  </a:moveTo>
                  <a:cubicBezTo>
                    <a:pt x="546" y="0"/>
                    <a:pt x="546" y="0"/>
                    <a:pt x="5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92"/>
            <p:cNvSpPr>
              <a:spLocks noEditPoints="1"/>
            </p:cNvSpPr>
            <p:nvPr/>
          </p:nvSpPr>
          <p:spPr bwMode="auto">
            <a:xfrm>
              <a:off x="2282" y="2625"/>
              <a:ext cx="895" cy="895"/>
            </a:xfrm>
            <a:custGeom>
              <a:avLst/>
              <a:gdLst>
                <a:gd name="T0" fmla="*/ 377 w 473"/>
                <a:gd name="T1" fmla="*/ 0 h 473"/>
                <a:gd name="T2" fmla="*/ 96 w 473"/>
                <a:gd name="T3" fmla="*/ 0 h 473"/>
                <a:gd name="T4" fmla="*/ 0 w 473"/>
                <a:gd name="T5" fmla="*/ 96 h 473"/>
                <a:gd name="T6" fmla="*/ 0 w 473"/>
                <a:gd name="T7" fmla="*/ 377 h 473"/>
                <a:gd name="T8" fmla="*/ 96 w 473"/>
                <a:gd name="T9" fmla="*/ 473 h 473"/>
                <a:gd name="T10" fmla="*/ 377 w 473"/>
                <a:gd name="T11" fmla="*/ 473 h 473"/>
                <a:gd name="T12" fmla="*/ 473 w 473"/>
                <a:gd name="T13" fmla="*/ 377 h 473"/>
                <a:gd name="T14" fmla="*/ 473 w 473"/>
                <a:gd name="T15" fmla="*/ 96 h 473"/>
                <a:gd name="T16" fmla="*/ 377 w 473"/>
                <a:gd name="T17" fmla="*/ 0 h 473"/>
                <a:gd name="T18" fmla="*/ 409 w 473"/>
                <a:gd name="T19" fmla="*/ 377 h 473"/>
                <a:gd name="T20" fmla="*/ 377 w 473"/>
                <a:gd name="T21" fmla="*/ 409 h 473"/>
                <a:gd name="T22" fmla="*/ 96 w 473"/>
                <a:gd name="T23" fmla="*/ 409 h 473"/>
                <a:gd name="T24" fmla="*/ 64 w 473"/>
                <a:gd name="T25" fmla="*/ 377 h 473"/>
                <a:gd name="T26" fmla="*/ 64 w 473"/>
                <a:gd name="T27" fmla="*/ 96 h 473"/>
                <a:gd name="T28" fmla="*/ 96 w 473"/>
                <a:gd name="T29" fmla="*/ 64 h 473"/>
                <a:gd name="T30" fmla="*/ 377 w 473"/>
                <a:gd name="T31" fmla="*/ 64 h 473"/>
                <a:gd name="T32" fmla="*/ 409 w 473"/>
                <a:gd name="T33" fmla="*/ 96 h 473"/>
                <a:gd name="T34" fmla="*/ 409 w 473"/>
                <a:gd name="T35" fmla="*/ 377 h 473"/>
                <a:gd name="T36" fmla="*/ 409 w 473"/>
                <a:gd name="T37" fmla="*/ 377 h 473"/>
                <a:gd name="T38" fmla="*/ 409 w 473"/>
                <a:gd name="T39" fmla="*/ 377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3" h="473">
                  <a:moveTo>
                    <a:pt x="377" y="0"/>
                  </a:moveTo>
                  <a:cubicBezTo>
                    <a:pt x="96" y="0"/>
                    <a:pt x="96" y="0"/>
                    <a:pt x="96" y="0"/>
                  </a:cubicBezTo>
                  <a:cubicBezTo>
                    <a:pt x="43" y="0"/>
                    <a:pt x="0" y="43"/>
                    <a:pt x="0" y="96"/>
                  </a:cubicBezTo>
                  <a:cubicBezTo>
                    <a:pt x="0" y="377"/>
                    <a:pt x="0" y="377"/>
                    <a:pt x="0" y="377"/>
                  </a:cubicBezTo>
                  <a:cubicBezTo>
                    <a:pt x="0" y="430"/>
                    <a:pt x="43" y="473"/>
                    <a:pt x="96" y="473"/>
                  </a:cubicBezTo>
                  <a:cubicBezTo>
                    <a:pt x="377" y="473"/>
                    <a:pt x="377" y="473"/>
                    <a:pt x="377" y="473"/>
                  </a:cubicBezTo>
                  <a:cubicBezTo>
                    <a:pt x="430" y="473"/>
                    <a:pt x="473" y="430"/>
                    <a:pt x="473" y="377"/>
                  </a:cubicBezTo>
                  <a:cubicBezTo>
                    <a:pt x="473" y="96"/>
                    <a:pt x="473" y="96"/>
                    <a:pt x="473" y="96"/>
                  </a:cubicBezTo>
                  <a:cubicBezTo>
                    <a:pt x="473" y="43"/>
                    <a:pt x="430" y="0"/>
                    <a:pt x="377" y="0"/>
                  </a:cubicBezTo>
                  <a:close/>
                  <a:moveTo>
                    <a:pt x="409" y="377"/>
                  </a:moveTo>
                  <a:cubicBezTo>
                    <a:pt x="409" y="395"/>
                    <a:pt x="395" y="409"/>
                    <a:pt x="377" y="409"/>
                  </a:cubicBezTo>
                  <a:cubicBezTo>
                    <a:pt x="96" y="409"/>
                    <a:pt x="96" y="409"/>
                    <a:pt x="96" y="409"/>
                  </a:cubicBezTo>
                  <a:cubicBezTo>
                    <a:pt x="78" y="409"/>
                    <a:pt x="64" y="395"/>
                    <a:pt x="64" y="377"/>
                  </a:cubicBezTo>
                  <a:cubicBezTo>
                    <a:pt x="64" y="96"/>
                    <a:pt x="64" y="96"/>
                    <a:pt x="64" y="96"/>
                  </a:cubicBezTo>
                  <a:cubicBezTo>
                    <a:pt x="64" y="78"/>
                    <a:pt x="78" y="64"/>
                    <a:pt x="96" y="64"/>
                  </a:cubicBezTo>
                  <a:cubicBezTo>
                    <a:pt x="377" y="64"/>
                    <a:pt x="377" y="64"/>
                    <a:pt x="377" y="64"/>
                  </a:cubicBezTo>
                  <a:cubicBezTo>
                    <a:pt x="395" y="64"/>
                    <a:pt x="409" y="78"/>
                    <a:pt x="409" y="96"/>
                  </a:cubicBezTo>
                  <a:lnTo>
                    <a:pt x="409" y="377"/>
                  </a:lnTo>
                  <a:close/>
                  <a:moveTo>
                    <a:pt x="409" y="377"/>
                  </a:moveTo>
                  <a:cubicBezTo>
                    <a:pt x="409" y="377"/>
                    <a:pt x="409" y="377"/>
                    <a:pt x="409" y="3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93"/>
            <p:cNvSpPr>
              <a:spLocks noEditPoints="1"/>
            </p:cNvSpPr>
            <p:nvPr/>
          </p:nvSpPr>
          <p:spPr bwMode="auto">
            <a:xfrm>
              <a:off x="3386" y="2625"/>
              <a:ext cx="895" cy="895"/>
            </a:xfrm>
            <a:custGeom>
              <a:avLst/>
              <a:gdLst>
                <a:gd name="T0" fmla="*/ 377 w 473"/>
                <a:gd name="T1" fmla="*/ 0 h 473"/>
                <a:gd name="T2" fmla="*/ 95 w 473"/>
                <a:gd name="T3" fmla="*/ 0 h 473"/>
                <a:gd name="T4" fmla="*/ 0 w 473"/>
                <a:gd name="T5" fmla="*/ 96 h 473"/>
                <a:gd name="T6" fmla="*/ 0 w 473"/>
                <a:gd name="T7" fmla="*/ 377 h 473"/>
                <a:gd name="T8" fmla="*/ 95 w 473"/>
                <a:gd name="T9" fmla="*/ 473 h 473"/>
                <a:gd name="T10" fmla="*/ 377 w 473"/>
                <a:gd name="T11" fmla="*/ 473 h 473"/>
                <a:gd name="T12" fmla="*/ 473 w 473"/>
                <a:gd name="T13" fmla="*/ 377 h 473"/>
                <a:gd name="T14" fmla="*/ 473 w 473"/>
                <a:gd name="T15" fmla="*/ 96 h 473"/>
                <a:gd name="T16" fmla="*/ 377 w 473"/>
                <a:gd name="T17" fmla="*/ 0 h 473"/>
                <a:gd name="T18" fmla="*/ 409 w 473"/>
                <a:gd name="T19" fmla="*/ 377 h 473"/>
                <a:gd name="T20" fmla="*/ 377 w 473"/>
                <a:gd name="T21" fmla="*/ 409 h 473"/>
                <a:gd name="T22" fmla="*/ 95 w 473"/>
                <a:gd name="T23" fmla="*/ 409 h 473"/>
                <a:gd name="T24" fmla="*/ 63 w 473"/>
                <a:gd name="T25" fmla="*/ 377 h 473"/>
                <a:gd name="T26" fmla="*/ 63 w 473"/>
                <a:gd name="T27" fmla="*/ 96 h 473"/>
                <a:gd name="T28" fmla="*/ 95 w 473"/>
                <a:gd name="T29" fmla="*/ 64 h 473"/>
                <a:gd name="T30" fmla="*/ 377 w 473"/>
                <a:gd name="T31" fmla="*/ 64 h 473"/>
                <a:gd name="T32" fmla="*/ 409 w 473"/>
                <a:gd name="T33" fmla="*/ 96 h 473"/>
                <a:gd name="T34" fmla="*/ 409 w 473"/>
                <a:gd name="T35" fmla="*/ 377 h 473"/>
                <a:gd name="T36" fmla="*/ 409 w 473"/>
                <a:gd name="T37" fmla="*/ 377 h 473"/>
                <a:gd name="T38" fmla="*/ 409 w 473"/>
                <a:gd name="T39" fmla="*/ 377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3" h="473">
                  <a:moveTo>
                    <a:pt x="377" y="0"/>
                  </a:moveTo>
                  <a:cubicBezTo>
                    <a:pt x="95" y="0"/>
                    <a:pt x="95" y="0"/>
                    <a:pt x="95" y="0"/>
                  </a:cubicBezTo>
                  <a:cubicBezTo>
                    <a:pt x="43" y="0"/>
                    <a:pt x="0" y="43"/>
                    <a:pt x="0" y="96"/>
                  </a:cubicBezTo>
                  <a:cubicBezTo>
                    <a:pt x="0" y="377"/>
                    <a:pt x="0" y="377"/>
                    <a:pt x="0" y="377"/>
                  </a:cubicBezTo>
                  <a:cubicBezTo>
                    <a:pt x="0" y="430"/>
                    <a:pt x="43" y="473"/>
                    <a:pt x="95" y="473"/>
                  </a:cubicBezTo>
                  <a:cubicBezTo>
                    <a:pt x="377" y="473"/>
                    <a:pt x="377" y="473"/>
                    <a:pt x="377" y="473"/>
                  </a:cubicBezTo>
                  <a:cubicBezTo>
                    <a:pt x="430" y="473"/>
                    <a:pt x="473" y="430"/>
                    <a:pt x="473" y="377"/>
                  </a:cubicBezTo>
                  <a:cubicBezTo>
                    <a:pt x="473" y="96"/>
                    <a:pt x="473" y="96"/>
                    <a:pt x="473" y="96"/>
                  </a:cubicBezTo>
                  <a:cubicBezTo>
                    <a:pt x="473" y="43"/>
                    <a:pt x="430" y="0"/>
                    <a:pt x="377" y="0"/>
                  </a:cubicBezTo>
                  <a:close/>
                  <a:moveTo>
                    <a:pt x="409" y="377"/>
                  </a:moveTo>
                  <a:cubicBezTo>
                    <a:pt x="409" y="395"/>
                    <a:pt x="395" y="409"/>
                    <a:pt x="377" y="409"/>
                  </a:cubicBezTo>
                  <a:cubicBezTo>
                    <a:pt x="95" y="409"/>
                    <a:pt x="95" y="409"/>
                    <a:pt x="95" y="409"/>
                  </a:cubicBezTo>
                  <a:cubicBezTo>
                    <a:pt x="78" y="409"/>
                    <a:pt x="63" y="395"/>
                    <a:pt x="63" y="377"/>
                  </a:cubicBezTo>
                  <a:cubicBezTo>
                    <a:pt x="63" y="96"/>
                    <a:pt x="63" y="96"/>
                    <a:pt x="63" y="96"/>
                  </a:cubicBezTo>
                  <a:cubicBezTo>
                    <a:pt x="63" y="78"/>
                    <a:pt x="78" y="64"/>
                    <a:pt x="95" y="64"/>
                  </a:cubicBezTo>
                  <a:cubicBezTo>
                    <a:pt x="377" y="64"/>
                    <a:pt x="377" y="64"/>
                    <a:pt x="377" y="64"/>
                  </a:cubicBezTo>
                  <a:cubicBezTo>
                    <a:pt x="395" y="64"/>
                    <a:pt x="409" y="78"/>
                    <a:pt x="409" y="96"/>
                  </a:cubicBezTo>
                  <a:lnTo>
                    <a:pt x="409" y="377"/>
                  </a:lnTo>
                  <a:close/>
                  <a:moveTo>
                    <a:pt x="409" y="377"/>
                  </a:moveTo>
                  <a:cubicBezTo>
                    <a:pt x="409" y="377"/>
                    <a:pt x="409" y="377"/>
                    <a:pt x="409" y="3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94"/>
            <p:cNvSpPr>
              <a:spLocks noEditPoints="1"/>
            </p:cNvSpPr>
            <p:nvPr/>
          </p:nvSpPr>
          <p:spPr bwMode="auto">
            <a:xfrm>
              <a:off x="4487" y="2625"/>
              <a:ext cx="896" cy="895"/>
            </a:xfrm>
            <a:custGeom>
              <a:avLst/>
              <a:gdLst>
                <a:gd name="T0" fmla="*/ 377 w 473"/>
                <a:gd name="T1" fmla="*/ 0 h 473"/>
                <a:gd name="T2" fmla="*/ 96 w 473"/>
                <a:gd name="T3" fmla="*/ 0 h 473"/>
                <a:gd name="T4" fmla="*/ 0 w 473"/>
                <a:gd name="T5" fmla="*/ 96 h 473"/>
                <a:gd name="T6" fmla="*/ 0 w 473"/>
                <a:gd name="T7" fmla="*/ 377 h 473"/>
                <a:gd name="T8" fmla="*/ 96 w 473"/>
                <a:gd name="T9" fmla="*/ 473 h 473"/>
                <a:gd name="T10" fmla="*/ 377 w 473"/>
                <a:gd name="T11" fmla="*/ 473 h 473"/>
                <a:gd name="T12" fmla="*/ 473 w 473"/>
                <a:gd name="T13" fmla="*/ 377 h 473"/>
                <a:gd name="T14" fmla="*/ 473 w 473"/>
                <a:gd name="T15" fmla="*/ 96 h 473"/>
                <a:gd name="T16" fmla="*/ 377 w 473"/>
                <a:gd name="T17" fmla="*/ 0 h 473"/>
                <a:gd name="T18" fmla="*/ 409 w 473"/>
                <a:gd name="T19" fmla="*/ 377 h 473"/>
                <a:gd name="T20" fmla="*/ 377 w 473"/>
                <a:gd name="T21" fmla="*/ 409 h 473"/>
                <a:gd name="T22" fmla="*/ 96 w 473"/>
                <a:gd name="T23" fmla="*/ 409 h 473"/>
                <a:gd name="T24" fmla="*/ 64 w 473"/>
                <a:gd name="T25" fmla="*/ 377 h 473"/>
                <a:gd name="T26" fmla="*/ 64 w 473"/>
                <a:gd name="T27" fmla="*/ 96 h 473"/>
                <a:gd name="T28" fmla="*/ 96 w 473"/>
                <a:gd name="T29" fmla="*/ 64 h 473"/>
                <a:gd name="T30" fmla="*/ 377 w 473"/>
                <a:gd name="T31" fmla="*/ 64 h 473"/>
                <a:gd name="T32" fmla="*/ 409 w 473"/>
                <a:gd name="T33" fmla="*/ 96 h 473"/>
                <a:gd name="T34" fmla="*/ 409 w 473"/>
                <a:gd name="T35" fmla="*/ 377 h 473"/>
                <a:gd name="T36" fmla="*/ 409 w 473"/>
                <a:gd name="T37" fmla="*/ 377 h 473"/>
                <a:gd name="T38" fmla="*/ 409 w 473"/>
                <a:gd name="T39" fmla="*/ 377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3" h="473">
                  <a:moveTo>
                    <a:pt x="377" y="0"/>
                  </a:moveTo>
                  <a:cubicBezTo>
                    <a:pt x="96" y="0"/>
                    <a:pt x="96" y="0"/>
                    <a:pt x="96" y="0"/>
                  </a:cubicBezTo>
                  <a:cubicBezTo>
                    <a:pt x="43" y="0"/>
                    <a:pt x="0" y="43"/>
                    <a:pt x="0" y="96"/>
                  </a:cubicBezTo>
                  <a:cubicBezTo>
                    <a:pt x="0" y="377"/>
                    <a:pt x="0" y="377"/>
                    <a:pt x="0" y="377"/>
                  </a:cubicBezTo>
                  <a:cubicBezTo>
                    <a:pt x="0" y="430"/>
                    <a:pt x="43" y="473"/>
                    <a:pt x="96" y="473"/>
                  </a:cubicBezTo>
                  <a:cubicBezTo>
                    <a:pt x="377" y="473"/>
                    <a:pt x="377" y="473"/>
                    <a:pt x="377" y="473"/>
                  </a:cubicBezTo>
                  <a:cubicBezTo>
                    <a:pt x="430" y="473"/>
                    <a:pt x="473" y="430"/>
                    <a:pt x="473" y="377"/>
                  </a:cubicBezTo>
                  <a:cubicBezTo>
                    <a:pt x="473" y="96"/>
                    <a:pt x="473" y="96"/>
                    <a:pt x="473" y="96"/>
                  </a:cubicBezTo>
                  <a:cubicBezTo>
                    <a:pt x="473" y="43"/>
                    <a:pt x="430" y="0"/>
                    <a:pt x="377" y="0"/>
                  </a:cubicBezTo>
                  <a:close/>
                  <a:moveTo>
                    <a:pt x="409" y="377"/>
                  </a:moveTo>
                  <a:cubicBezTo>
                    <a:pt x="409" y="395"/>
                    <a:pt x="395" y="409"/>
                    <a:pt x="377" y="409"/>
                  </a:cubicBezTo>
                  <a:cubicBezTo>
                    <a:pt x="96" y="409"/>
                    <a:pt x="96" y="409"/>
                    <a:pt x="96" y="409"/>
                  </a:cubicBezTo>
                  <a:cubicBezTo>
                    <a:pt x="78" y="409"/>
                    <a:pt x="64" y="395"/>
                    <a:pt x="64" y="377"/>
                  </a:cubicBezTo>
                  <a:cubicBezTo>
                    <a:pt x="64" y="96"/>
                    <a:pt x="64" y="96"/>
                    <a:pt x="64" y="96"/>
                  </a:cubicBezTo>
                  <a:cubicBezTo>
                    <a:pt x="64" y="78"/>
                    <a:pt x="78" y="64"/>
                    <a:pt x="96" y="64"/>
                  </a:cubicBezTo>
                  <a:cubicBezTo>
                    <a:pt x="377" y="64"/>
                    <a:pt x="377" y="64"/>
                    <a:pt x="377" y="64"/>
                  </a:cubicBezTo>
                  <a:cubicBezTo>
                    <a:pt x="395" y="64"/>
                    <a:pt x="409" y="78"/>
                    <a:pt x="409" y="96"/>
                  </a:cubicBezTo>
                  <a:lnTo>
                    <a:pt x="409" y="377"/>
                  </a:lnTo>
                  <a:close/>
                  <a:moveTo>
                    <a:pt x="409" y="377"/>
                  </a:moveTo>
                  <a:cubicBezTo>
                    <a:pt x="409" y="377"/>
                    <a:pt x="409" y="377"/>
                    <a:pt x="409" y="3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95"/>
            <p:cNvSpPr>
              <a:spLocks noEditPoints="1"/>
            </p:cNvSpPr>
            <p:nvPr/>
          </p:nvSpPr>
          <p:spPr bwMode="auto">
            <a:xfrm>
              <a:off x="3444" y="2019"/>
              <a:ext cx="1553" cy="505"/>
            </a:xfrm>
            <a:custGeom>
              <a:avLst/>
              <a:gdLst>
                <a:gd name="T0" fmla="*/ 756 w 820"/>
                <a:gd name="T1" fmla="*/ 71 h 267"/>
                <a:gd name="T2" fmla="*/ 237 w 820"/>
                <a:gd name="T3" fmla="*/ 71 h 267"/>
                <a:gd name="T4" fmla="*/ 237 w 820"/>
                <a:gd name="T5" fmla="*/ 32 h 267"/>
                <a:gd name="T6" fmla="*/ 205 w 820"/>
                <a:gd name="T7" fmla="*/ 0 h 267"/>
                <a:gd name="T8" fmla="*/ 173 w 820"/>
                <a:gd name="T9" fmla="*/ 32 h 267"/>
                <a:gd name="T10" fmla="*/ 173 w 820"/>
                <a:gd name="T11" fmla="*/ 71 h 267"/>
                <a:gd name="T12" fmla="*/ 32 w 820"/>
                <a:gd name="T13" fmla="*/ 71 h 267"/>
                <a:gd name="T14" fmla="*/ 0 w 820"/>
                <a:gd name="T15" fmla="*/ 103 h 267"/>
                <a:gd name="T16" fmla="*/ 32 w 820"/>
                <a:gd name="T17" fmla="*/ 135 h 267"/>
                <a:gd name="T18" fmla="*/ 173 w 820"/>
                <a:gd name="T19" fmla="*/ 135 h 267"/>
                <a:gd name="T20" fmla="*/ 173 w 820"/>
                <a:gd name="T21" fmla="*/ 222 h 267"/>
                <a:gd name="T22" fmla="*/ 205 w 820"/>
                <a:gd name="T23" fmla="*/ 254 h 267"/>
                <a:gd name="T24" fmla="*/ 237 w 820"/>
                <a:gd name="T25" fmla="*/ 222 h 267"/>
                <a:gd name="T26" fmla="*/ 237 w 820"/>
                <a:gd name="T27" fmla="*/ 135 h 267"/>
                <a:gd name="T28" fmla="*/ 756 w 820"/>
                <a:gd name="T29" fmla="*/ 135 h 267"/>
                <a:gd name="T30" fmla="*/ 756 w 820"/>
                <a:gd name="T31" fmla="*/ 235 h 267"/>
                <a:gd name="T32" fmla="*/ 788 w 820"/>
                <a:gd name="T33" fmla="*/ 267 h 267"/>
                <a:gd name="T34" fmla="*/ 820 w 820"/>
                <a:gd name="T35" fmla="*/ 235 h 267"/>
                <a:gd name="T36" fmla="*/ 820 w 820"/>
                <a:gd name="T37" fmla="*/ 135 h 267"/>
                <a:gd name="T38" fmla="*/ 756 w 820"/>
                <a:gd name="T39" fmla="*/ 71 h 267"/>
                <a:gd name="T40" fmla="*/ 756 w 820"/>
                <a:gd name="T41" fmla="*/ 71 h 267"/>
                <a:gd name="T42" fmla="*/ 756 w 820"/>
                <a:gd name="T43" fmla="*/ 71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0" h="267">
                  <a:moveTo>
                    <a:pt x="756" y="71"/>
                  </a:moveTo>
                  <a:cubicBezTo>
                    <a:pt x="237" y="71"/>
                    <a:pt x="237" y="71"/>
                    <a:pt x="237" y="71"/>
                  </a:cubicBezTo>
                  <a:cubicBezTo>
                    <a:pt x="237" y="32"/>
                    <a:pt x="237" y="32"/>
                    <a:pt x="237" y="32"/>
                  </a:cubicBezTo>
                  <a:cubicBezTo>
                    <a:pt x="237" y="15"/>
                    <a:pt x="223" y="0"/>
                    <a:pt x="205" y="0"/>
                  </a:cubicBezTo>
                  <a:cubicBezTo>
                    <a:pt x="188" y="0"/>
                    <a:pt x="173" y="15"/>
                    <a:pt x="173" y="32"/>
                  </a:cubicBezTo>
                  <a:cubicBezTo>
                    <a:pt x="173" y="71"/>
                    <a:pt x="173" y="71"/>
                    <a:pt x="173" y="71"/>
                  </a:cubicBezTo>
                  <a:cubicBezTo>
                    <a:pt x="32" y="71"/>
                    <a:pt x="32" y="71"/>
                    <a:pt x="32" y="71"/>
                  </a:cubicBezTo>
                  <a:cubicBezTo>
                    <a:pt x="14" y="71"/>
                    <a:pt x="0" y="86"/>
                    <a:pt x="0" y="103"/>
                  </a:cubicBezTo>
                  <a:cubicBezTo>
                    <a:pt x="0" y="121"/>
                    <a:pt x="14" y="135"/>
                    <a:pt x="32" y="135"/>
                  </a:cubicBezTo>
                  <a:cubicBezTo>
                    <a:pt x="173" y="135"/>
                    <a:pt x="173" y="135"/>
                    <a:pt x="173" y="135"/>
                  </a:cubicBezTo>
                  <a:cubicBezTo>
                    <a:pt x="173" y="222"/>
                    <a:pt x="173" y="222"/>
                    <a:pt x="173" y="222"/>
                  </a:cubicBezTo>
                  <a:cubicBezTo>
                    <a:pt x="173" y="240"/>
                    <a:pt x="188" y="254"/>
                    <a:pt x="205" y="254"/>
                  </a:cubicBezTo>
                  <a:cubicBezTo>
                    <a:pt x="223" y="254"/>
                    <a:pt x="237" y="240"/>
                    <a:pt x="237" y="222"/>
                  </a:cubicBezTo>
                  <a:cubicBezTo>
                    <a:pt x="237" y="135"/>
                    <a:pt x="237" y="135"/>
                    <a:pt x="237" y="135"/>
                  </a:cubicBezTo>
                  <a:cubicBezTo>
                    <a:pt x="756" y="135"/>
                    <a:pt x="756" y="135"/>
                    <a:pt x="756" y="135"/>
                  </a:cubicBezTo>
                  <a:cubicBezTo>
                    <a:pt x="756" y="235"/>
                    <a:pt x="756" y="235"/>
                    <a:pt x="756" y="235"/>
                  </a:cubicBezTo>
                  <a:cubicBezTo>
                    <a:pt x="756" y="253"/>
                    <a:pt x="770" y="267"/>
                    <a:pt x="788" y="267"/>
                  </a:cubicBezTo>
                  <a:cubicBezTo>
                    <a:pt x="805" y="267"/>
                    <a:pt x="820" y="253"/>
                    <a:pt x="820" y="235"/>
                  </a:cubicBezTo>
                  <a:cubicBezTo>
                    <a:pt x="820" y="135"/>
                    <a:pt x="820" y="135"/>
                    <a:pt x="820" y="135"/>
                  </a:cubicBezTo>
                  <a:cubicBezTo>
                    <a:pt x="820" y="100"/>
                    <a:pt x="791" y="71"/>
                    <a:pt x="756" y="71"/>
                  </a:cubicBezTo>
                  <a:close/>
                  <a:moveTo>
                    <a:pt x="756" y="71"/>
                  </a:moveTo>
                  <a:cubicBezTo>
                    <a:pt x="756" y="71"/>
                    <a:pt x="756" y="71"/>
                    <a:pt x="756" y="7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96"/>
            <p:cNvSpPr>
              <a:spLocks noEditPoints="1"/>
            </p:cNvSpPr>
            <p:nvPr/>
          </p:nvSpPr>
          <p:spPr bwMode="auto">
            <a:xfrm>
              <a:off x="2670" y="2153"/>
              <a:ext cx="447" cy="371"/>
            </a:xfrm>
            <a:custGeom>
              <a:avLst/>
              <a:gdLst>
                <a:gd name="T0" fmla="*/ 204 w 236"/>
                <a:gd name="T1" fmla="*/ 0 h 196"/>
                <a:gd name="T2" fmla="*/ 64 w 236"/>
                <a:gd name="T3" fmla="*/ 0 h 196"/>
                <a:gd name="T4" fmla="*/ 0 w 236"/>
                <a:gd name="T5" fmla="*/ 64 h 196"/>
                <a:gd name="T6" fmla="*/ 0 w 236"/>
                <a:gd name="T7" fmla="*/ 164 h 196"/>
                <a:gd name="T8" fmla="*/ 32 w 236"/>
                <a:gd name="T9" fmla="*/ 196 h 196"/>
                <a:gd name="T10" fmla="*/ 64 w 236"/>
                <a:gd name="T11" fmla="*/ 164 h 196"/>
                <a:gd name="T12" fmla="*/ 64 w 236"/>
                <a:gd name="T13" fmla="*/ 64 h 196"/>
                <a:gd name="T14" fmla="*/ 204 w 236"/>
                <a:gd name="T15" fmla="*/ 64 h 196"/>
                <a:gd name="T16" fmla="*/ 236 w 236"/>
                <a:gd name="T17" fmla="*/ 32 h 196"/>
                <a:gd name="T18" fmla="*/ 204 w 236"/>
                <a:gd name="T19" fmla="*/ 0 h 196"/>
                <a:gd name="T20" fmla="*/ 204 w 236"/>
                <a:gd name="T21" fmla="*/ 0 h 196"/>
                <a:gd name="T22" fmla="*/ 204 w 236"/>
                <a:gd name="T2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 h="196">
                  <a:moveTo>
                    <a:pt x="204" y="0"/>
                  </a:moveTo>
                  <a:cubicBezTo>
                    <a:pt x="64" y="0"/>
                    <a:pt x="64" y="0"/>
                    <a:pt x="64" y="0"/>
                  </a:cubicBezTo>
                  <a:cubicBezTo>
                    <a:pt x="28" y="0"/>
                    <a:pt x="0" y="29"/>
                    <a:pt x="0" y="64"/>
                  </a:cubicBezTo>
                  <a:cubicBezTo>
                    <a:pt x="0" y="164"/>
                    <a:pt x="0" y="164"/>
                    <a:pt x="0" y="164"/>
                  </a:cubicBezTo>
                  <a:cubicBezTo>
                    <a:pt x="0" y="182"/>
                    <a:pt x="14" y="196"/>
                    <a:pt x="32" y="196"/>
                  </a:cubicBezTo>
                  <a:cubicBezTo>
                    <a:pt x="49" y="196"/>
                    <a:pt x="64" y="182"/>
                    <a:pt x="64" y="164"/>
                  </a:cubicBezTo>
                  <a:cubicBezTo>
                    <a:pt x="64" y="64"/>
                    <a:pt x="64" y="64"/>
                    <a:pt x="64" y="64"/>
                  </a:cubicBezTo>
                  <a:cubicBezTo>
                    <a:pt x="204" y="64"/>
                    <a:pt x="204" y="64"/>
                    <a:pt x="204" y="64"/>
                  </a:cubicBezTo>
                  <a:cubicBezTo>
                    <a:pt x="222" y="64"/>
                    <a:pt x="236" y="50"/>
                    <a:pt x="236" y="32"/>
                  </a:cubicBezTo>
                  <a:cubicBezTo>
                    <a:pt x="236" y="15"/>
                    <a:pt x="222" y="0"/>
                    <a:pt x="204" y="0"/>
                  </a:cubicBezTo>
                  <a:close/>
                  <a:moveTo>
                    <a:pt x="204" y="0"/>
                  </a:moveTo>
                  <a:cubicBezTo>
                    <a:pt x="204" y="0"/>
                    <a:pt x="204" y="0"/>
                    <a:pt x="20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97"/>
            <p:cNvSpPr>
              <a:spLocks noEditPoints="1"/>
            </p:cNvSpPr>
            <p:nvPr/>
          </p:nvSpPr>
          <p:spPr bwMode="auto">
            <a:xfrm>
              <a:off x="3217" y="2153"/>
              <a:ext cx="121" cy="121"/>
            </a:xfrm>
            <a:custGeom>
              <a:avLst/>
              <a:gdLst>
                <a:gd name="T0" fmla="*/ 55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0" y="0"/>
                    <a:pt x="32" y="0"/>
                  </a:cubicBezTo>
                  <a:cubicBezTo>
                    <a:pt x="24" y="0"/>
                    <a:pt x="15" y="4"/>
                    <a:pt x="9" y="10"/>
                  </a:cubicBezTo>
                  <a:cubicBezTo>
                    <a:pt x="4" y="16"/>
                    <a:pt x="0" y="24"/>
                    <a:pt x="0" y="32"/>
                  </a:cubicBezTo>
                  <a:cubicBezTo>
                    <a:pt x="0" y="41"/>
                    <a:pt x="4" y="49"/>
                    <a:pt x="9" y="55"/>
                  </a:cubicBezTo>
                  <a:cubicBezTo>
                    <a:pt x="15" y="61"/>
                    <a:pt x="24" y="64"/>
                    <a:pt x="32" y="64"/>
                  </a:cubicBezTo>
                  <a:cubicBezTo>
                    <a:pt x="40"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9" name="Group 385"/>
          <p:cNvGrpSpPr>
            <a:grpSpLocks noChangeAspect="1"/>
          </p:cNvGrpSpPr>
          <p:nvPr/>
        </p:nvGrpSpPr>
        <p:grpSpPr bwMode="auto">
          <a:xfrm>
            <a:off x="9852578" y="2984382"/>
            <a:ext cx="457200" cy="457200"/>
            <a:chOff x="-1329" y="1224"/>
            <a:chExt cx="3101" cy="3101"/>
          </a:xfrm>
          <a:solidFill>
            <a:schemeClr val="accent1"/>
          </a:solidFill>
        </p:grpSpPr>
        <p:sp>
          <p:nvSpPr>
            <p:cNvPr id="391" name="Freeform 386"/>
            <p:cNvSpPr>
              <a:spLocks noEditPoints="1"/>
            </p:cNvSpPr>
            <p:nvPr/>
          </p:nvSpPr>
          <p:spPr bwMode="auto">
            <a:xfrm>
              <a:off x="-1329" y="1224"/>
              <a:ext cx="3101" cy="3101"/>
            </a:xfrm>
            <a:custGeom>
              <a:avLst/>
              <a:gdLst>
                <a:gd name="T0" fmla="*/ 64 w 1638"/>
                <a:gd name="T1" fmla="*/ 0 h 1638"/>
                <a:gd name="T2" fmla="*/ 0 w 1638"/>
                <a:gd name="T3" fmla="*/ 173 h 1638"/>
                <a:gd name="T4" fmla="*/ 64 w 1638"/>
                <a:gd name="T5" fmla="*/ 1139 h 1638"/>
                <a:gd name="T6" fmla="*/ 587 w 1638"/>
                <a:gd name="T7" fmla="*/ 1235 h 1638"/>
                <a:gd name="T8" fmla="*/ 394 w 1638"/>
                <a:gd name="T9" fmla="*/ 1615 h 1638"/>
                <a:gd name="T10" fmla="*/ 581 w 1638"/>
                <a:gd name="T11" fmla="*/ 1638 h 1638"/>
                <a:gd name="T12" fmla="*/ 698 w 1638"/>
                <a:gd name="T13" fmla="*/ 1482 h 1638"/>
                <a:gd name="T14" fmla="*/ 744 w 1638"/>
                <a:gd name="T15" fmla="*/ 1638 h 1638"/>
                <a:gd name="T16" fmla="*/ 941 w 1638"/>
                <a:gd name="T17" fmla="*/ 1592 h 1638"/>
                <a:gd name="T18" fmla="*/ 1018 w 1638"/>
                <a:gd name="T19" fmla="*/ 1615 h 1638"/>
                <a:gd name="T20" fmla="*/ 1204 w 1638"/>
                <a:gd name="T21" fmla="*/ 1638 h 1638"/>
                <a:gd name="T22" fmla="*/ 1244 w 1638"/>
                <a:gd name="T23" fmla="*/ 1569 h 1638"/>
                <a:gd name="T24" fmla="*/ 1478 w 1638"/>
                <a:gd name="T25" fmla="*/ 1235 h 1638"/>
                <a:gd name="T26" fmla="*/ 1574 w 1638"/>
                <a:gd name="T27" fmla="*/ 474 h 1638"/>
                <a:gd name="T28" fmla="*/ 1510 w 1638"/>
                <a:gd name="T29" fmla="*/ 474 h 1638"/>
                <a:gd name="T30" fmla="*/ 1478 w 1638"/>
                <a:gd name="T31" fmla="*/ 1171 h 1638"/>
                <a:gd name="T32" fmla="*/ 128 w 1638"/>
                <a:gd name="T33" fmla="*/ 1139 h 1638"/>
                <a:gd name="T34" fmla="*/ 662 w 1638"/>
                <a:gd name="T35" fmla="*/ 237 h 1638"/>
                <a:gd name="T36" fmla="*/ 662 w 1638"/>
                <a:gd name="T37" fmla="*/ 173 h 1638"/>
                <a:gd name="T38" fmla="*/ 64 w 1638"/>
                <a:gd name="T39" fmla="*/ 64 h 1638"/>
                <a:gd name="T40" fmla="*/ 1574 w 1638"/>
                <a:gd name="T41" fmla="*/ 173 h 1638"/>
                <a:gd name="T42" fmla="*/ 915 w 1638"/>
                <a:gd name="T43" fmla="*/ 205 h 1638"/>
                <a:gd name="T44" fmla="*/ 1574 w 1638"/>
                <a:gd name="T45" fmla="*/ 237 h 1638"/>
                <a:gd name="T46" fmla="*/ 1638 w 1638"/>
                <a:gd name="T47" fmla="*/ 64 h 1638"/>
                <a:gd name="T48" fmla="*/ 941 w 1638"/>
                <a:gd name="T49" fmla="*/ 1235 h 1638"/>
                <a:gd name="T50" fmla="*/ 1173 w 1638"/>
                <a:gd name="T51" fmla="*/ 1574 h 1638"/>
                <a:gd name="T52" fmla="*/ 941 w 1638"/>
                <a:gd name="T53" fmla="*/ 1354 h 1638"/>
                <a:gd name="T54" fmla="*/ 762 w 1638"/>
                <a:gd name="T55" fmla="*/ 1235 h 1638"/>
                <a:gd name="T56" fmla="*/ 877 w 1638"/>
                <a:gd name="T57" fmla="*/ 1574 h 1638"/>
                <a:gd name="T58" fmla="*/ 762 w 1638"/>
                <a:gd name="T59" fmla="*/ 1235 h 1638"/>
                <a:gd name="T60" fmla="*/ 698 w 1638"/>
                <a:gd name="T61" fmla="*/ 1354 h 1638"/>
                <a:gd name="T62" fmla="*/ 465 w 1638"/>
                <a:gd name="T63" fmla="*/ 1574 h 1638"/>
                <a:gd name="T64" fmla="*/ 698 w 1638"/>
                <a:gd name="T65" fmla="*/ 1235 h 1638"/>
                <a:gd name="T66" fmla="*/ 698 w 1638"/>
                <a:gd name="T67" fmla="*/ 1235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38" h="1638">
                  <a:moveTo>
                    <a:pt x="1574" y="0"/>
                  </a:moveTo>
                  <a:cubicBezTo>
                    <a:pt x="64" y="0"/>
                    <a:pt x="64" y="0"/>
                    <a:pt x="64" y="0"/>
                  </a:cubicBezTo>
                  <a:cubicBezTo>
                    <a:pt x="29" y="0"/>
                    <a:pt x="0" y="29"/>
                    <a:pt x="0" y="64"/>
                  </a:cubicBezTo>
                  <a:cubicBezTo>
                    <a:pt x="0" y="173"/>
                    <a:pt x="0" y="173"/>
                    <a:pt x="0" y="173"/>
                  </a:cubicBezTo>
                  <a:cubicBezTo>
                    <a:pt x="0" y="208"/>
                    <a:pt x="29" y="237"/>
                    <a:pt x="64" y="237"/>
                  </a:cubicBezTo>
                  <a:cubicBezTo>
                    <a:pt x="64" y="1139"/>
                    <a:pt x="64" y="1139"/>
                    <a:pt x="64" y="1139"/>
                  </a:cubicBezTo>
                  <a:cubicBezTo>
                    <a:pt x="64" y="1192"/>
                    <a:pt x="107" y="1235"/>
                    <a:pt x="160" y="1235"/>
                  </a:cubicBezTo>
                  <a:cubicBezTo>
                    <a:pt x="587" y="1235"/>
                    <a:pt x="587" y="1235"/>
                    <a:pt x="587" y="1235"/>
                  </a:cubicBezTo>
                  <a:cubicBezTo>
                    <a:pt x="394" y="1569"/>
                    <a:pt x="394" y="1569"/>
                    <a:pt x="394" y="1569"/>
                  </a:cubicBezTo>
                  <a:cubicBezTo>
                    <a:pt x="386" y="1583"/>
                    <a:pt x="386" y="1601"/>
                    <a:pt x="394" y="1615"/>
                  </a:cubicBezTo>
                  <a:cubicBezTo>
                    <a:pt x="402" y="1630"/>
                    <a:pt x="418" y="1638"/>
                    <a:pt x="434" y="1638"/>
                  </a:cubicBezTo>
                  <a:cubicBezTo>
                    <a:pt x="581" y="1638"/>
                    <a:pt x="581" y="1638"/>
                    <a:pt x="581" y="1638"/>
                  </a:cubicBezTo>
                  <a:cubicBezTo>
                    <a:pt x="597" y="1638"/>
                    <a:pt x="612" y="1630"/>
                    <a:pt x="621" y="1615"/>
                  </a:cubicBezTo>
                  <a:cubicBezTo>
                    <a:pt x="698" y="1482"/>
                    <a:pt x="698" y="1482"/>
                    <a:pt x="698" y="1482"/>
                  </a:cubicBezTo>
                  <a:cubicBezTo>
                    <a:pt x="698" y="1592"/>
                    <a:pt x="698" y="1592"/>
                    <a:pt x="698" y="1592"/>
                  </a:cubicBezTo>
                  <a:cubicBezTo>
                    <a:pt x="698" y="1618"/>
                    <a:pt x="718" y="1638"/>
                    <a:pt x="744" y="1638"/>
                  </a:cubicBezTo>
                  <a:cubicBezTo>
                    <a:pt x="895" y="1638"/>
                    <a:pt x="895" y="1638"/>
                    <a:pt x="895" y="1638"/>
                  </a:cubicBezTo>
                  <a:cubicBezTo>
                    <a:pt x="920" y="1638"/>
                    <a:pt x="941" y="1618"/>
                    <a:pt x="941" y="1592"/>
                  </a:cubicBezTo>
                  <a:cubicBezTo>
                    <a:pt x="941" y="1482"/>
                    <a:pt x="941" y="1482"/>
                    <a:pt x="941" y="1482"/>
                  </a:cubicBezTo>
                  <a:cubicBezTo>
                    <a:pt x="1018" y="1615"/>
                    <a:pt x="1018" y="1615"/>
                    <a:pt x="1018" y="1615"/>
                  </a:cubicBezTo>
                  <a:cubicBezTo>
                    <a:pt x="1026" y="1630"/>
                    <a:pt x="1041" y="1638"/>
                    <a:pt x="1058" y="1638"/>
                  </a:cubicBezTo>
                  <a:cubicBezTo>
                    <a:pt x="1204" y="1638"/>
                    <a:pt x="1204" y="1638"/>
                    <a:pt x="1204" y="1638"/>
                  </a:cubicBezTo>
                  <a:cubicBezTo>
                    <a:pt x="1221" y="1638"/>
                    <a:pt x="1236" y="1630"/>
                    <a:pt x="1244" y="1615"/>
                  </a:cubicBezTo>
                  <a:cubicBezTo>
                    <a:pt x="1253" y="1601"/>
                    <a:pt x="1253" y="1583"/>
                    <a:pt x="1244" y="1569"/>
                  </a:cubicBezTo>
                  <a:cubicBezTo>
                    <a:pt x="1051" y="1235"/>
                    <a:pt x="1051" y="1235"/>
                    <a:pt x="1051" y="1235"/>
                  </a:cubicBezTo>
                  <a:cubicBezTo>
                    <a:pt x="1478" y="1235"/>
                    <a:pt x="1478" y="1235"/>
                    <a:pt x="1478" y="1235"/>
                  </a:cubicBezTo>
                  <a:cubicBezTo>
                    <a:pt x="1531" y="1235"/>
                    <a:pt x="1574" y="1192"/>
                    <a:pt x="1574" y="1139"/>
                  </a:cubicBezTo>
                  <a:cubicBezTo>
                    <a:pt x="1574" y="474"/>
                    <a:pt x="1574" y="474"/>
                    <a:pt x="1574" y="474"/>
                  </a:cubicBezTo>
                  <a:cubicBezTo>
                    <a:pt x="1574" y="456"/>
                    <a:pt x="1560" y="442"/>
                    <a:pt x="1542" y="442"/>
                  </a:cubicBezTo>
                  <a:cubicBezTo>
                    <a:pt x="1525" y="442"/>
                    <a:pt x="1510" y="456"/>
                    <a:pt x="1510" y="474"/>
                  </a:cubicBezTo>
                  <a:cubicBezTo>
                    <a:pt x="1510" y="1139"/>
                    <a:pt x="1510" y="1139"/>
                    <a:pt x="1510" y="1139"/>
                  </a:cubicBezTo>
                  <a:cubicBezTo>
                    <a:pt x="1510" y="1157"/>
                    <a:pt x="1496" y="1171"/>
                    <a:pt x="1478" y="1171"/>
                  </a:cubicBezTo>
                  <a:cubicBezTo>
                    <a:pt x="160" y="1171"/>
                    <a:pt x="160" y="1171"/>
                    <a:pt x="160" y="1171"/>
                  </a:cubicBezTo>
                  <a:cubicBezTo>
                    <a:pt x="142" y="1171"/>
                    <a:pt x="128" y="1157"/>
                    <a:pt x="128" y="1139"/>
                  </a:cubicBezTo>
                  <a:cubicBezTo>
                    <a:pt x="128" y="237"/>
                    <a:pt x="128" y="237"/>
                    <a:pt x="128" y="237"/>
                  </a:cubicBezTo>
                  <a:cubicBezTo>
                    <a:pt x="662" y="237"/>
                    <a:pt x="662" y="237"/>
                    <a:pt x="662" y="237"/>
                  </a:cubicBezTo>
                  <a:cubicBezTo>
                    <a:pt x="680" y="237"/>
                    <a:pt x="694" y="222"/>
                    <a:pt x="694" y="205"/>
                  </a:cubicBezTo>
                  <a:cubicBezTo>
                    <a:pt x="694" y="187"/>
                    <a:pt x="680" y="173"/>
                    <a:pt x="662" y="173"/>
                  </a:cubicBezTo>
                  <a:cubicBezTo>
                    <a:pt x="64" y="173"/>
                    <a:pt x="64" y="173"/>
                    <a:pt x="64" y="173"/>
                  </a:cubicBezTo>
                  <a:cubicBezTo>
                    <a:pt x="64" y="64"/>
                    <a:pt x="64" y="64"/>
                    <a:pt x="64" y="64"/>
                  </a:cubicBezTo>
                  <a:cubicBezTo>
                    <a:pt x="1574" y="64"/>
                    <a:pt x="1574" y="64"/>
                    <a:pt x="1574" y="64"/>
                  </a:cubicBezTo>
                  <a:cubicBezTo>
                    <a:pt x="1574" y="173"/>
                    <a:pt x="1574" y="173"/>
                    <a:pt x="1574" y="173"/>
                  </a:cubicBezTo>
                  <a:cubicBezTo>
                    <a:pt x="947" y="173"/>
                    <a:pt x="947" y="173"/>
                    <a:pt x="947" y="173"/>
                  </a:cubicBezTo>
                  <a:cubicBezTo>
                    <a:pt x="930" y="173"/>
                    <a:pt x="915" y="187"/>
                    <a:pt x="915" y="205"/>
                  </a:cubicBezTo>
                  <a:cubicBezTo>
                    <a:pt x="915" y="222"/>
                    <a:pt x="930" y="237"/>
                    <a:pt x="947" y="237"/>
                  </a:cubicBezTo>
                  <a:cubicBezTo>
                    <a:pt x="1574" y="237"/>
                    <a:pt x="1574" y="237"/>
                    <a:pt x="1574" y="237"/>
                  </a:cubicBezTo>
                  <a:cubicBezTo>
                    <a:pt x="1610" y="237"/>
                    <a:pt x="1638" y="208"/>
                    <a:pt x="1638" y="173"/>
                  </a:cubicBezTo>
                  <a:cubicBezTo>
                    <a:pt x="1638" y="64"/>
                    <a:pt x="1638" y="64"/>
                    <a:pt x="1638" y="64"/>
                  </a:cubicBezTo>
                  <a:cubicBezTo>
                    <a:pt x="1638" y="29"/>
                    <a:pt x="1610" y="0"/>
                    <a:pt x="1574" y="0"/>
                  </a:cubicBezTo>
                  <a:close/>
                  <a:moveTo>
                    <a:pt x="941" y="1235"/>
                  </a:moveTo>
                  <a:cubicBezTo>
                    <a:pt x="978" y="1235"/>
                    <a:pt x="978" y="1235"/>
                    <a:pt x="978" y="1235"/>
                  </a:cubicBezTo>
                  <a:cubicBezTo>
                    <a:pt x="1173" y="1574"/>
                    <a:pt x="1173" y="1574"/>
                    <a:pt x="1173" y="1574"/>
                  </a:cubicBezTo>
                  <a:cubicBezTo>
                    <a:pt x="1068" y="1574"/>
                    <a:pt x="1068" y="1574"/>
                    <a:pt x="1068" y="1574"/>
                  </a:cubicBezTo>
                  <a:cubicBezTo>
                    <a:pt x="941" y="1354"/>
                    <a:pt x="941" y="1354"/>
                    <a:pt x="941" y="1354"/>
                  </a:cubicBezTo>
                  <a:lnTo>
                    <a:pt x="941" y="1235"/>
                  </a:lnTo>
                  <a:close/>
                  <a:moveTo>
                    <a:pt x="762" y="1235"/>
                  </a:moveTo>
                  <a:cubicBezTo>
                    <a:pt x="877" y="1235"/>
                    <a:pt x="877" y="1235"/>
                    <a:pt x="877" y="1235"/>
                  </a:cubicBezTo>
                  <a:cubicBezTo>
                    <a:pt x="877" y="1574"/>
                    <a:pt x="877" y="1574"/>
                    <a:pt x="877" y="1574"/>
                  </a:cubicBezTo>
                  <a:cubicBezTo>
                    <a:pt x="762" y="1574"/>
                    <a:pt x="762" y="1574"/>
                    <a:pt x="762" y="1574"/>
                  </a:cubicBezTo>
                  <a:lnTo>
                    <a:pt x="762" y="1235"/>
                  </a:lnTo>
                  <a:close/>
                  <a:moveTo>
                    <a:pt x="698" y="1235"/>
                  </a:moveTo>
                  <a:cubicBezTo>
                    <a:pt x="698" y="1354"/>
                    <a:pt x="698" y="1354"/>
                    <a:pt x="698" y="1354"/>
                  </a:cubicBezTo>
                  <a:cubicBezTo>
                    <a:pt x="570" y="1574"/>
                    <a:pt x="570" y="1574"/>
                    <a:pt x="570" y="1574"/>
                  </a:cubicBezTo>
                  <a:cubicBezTo>
                    <a:pt x="465" y="1574"/>
                    <a:pt x="465" y="1574"/>
                    <a:pt x="465" y="1574"/>
                  </a:cubicBezTo>
                  <a:cubicBezTo>
                    <a:pt x="661" y="1235"/>
                    <a:pt x="661" y="1235"/>
                    <a:pt x="661" y="1235"/>
                  </a:cubicBezTo>
                  <a:lnTo>
                    <a:pt x="698" y="1235"/>
                  </a:lnTo>
                  <a:close/>
                  <a:moveTo>
                    <a:pt x="698" y="1235"/>
                  </a:moveTo>
                  <a:cubicBezTo>
                    <a:pt x="698" y="1235"/>
                    <a:pt x="698" y="1235"/>
                    <a:pt x="698" y="12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387"/>
            <p:cNvSpPr>
              <a:spLocks noEditPoints="1"/>
            </p:cNvSpPr>
            <p:nvPr/>
          </p:nvSpPr>
          <p:spPr bwMode="auto">
            <a:xfrm>
              <a:off x="161" y="1552"/>
              <a:ext cx="121" cy="121"/>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388"/>
            <p:cNvSpPr>
              <a:spLocks noEditPoints="1"/>
            </p:cNvSpPr>
            <p:nvPr/>
          </p:nvSpPr>
          <p:spPr bwMode="auto">
            <a:xfrm>
              <a:off x="1530" y="1811"/>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389"/>
            <p:cNvSpPr>
              <a:spLocks noEditPoints="1"/>
            </p:cNvSpPr>
            <p:nvPr/>
          </p:nvSpPr>
          <p:spPr bwMode="auto">
            <a:xfrm>
              <a:off x="-829" y="2012"/>
              <a:ext cx="2014" cy="1206"/>
            </a:xfrm>
            <a:custGeom>
              <a:avLst/>
              <a:gdLst>
                <a:gd name="T0" fmla="*/ 1051 w 1064"/>
                <a:gd name="T1" fmla="*/ 71 h 637"/>
                <a:gd name="T2" fmla="*/ 992 w 1064"/>
                <a:gd name="T3" fmla="*/ 12 h 637"/>
                <a:gd name="T4" fmla="*/ 947 w 1064"/>
                <a:gd name="T5" fmla="*/ 12 h 637"/>
                <a:gd name="T6" fmla="*/ 947 w 1064"/>
                <a:gd name="T7" fmla="*/ 57 h 637"/>
                <a:gd name="T8" fmla="*/ 952 w 1064"/>
                <a:gd name="T9" fmla="*/ 62 h 637"/>
                <a:gd name="T10" fmla="*/ 673 w 1064"/>
                <a:gd name="T11" fmla="*/ 62 h 637"/>
                <a:gd name="T12" fmla="*/ 135 w 1064"/>
                <a:gd name="T13" fmla="*/ 394 h 637"/>
                <a:gd name="T14" fmla="*/ 122 w 1064"/>
                <a:gd name="T15" fmla="*/ 394 h 637"/>
                <a:gd name="T16" fmla="*/ 0 w 1064"/>
                <a:gd name="T17" fmla="*/ 515 h 637"/>
                <a:gd name="T18" fmla="*/ 122 w 1064"/>
                <a:gd name="T19" fmla="*/ 637 h 637"/>
                <a:gd name="T20" fmla="*/ 244 w 1064"/>
                <a:gd name="T21" fmla="*/ 515 h 637"/>
                <a:gd name="T22" fmla="*/ 195 w 1064"/>
                <a:gd name="T23" fmla="*/ 418 h 637"/>
                <a:gd name="T24" fmla="*/ 673 w 1064"/>
                <a:gd name="T25" fmla="*/ 126 h 637"/>
                <a:gd name="T26" fmla="*/ 952 w 1064"/>
                <a:gd name="T27" fmla="*/ 126 h 637"/>
                <a:gd name="T28" fmla="*/ 947 w 1064"/>
                <a:gd name="T29" fmla="*/ 130 h 637"/>
                <a:gd name="T30" fmla="*/ 947 w 1064"/>
                <a:gd name="T31" fmla="*/ 176 h 637"/>
                <a:gd name="T32" fmla="*/ 970 w 1064"/>
                <a:gd name="T33" fmla="*/ 185 h 637"/>
                <a:gd name="T34" fmla="*/ 992 w 1064"/>
                <a:gd name="T35" fmla="*/ 176 h 637"/>
                <a:gd name="T36" fmla="*/ 1051 w 1064"/>
                <a:gd name="T37" fmla="*/ 116 h 637"/>
                <a:gd name="T38" fmla="*/ 1051 w 1064"/>
                <a:gd name="T39" fmla="*/ 71 h 637"/>
                <a:gd name="T40" fmla="*/ 122 w 1064"/>
                <a:gd name="T41" fmla="*/ 573 h 637"/>
                <a:gd name="T42" fmla="*/ 64 w 1064"/>
                <a:gd name="T43" fmla="*/ 515 h 637"/>
                <a:gd name="T44" fmla="*/ 122 w 1064"/>
                <a:gd name="T45" fmla="*/ 458 h 637"/>
                <a:gd name="T46" fmla="*/ 180 w 1064"/>
                <a:gd name="T47" fmla="*/ 515 h 637"/>
                <a:gd name="T48" fmla="*/ 122 w 1064"/>
                <a:gd name="T49" fmla="*/ 573 h 637"/>
                <a:gd name="T50" fmla="*/ 122 w 1064"/>
                <a:gd name="T51" fmla="*/ 573 h 637"/>
                <a:gd name="T52" fmla="*/ 122 w 1064"/>
                <a:gd name="T53" fmla="*/ 57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4" h="637">
                  <a:moveTo>
                    <a:pt x="1051" y="71"/>
                  </a:moveTo>
                  <a:cubicBezTo>
                    <a:pt x="992" y="12"/>
                    <a:pt x="992" y="12"/>
                    <a:pt x="992" y="12"/>
                  </a:cubicBezTo>
                  <a:cubicBezTo>
                    <a:pt x="980" y="0"/>
                    <a:pt x="960" y="0"/>
                    <a:pt x="947" y="12"/>
                  </a:cubicBezTo>
                  <a:cubicBezTo>
                    <a:pt x="935" y="25"/>
                    <a:pt x="935" y="45"/>
                    <a:pt x="947" y="57"/>
                  </a:cubicBezTo>
                  <a:cubicBezTo>
                    <a:pt x="952" y="62"/>
                    <a:pt x="952" y="62"/>
                    <a:pt x="952" y="62"/>
                  </a:cubicBezTo>
                  <a:cubicBezTo>
                    <a:pt x="673" y="62"/>
                    <a:pt x="673" y="62"/>
                    <a:pt x="673" y="62"/>
                  </a:cubicBezTo>
                  <a:cubicBezTo>
                    <a:pt x="446" y="62"/>
                    <a:pt x="236" y="192"/>
                    <a:pt x="135" y="394"/>
                  </a:cubicBezTo>
                  <a:cubicBezTo>
                    <a:pt x="131" y="394"/>
                    <a:pt x="126" y="394"/>
                    <a:pt x="122" y="394"/>
                  </a:cubicBezTo>
                  <a:cubicBezTo>
                    <a:pt x="55" y="394"/>
                    <a:pt x="0" y="448"/>
                    <a:pt x="0" y="515"/>
                  </a:cubicBezTo>
                  <a:cubicBezTo>
                    <a:pt x="0" y="582"/>
                    <a:pt x="55" y="637"/>
                    <a:pt x="122" y="637"/>
                  </a:cubicBezTo>
                  <a:cubicBezTo>
                    <a:pt x="189" y="637"/>
                    <a:pt x="244" y="582"/>
                    <a:pt x="244" y="515"/>
                  </a:cubicBezTo>
                  <a:cubicBezTo>
                    <a:pt x="244" y="476"/>
                    <a:pt x="224" y="440"/>
                    <a:pt x="195" y="418"/>
                  </a:cubicBezTo>
                  <a:cubicBezTo>
                    <a:pt x="286" y="240"/>
                    <a:pt x="472" y="126"/>
                    <a:pt x="673" y="126"/>
                  </a:cubicBezTo>
                  <a:cubicBezTo>
                    <a:pt x="952" y="126"/>
                    <a:pt x="952" y="126"/>
                    <a:pt x="952" y="126"/>
                  </a:cubicBezTo>
                  <a:cubicBezTo>
                    <a:pt x="947" y="130"/>
                    <a:pt x="947" y="130"/>
                    <a:pt x="947" y="130"/>
                  </a:cubicBezTo>
                  <a:cubicBezTo>
                    <a:pt x="935" y="143"/>
                    <a:pt x="935" y="163"/>
                    <a:pt x="947" y="176"/>
                  </a:cubicBezTo>
                  <a:cubicBezTo>
                    <a:pt x="953" y="182"/>
                    <a:pt x="961" y="185"/>
                    <a:pt x="970" y="185"/>
                  </a:cubicBezTo>
                  <a:cubicBezTo>
                    <a:pt x="978" y="185"/>
                    <a:pt x="986" y="182"/>
                    <a:pt x="992" y="176"/>
                  </a:cubicBezTo>
                  <a:cubicBezTo>
                    <a:pt x="1051" y="116"/>
                    <a:pt x="1051" y="116"/>
                    <a:pt x="1051" y="116"/>
                  </a:cubicBezTo>
                  <a:cubicBezTo>
                    <a:pt x="1064" y="104"/>
                    <a:pt x="1064" y="84"/>
                    <a:pt x="1051" y="71"/>
                  </a:cubicBezTo>
                  <a:close/>
                  <a:moveTo>
                    <a:pt x="122" y="573"/>
                  </a:moveTo>
                  <a:cubicBezTo>
                    <a:pt x="90" y="573"/>
                    <a:pt x="64" y="547"/>
                    <a:pt x="64" y="515"/>
                  </a:cubicBezTo>
                  <a:cubicBezTo>
                    <a:pt x="64" y="484"/>
                    <a:pt x="90" y="458"/>
                    <a:pt x="122" y="458"/>
                  </a:cubicBezTo>
                  <a:cubicBezTo>
                    <a:pt x="154" y="458"/>
                    <a:pt x="180" y="484"/>
                    <a:pt x="180" y="515"/>
                  </a:cubicBezTo>
                  <a:cubicBezTo>
                    <a:pt x="180" y="547"/>
                    <a:pt x="154" y="573"/>
                    <a:pt x="122" y="573"/>
                  </a:cubicBezTo>
                  <a:close/>
                  <a:moveTo>
                    <a:pt x="122" y="573"/>
                  </a:moveTo>
                  <a:cubicBezTo>
                    <a:pt x="122" y="573"/>
                    <a:pt x="122" y="573"/>
                    <a:pt x="122" y="57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390"/>
            <p:cNvSpPr>
              <a:spLocks noEditPoints="1"/>
            </p:cNvSpPr>
            <p:nvPr/>
          </p:nvSpPr>
          <p:spPr bwMode="auto">
            <a:xfrm>
              <a:off x="-863" y="1775"/>
              <a:ext cx="462" cy="460"/>
            </a:xfrm>
            <a:custGeom>
              <a:avLst/>
              <a:gdLst>
                <a:gd name="T0" fmla="*/ 122 w 244"/>
                <a:gd name="T1" fmla="*/ 0 h 243"/>
                <a:gd name="T2" fmla="*/ 0 w 244"/>
                <a:gd name="T3" fmla="*/ 122 h 243"/>
                <a:gd name="T4" fmla="*/ 122 w 244"/>
                <a:gd name="T5" fmla="*/ 243 h 243"/>
                <a:gd name="T6" fmla="*/ 244 w 244"/>
                <a:gd name="T7" fmla="*/ 122 h 243"/>
                <a:gd name="T8" fmla="*/ 122 w 244"/>
                <a:gd name="T9" fmla="*/ 0 h 243"/>
                <a:gd name="T10" fmla="*/ 122 w 244"/>
                <a:gd name="T11" fmla="*/ 179 h 243"/>
                <a:gd name="T12" fmla="*/ 64 w 244"/>
                <a:gd name="T13" fmla="*/ 122 h 243"/>
                <a:gd name="T14" fmla="*/ 122 w 244"/>
                <a:gd name="T15" fmla="*/ 64 h 243"/>
                <a:gd name="T16" fmla="*/ 180 w 244"/>
                <a:gd name="T17" fmla="*/ 122 h 243"/>
                <a:gd name="T18" fmla="*/ 122 w 244"/>
                <a:gd name="T19" fmla="*/ 179 h 243"/>
                <a:gd name="T20" fmla="*/ 122 w 244"/>
                <a:gd name="T21" fmla="*/ 179 h 243"/>
                <a:gd name="T22" fmla="*/ 122 w 244"/>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43">
                  <a:moveTo>
                    <a:pt x="122" y="0"/>
                  </a:moveTo>
                  <a:cubicBezTo>
                    <a:pt x="55" y="0"/>
                    <a:pt x="0" y="55"/>
                    <a:pt x="0" y="122"/>
                  </a:cubicBezTo>
                  <a:cubicBezTo>
                    <a:pt x="0" y="189"/>
                    <a:pt x="55" y="243"/>
                    <a:pt x="122" y="243"/>
                  </a:cubicBezTo>
                  <a:cubicBezTo>
                    <a:pt x="189" y="243"/>
                    <a:pt x="244" y="189"/>
                    <a:pt x="244" y="122"/>
                  </a:cubicBezTo>
                  <a:cubicBezTo>
                    <a:pt x="244" y="55"/>
                    <a:pt x="189" y="0"/>
                    <a:pt x="122" y="0"/>
                  </a:cubicBezTo>
                  <a:close/>
                  <a:moveTo>
                    <a:pt x="122" y="179"/>
                  </a:moveTo>
                  <a:cubicBezTo>
                    <a:pt x="90" y="179"/>
                    <a:pt x="64" y="153"/>
                    <a:pt x="64" y="122"/>
                  </a:cubicBezTo>
                  <a:cubicBezTo>
                    <a:pt x="64" y="90"/>
                    <a:pt x="90" y="64"/>
                    <a:pt x="122" y="64"/>
                  </a:cubicBezTo>
                  <a:cubicBezTo>
                    <a:pt x="154" y="64"/>
                    <a:pt x="180" y="90"/>
                    <a:pt x="180" y="122"/>
                  </a:cubicBezTo>
                  <a:cubicBezTo>
                    <a:pt x="180" y="153"/>
                    <a:pt x="154" y="179"/>
                    <a:pt x="122" y="179"/>
                  </a:cubicBezTo>
                  <a:close/>
                  <a:moveTo>
                    <a:pt x="122" y="179"/>
                  </a:moveTo>
                  <a:cubicBezTo>
                    <a:pt x="122" y="179"/>
                    <a:pt x="122" y="179"/>
                    <a:pt x="12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391"/>
            <p:cNvSpPr>
              <a:spLocks noEditPoints="1"/>
            </p:cNvSpPr>
            <p:nvPr/>
          </p:nvSpPr>
          <p:spPr bwMode="auto">
            <a:xfrm>
              <a:off x="875" y="2705"/>
              <a:ext cx="386" cy="378"/>
            </a:xfrm>
            <a:custGeom>
              <a:avLst/>
              <a:gdLst>
                <a:gd name="T0" fmla="*/ 147 w 204"/>
                <a:gd name="T1" fmla="*/ 101 h 200"/>
                <a:gd name="T2" fmla="*/ 191 w 204"/>
                <a:gd name="T3" fmla="*/ 57 h 200"/>
                <a:gd name="T4" fmla="*/ 191 w 204"/>
                <a:gd name="T5" fmla="*/ 12 h 200"/>
                <a:gd name="T6" fmla="*/ 146 w 204"/>
                <a:gd name="T7" fmla="*/ 12 h 200"/>
                <a:gd name="T8" fmla="*/ 102 w 204"/>
                <a:gd name="T9" fmla="*/ 56 h 200"/>
                <a:gd name="T10" fmla="*/ 58 w 204"/>
                <a:gd name="T11" fmla="*/ 12 h 200"/>
                <a:gd name="T12" fmla="*/ 13 w 204"/>
                <a:gd name="T13" fmla="*/ 12 h 200"/>
                <a:gd name="T14" fmla="*/ 13 w 204"/>
                <a:gd name="T15" fmla="*/ 57 h 200"/>
                <a:gd name="T16" fmla="*/ 57 w 204"/>
                <a:gd name="T17" fmla="*/ 101 h 200"/>
                <a:gd name="T18" fmla="*/ 13 w 204"/>
                <a:gd name="T19" fmla="*/ 145 h 200"/>
                <a:gd name="T20" fmla="*/ 13 w 204"/>
                <a:gd name="T21" fmla="*/ 190 h 200"/>
                <a:gd name="T22" fmla="*/ 35 w 204"/>
                <a:gd name="T23" fmla="*/ 200 h 200"/>
                <a:gd name="T24" fmla="*/ 58 w 204"/>
                <a:gd name="T25" fmla="*/ 190 h 200"/>
                <a:gd name="T26" fmla="*/ 102 w 204"/>
                <a:gd name="T27" fmla="*/ 146 h 200"/>
                <a:gd name="T28" fmla="*/ 146 w 204"/>
                <a:gd name="T29" fmla="*/ 190 h 200"/>
                <a:gd name="T30" fmla="*/ 168 w 204"/>
                <a:gd name="T31" fmla="*/ 200 h 200"/>
                <a:gd name="T32" fmla="*/ 191 w 204"/>
                <a:gd name="T33" fmla="*/ 190 h 200"/>
                <a:gd name="T34" fmla="*/ 191 w 204"/>
                <a:gd name="T35" fmla="*/ 145 h 200"/>
                <a:gd name="T36" fmla="*/ 147 w 204"/>
                <a:gd name="T37" fmla="*/ 101 h 200"/>
                <a:gd name="T38" fmla="*/ 147 w 204"/>
                <a:gd name="T39" fmla="*/ 101 h 200"/>
                <a:gd name="T40" fmla="*/ 147 w 204"/>
                <a:gd name="T41" fmla="*/ 10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200">
                  <a:moveTo>
                    <a:pt x="147" y="101"/>
                  </a:moveTo>
                  <a:cubicBezTo>
                    <a:pt x="191" y="57"/>
                    <a:pt x="191" y="57"/>
                    <a:pt x="191" y="57"/>
                  </a:cubicBezTo>
                  <a:cubicBezTo>
                    <a:pt x="204" y="45"/>
                    <a:pt x="204" y="25"/>
                    <a:pt x="191" y="12"/>
                  </a:cubicBezTo>
                  <a:cubicBezTo>
                    <a:pt x="179" y="0"/>
                    <a:pt x="158" y="0"/>
                    <a:pt x="146" y="12"/>
                  </a:cubicBezTo>
                  <a:cubicBezTo>
                    <a:pt x="102" y="56"/>
                    <a:pt x="102" y="56"/>
                    <a:pt x="102" y="56"/>
                  </a:cubicBezTo>
                  <a:cubicBezTo>
                    <a:pt x="58" y="12"/>
                    <a:pt x="58" y="12"/>
                    <a:pt x="58" y="12"/>
                  </a:cubicBezTo>
                  <a:cubicBezTo>
                    <a:pt x="45" y="0"/>
                    <a:pt x="25" y="0"/>
                    <a:pt x="13" y="12"/>
                  </a:cubicBezTo>
                  <a:cubicBezTo>
                    <a:pt x="0" y="25"/>
                    <a:pt x="0" y="45"/>
                    <a:pt x="13" y="57"/>
                  </a:cubicBezTo>
                  <a:cubicBezTo>
                    <a:pt x="57" y="101"/>
                    <a:pt x="57" y="101"/>
                    <a:pt x="57" y="101"/>
                  </a:cubicBezTo>
                  <a:cubicBezTo>
                    <a:pt x="13" y="145"/>
                    <a:pt x="13" y="145"/>
                    <a:pt x="13" y="145"/>
                  </a:cubicBezTo>
                  <a:cubicBezTo>
                    <a:pt x="0" y="158"/>
                    <a:pt x="0" y="178"/>
                    <a:pt x="13" y="190"/>
                  </a:cubicBezTo>
                  <a:cubicBezTo>
                    <a:pt x="19" y="197"/>
                    <a:pt x="27" y="200"/>
                    <a:pt x="35" y="200"/>
                  </a:cubicBezTo>
                  <a:cubicBezTo>
                    <a:pt x="44" y="200"/>
                    <a:pt x="52" y="197"/>
                    <a:pt x="58" y="190"/>
                  </a:cubicBezTo>
                  <a:cubicBezTo>
                    <a:pt x="102" y="146"/>
                    <a:pt x="102" y="146"/>
                    <a:pt x="102" y="146"/>
                  </a:cubicBezTo>
                  <a:cubicBezTo>
                    <a:pt x="146" y="190"/>
                    <a:pt x="146" y="190"/>
                    <a:pt x="146" y="190"/>
                  </a:cubicBezTo>
                  <a:cubicBezTo>
                    <a:pt x="152" y="197"/>
                    <a:pt x="160" y="200"/>
                    <a:pt x="168" y="200"/>
                  </a:cubicBezTo>
                  <a:cubicBezTo>
                    <a:pt x="177" y="200"/>
                    <a:pt x="185" y="197"/>
                    <a:pt x="191" y="190"/>
                  </a:cubicBezTo>
                  <a:cubicBezTo>
                    <a:pt x="204" y="178"/>
                    <a:pt x="204" y="158"/>
                    <a:pt x="191" y="145"/>
                  </a:cubicBezTo>
                  <a:lnTo>
                    <a:pt x="147" y="101"/>
                  </a:lnTo>
                  <a:close/>
                  <a:moveTo>
                    <a:pt x="147" y="101"/>
                  </a:moveTo>
                  <a:cubicBezTo>
                    <a:pt x="147" y="101"/>
                    <a:pt x="147" y="101"/>
                    <a:pt x="147" y="10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7" name="Group 394"/>
          <p:cNvGrpSpPr>
            <a:grpSpLocks noChangeAspect="1"/>
          </p:cNvGrpSpPr>
          <p:nvPr/>
        </p:nvGrpSpPr>
        <p:grpSpPr bwMode="auto">
          <a:xfrm>
            <a:off x="10975000" y="2984382"/>
            <a:ext cx="420954" cy="457200"/>
            <a:chOff x="-1297" y="1126"/>
            <a:chExt cx="2857" cy="3103"/>
          </a:xfrm>
          <a:solidFill>
            <a:schemeClr val="accent1"/>
          </a:solidFill>
        </p:grpSpPr>
        <p:sp>
          <p:nvSpPr>
            <p:cNvPr id="399" name="Freeform 395"/>
            <p:cNvSpPr>
              <a:spLocks noEditPoints="1"/>
            </p:cNvSpPr>
            <p:nvPr/>
          </p:nvSpPr>
          <p:spPr bwMode="auto">
            <a:xfrm>
              <a:off x="-1297" y="1126"/>
              <a:ext cx="2593" cy="3103"/>
            </a:xfrm>
            <a:custGeom>
              <a:avLst/>
              <a:gdLst>
                <a:gd name="T0" fmla="*/ 1360 w 1370"/>
                <a:gd name="T1" fmla="*/ 301 h 1639"/>
                <a:gd name="T2" fmla="*/ 1069 w 1370"/>
                <a:gd name="T3" fmla="*/ 10 h 1639"/>
                <a:gd name="T4" fmla="*/ 1047 w 1370"/>
                <a:gd name="T5" fmla="*/ 0 h 1639"/>
                <a:gd name="T6" fmla="*/ 96 w 1370"/>
                <a:gd name="T7" fmla="*/ 0 h 1639"/>
                <a:gd name="T8" fmla="*/ 0 w 1370"/>
                <a:gd name="T9" fmla="*/ 96 h 1639"/>
                <a:gd name="T10" fmla="*/ 0 w 1370"/>
                <a:gd name="T11" fmla="*/ 1543 h 1639"/>
                <a:gd name="T12" fmla="*/ 96 w 1370"/>
                <a:gd name="T13" fmla="*/ 1639 h 1639"/>
                <a:gd name="T14" fmla="*/ 1095 w 1370"/>
                <a:gd name="T15" fmla="*/ 1639 h 1639"/>
                <a:gd name="T16" fmla="*/ 1127 w 1370"/>
                <a:gd name="T17" fmla="*/ 1607 h 1639"/>
                <a:gd name="T18" fmla="*/ 1095 w 1370"/>
                <a:gd name="T19" fmla="*/ 1575 h 1639"/>
                <a:gd name="T20" fmla="*/ 96 w 1370"/>
                <a:gd name="T21" fmla="*/ 1575 h 1639"/>
                <a:gd name="T22" fmla="*/ 64 w 1370"/>
                <a:gd name="T23" fmla="*/ 1543 h 1639"/>
                <a:gd name="T24" fmla="*/ 64 w 1370"/>
                <a:gd name="T25" fmla="*/ 218 h 1639"/>
                <a:gd name="T26" fmla="*/ 287 w 1370"/>
                <a:gd name="T27" fmla="*/ 218 h 1639"/>
                <a:gd name="T28" fmla="*/ 319 w 1370"/>
                <a:gd name="T29" fmla="*/ 186 h 1639"/>
                <a:gd name="T30" fmla="*/ 287 w 1370"/>
                <a:gd name="T31" fmla="*/ 154 h 1639"/>
                <a:gd name="T32" fmla="*/ 64 w 1370"/>
                <a:gd name="T33" fmla="*/ 154 h 1639"/>
                <a:gd name="T34" fmla="*/ 64 w 1370"/>
                <a:gd name="T35" fmla="*/ 96 h 1639"/>
                <a:gd name="T36" fmla="*/ 96 w 1370"/>
                <a:gd name="T37" fmla="*/ 64 h 1639"/>
                <a:gd name="T38" fmla="*/ 1015 w 1370"/>
                <a:gd name="T39" fmla="*/ 64 h 1639"/>
                <a:gd name="T40" fmla="*/ 1015 w 1370"/>
                <a:gd name="T41" fmla="*/ 259 h 1639"/>
                <a:gd name="T42" fmla="*/ 1111 w 1370"/>
                <a:gd name="T43" fmla="*/ 355 h 1639"/>
                <a:gd name="T44" fmla="*/ 1306 w 1370"/>
                <a:gd name="T45" fmla="*/ 355 h 1639"/>
                <a:gd name="T46" fmla="*/ 1306 w 1370"/>
                <a:gd name="T47" fmla="*/ 970 h 1639"/>
                <a:gd name="T48" fmla="*/ 1338 w 1370"/>
                <a:gd name="T49" fmla="*/ 1002 h 1639"/>
                <a:gd name="T50" fmla="*/ 1370 w 1370"/>
                <a:gd name="T51" fmla="*/ 970 h 1639"/>
                <a:gd name="T52" fmla="*/ 1370 w 1370"/>
                <a:gd name="T53" fmla="*/ 323 h 1639"/>
                <a:gd name="T54" fmla="*/ 1360 w 1370"/>
                <a:gd name="T55" fmla="*/ 301 h 1639"/>
                <a:gd name="T56" fmla="*/ 1111 w 1370"/>
                <a:gd name="T57" fmla="*/ 291 h 1639"/>
                <a:gd name="T58" fmla="*/ 1079 w 1370"/>
                <a:gd name="T59" fmla="*/ 259 h 1639"/>
                <a:gd name="T60" fmla="*/ 1079 w 1370"/>
                <a:gd name="T61" fmla="*/ 110 h 1639"/>
                <a:gd name="T62" fmla="*/ 1261 w 1370"/>
                <a:gd name="T63" fmla="*/ 291 h 1639"/>
                <a:gd name="T64" fmla="*/ 1111 w 1370"/>
                <a:gd name="T65" fmla="*/ 291 h 1639"/>
                <a:gd name="T66" fmla="*/ 1111 w 1370"/>
                <a:gd name="T67" fmla="*/ 291 h 1639"/>
                <a:gd name="T68" fmla="*/ 1111 w 1370"/>
                <a:gd name="T69" fmla="*/ 291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0" h="1639">
                  <a:moveTo>
                    <a:pt x="1360" y="301"/>
                  </a:moveTo>
                  <a:cubicBezTo>
                    <a:pt x="1069" y="10"/>
                    <a:pt x="1069" y="10"/>
                    <a:pt x="1069" y="10"/>
                  </a:cubicBezTo>
                  <a:cubicBezTo>
                    <a:pt x="1063" y="4"/>
                    <a:pt x="1055" y="0"/>
                    <a:pt x="1047" y="0"/>
                  </a:cubicBezTo>
                  <a:cubicBezTo>
                    <a:pt x="96" y="0"/>
                    <a:pt x="96" y="0"/>
                    <a:pt x="96" y="0"/>
                  </a:cubicBezTo>
                  <a:cubicBezTo>
                    <a:pt x="43" y="0"/>
                    <a:pt x="0" y="43"/>
                    <a:pt x="0" y="96"/>
                  </a:cubicBezTo>
                  <a:cubicBezTo>
                    <a:pt x="0" y="1543"/>
                    <a:pt x="0" y="1543"/>
                    <a:pt x="0" y="1543"/>
                  </a:cubicBezTo>
                  <a:cubicBezTo>
                    <a:pt x="0" y="1596"/>
                    <a:pt x="43" y="1639"/>
                    <a:pt x="96" y="1639"/>
                  </a:cubicBezTo>
                  <a:cubicBezTo>
                    <a:pt x="1095" y="1639"/>
                    <a:pt x="1095" y="1639"/>
                    <a:pt x="1095" y="1639"/>
                  </a:cubicBezTo>
                  <a:cubicBezTo>
                    <a:pt x="1112" y="1639"/>
                    <a:pt x="1127" y="1624"/>
                    <a:pt x="1127" y="1607"/>
                  </a:cubicBezTo>
                  <a:cubicBezTo>
                    <a:pt x="1127" y="1589"/>
                    <a:pt x="1112" y="1575"/>
                    <a:pt x="1095" y="1575"/>
                  </a:cubicBezTo>
                  <a:cubicBezTo>
                    <a:pt x="96" y="1575"/>
                    <a:pt x="96" y="1575"/>
                    <a:pt x="96" y="1575"/>
                  </a:cubicBezTo>
                  <a:cubicBezTo>
                    <a:pt x="79" y="1575"/>
                    <a:pt x="64" y="1560"/>
                    <a:pt x="64" y="1543"/>
                  </a:cubicBezTo>
                  <a:cubicBezTo>
                    <a:pt x="64" y="218"/>
                    <a:pt x="64" y="218"/>
                    <a:pt x="64" y="218"/>
                  </a:cubicBezTo>
                  <a:cubicBezTo>
                    <a:pt x="287" y="218"/>
                    <a:pt x="287" y="218"/>
                    <a:pt x="287" y="218"/>
                  </a:cubicBezTo>
                  <a:cubicBezTo>
                    <a:pt x="305" y="218"/>
                    <a:pt x="319" y="204"/>
                    <a:pt x="319" y="186"/>
                  </a:cubicBezTo>
                  <a:cubicBezTo>
                    <a:pt x="319" y="168"/>
                    <a:pt x="305" y="154"/>
                    <a:pt x="287" y="154"/>
                  </a:cubicBezTo>
                  <a:cubicBezTo>
                    <a:pt x="64" y="154"/>
                    <a:pt x="64" y="154"/>
                    <a:pt x="64" y="154"/>
                  </a:cubicBezTo>
                  <a:cubicBezTo>
                    <a:pt x="64" y="96"/>
                    <a:pt x="64" y="96"/>
                    <a:pt x="64" y="96"/>
                  </a:cubicBezTo>
                  <a:cubicBezTo>
                    <a:pt x="64" y="79"/>
                    <a:pt x="79" y="64"/>
                    <a:pt x="96" y="64"/>
                  </a:cubicBezTo>
                  <a:cubicBezTo>
                    <a:pt x="1015" y="64"/>
                    <a:pt x="1015" y="64"/>
                    <a:pt x="1015" y="64"/>
                  </a:cubicBezTo>
                  <a:cubicBezTo>
                    <a:pt x="1015" y="259"/>
                    <a:pt x="1015" y="259"/>
                    <a:pt x="1015" y="259"/>
                  </a:cubicBezTo>
                  <a:cubicBezTo>
                    <a:pt x="1015" y="312"/>
                    <a:pt x="1058" y="355"/>
                    <a:pt x="1111" y="355"/>
                  </a:cubicBezTo>
                  <a:cubicBezTo>
                    <a:pt x="1306" y="355"/>
                    <a:pt x="1306" y="355"/>
                    <a:pt x="1306" y="355"/>
                  </a:cubicBezTo>
                  <a:cubicBezTo>
                    <a:pt x="1306" y="970"/>
                    <a:pt x="1306" y="970"/>
                    <a:pt x="1306" y="970"/>
                  </a:cubicBezTo>
                  <a:cubicBezTo>
                    <a:pt x="1306" y="988"/>
                    <a:pt x="1320" y="1002"/>
                    <a:pt x="1338" y="1002"/>
                  </a:cubicBezTo>
                  <a:cubicBezTo>
                    <a:pt x="1355" y="1002"/>
                    <a:pt x="1370" y="988"/>
                    <a:pt x="1370" y="970"/>
                  </a:cubicBezTo>
                  <a:cubicBezTo>
                    <a:pt x="1370" y="323"/>
                    <a:pt x="1370" y="323"/>
                    <a:pt x="1370" y="323"/>
                  </a:cubicBezTo>
                  <a:cubicBezTo>
                    <a:pt x="1370" y="315"/>
                    <a:pt x="1366" y="307"/>
                    <a:pt x="1360" y="301"/>
                  </a:cubicBezTo>
                  <a:close/>
                  <a:moveTo>
                    <a:pt x="1111" y="291"/>
                  </a:moveTo>
                  <a:cubicBezTo>
                    <a:pt x="1093" y="291"/>
                    <a:pt x="1079" y="277"/>
                    <a:pt x="1079" y="259"/>
                  </a:cubicBezTo>
                  <a:cubicBezTo>
                    <a:pt x="1079" y="110"/>
                    <a:pt x="1079" y="110"/>
                    <a:pt x="1079" y="110"/>
                  </a:cubicBezTo>
                  <a:cubicBezTo>
                    <a:pt x="1261" y="291"/>
                    <a:pt x="1261" y="291"/>
                    <a:pt x="1261" y="291"/>
                  </a:cubicBezTo>
                  <a:lnTo>
                    <a:pt x="1111" y="291"/>
                  </a:lnTo>
                  <a:close/>
                  <a:moveTo>
                    <a:pt x="1111" y="291"/>
                  </a:moveTo>
                  <a:cubicBezTo>
                    <a:pt x="1111" y="291"/>
                    <a:pt x="1111" y="291"/>
                    <a:pt x="1111" y="2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396"/>
            <p:cNvSpPr>
              <a:spLocks noEditPoints="1"/>
            </p:cNvSpPr>
            <p:nvPr/>
          </p:nvSpPr>
          <p:spPr bwMode="auto">
            <a:xfrm>
              <a:off x="1175" y="3129"/>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9"/>
                    <a:pt x="9" y="55"/>
                  </a:cubicBezTo>
                  <a:cubicBezTo>
                    <a:pt x="15" y="60"/>
                    <a:pt x="23" y="64"/>
                    <a:pt x="32" y="64"/>
                  </a:cubicBezTo>
                  <a:cubicBezTo>
                    <a:pt x="40" y="64"/>
                    <a:pt x="48" y="60"/>
                    <a:pt x="54" y="55"/>
                  </a:cubicBezTo>
                  <a:cubicBezTo>
                    <a:pt x="60" y="49"/>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397"/>
            <p:cNvSpPr>
              <a:spLocks noEditPoints="1"/>
            </p:cNvSpPr>
            <p:nvPr/>
          </p:nvSpPr>
          <p:spPr bwMode="auto">
            <a:xfrm>
              <a:off x="-1114" y="1565"/>
              <a:ext cx="2674" cy="2664"/>
            </a:xfrm>
            <a:custGeom>
              <a:avLst/>
              <a:gdLst>
                <a:gd name="T0" fmla="*/ 1241 w 1412"/>
                <a:gd name="T1" fmla="*/ 983 h 1407"/>
                <a:gd name="T2" fmla="*/ 1019 w 1412"/>
                <a:gd name="T3" fmla="*/ 973 h 1407"/>
                <a:gd name="T4" fmla="*/ 1115 w 1412"/>
                <a:gd name="T5" fmla="*/ 619 h 1407"/>
                <a:gd name="T6" fmla="*/ 1176 w 1412"/>
                <a:gd name="T7" fmla="*/ 587 h 1407"/>
                <a:gd name="T8" fmla="*/ 1115 w 1412"/>
                <a:gd name="T9" fmla="*/ 555 h 1407"/>
                <a:gd name="T10" fmla="*/ 620 w 1412"/>
                <a:gd name="T11" fmla="*/ 32 h 1407"/>
                <a:gd name="T12" fmla="*/ 556 w 1412"/>
                <a:gd name="T13" fmla="*/ 32 h 1407"/>
                <a:gd name="T14" fmla="*/ 61 w 1412"/>
                <a:gd name="T15" fmla="*/ 555 h 1407"/>
                <a:gd name="T16" fmla="*/ 0 w 1412"/>
                <a:gd name="T17" fmla="*/ 587 h 1407"/>
                <a:gd name="T18" fmla="*/ 61 w 1412"/>
                <a:gd name="T19" fmla="*/ 619 h 1407"/>
                <a:gd name="T20" fmla="*/ 556 w 1412"/>
                <a:gd name="T21" fmla="*/ 1143 h 1407"/>
                <a:gd name="T22" fmla="*/ 620 w 1412"/>
                <a:gd name="T23" fmla="*/ 1143 h 1407"/>
                <a:gd name="T24" fmla="*/ 934 w 1412"/>
                <a:gd name="T25" fmla="*/ 979 h 1407"/>
                <a:gd name="T26" fmla="*/ 974 w 1412"/>
                <a:gd name="T27" fmla="*/ 1218 h 1407"/>
                <a:gd name="T28" fmla="*/ 1130 w 1412"/>
                <a:gd name="T29" fmla="*/ 1387 h 1407"/>
                <a:gd name="T30" fmla="*/ 1202 w 1412"/>
                <a:gd name="T31" fmla="*/ 1402 h 1407"/>
                <a:gd name="T32" fmla="*/ 1243 w 1412"/>
                <a:gd name="T33" fmla="*/ 1242 h 1407"/>
                <a:gd name="T34" fmla="*/ 1341 w 1412"/>
                <a:gd name="T35" fmla="*/ 1243 h 1407"/>
                <a:gd name="T36" fmla="*/ 1388 w 1412"/>
                <a:gd name="T37" fmla="*/ 1130 h 1407"/>
                <a:gd name="T38" fmla="*/ 1051 w 1412"/>
                <a:gd name="T39" fmla="*/ 555 h 1407"/>
                <a:gd name="T40" fmla="*/ 620 w 1412"/>
                <a:gd name="T41" fmla="*/ 224 h 1407"/>
                <a:gd name="T42" fmla="*/ 556 w 1412"/>
                <a:gd name="T43" fmla="*/ 134 h 1407"/>
                <a:gd name="T44" fmla="*/ 218 w 1412"/>
                <a:gd name="T45" fmla="*/ 555 h 1407"/>
                <a:gd name="T46" fmla="*/ 556 w 1412"/>
                <a:gd name="T47" fmla="*/ 134 h 1407"/>
                <a:gd name="T48" fmla="*/ 125 w 1412"/>
                <a:gd name="T49" fmla="*/ 619 h 1407"/>
                <a:gd name="T50" fmla="*/ 556 w 1412"/>
                <a:gd name="T51" fmla="*/ 951 h 1407"/>
                <a:gd name="T52" fmla="*/ 588 w 1412"/>
                <a:gd name="T53" fmla="*/ 888 h 1407"/>
                <a:gd name="T54" fmla="*/ 588 w 1412"/>
                <a:gd name="T55" fmla="*/ 287 h 1407"/>
                <a:gd name="T56" fmla="*/ 825 w 1412"/>
                <a:gd name="T57" fmla="*/ 779 h 1407"/>
                <a:gd name="T58" fmla="*/ 803 w 1412"/>
                <a:gd name="T59" fmla="*/ 587 h 1407"/>
                <a:gd name="T60" fmla="*/ 373 w 1412"/>
                <a:gd name="T61" fmla="*/ 587 h 1407"/>
                <a:gd name="T62" fmla="*/ 714 w 1412"/>
                <a:gd name="T63" fmla="*/ 759 h 1407"/>
                <a:gd name="T64" fmla="*/ 588 w 1412"/>
                <a:gd name="T65" fmla="*/ 888 h 1407"/>
                <a:gd name="T66" fmla="*/ 668 w 1412"/>
                <a:gd name="T67" fmla="*/ 712 h 1407"/>
                <a:gd name="T68" fmla="*/ 437 w 1412"/>
                <a:gd name="T69" fmla="*/ 587 h 1407"/>
                <a:gd name="T70" fmla="*/ 739 w 1412"/>
                <a:gd name="T71" fmla="*/ 587 h 1407"/>
                <a:gd name="T72" fmla="*/ 611 w 1412"/>
                <a:gd name="T73" fmla="*/ 565 h 1407"/>
                <a:gd name="T74" fmla="*/ 566 w 1412"/>
                <a:gd name="T75" fmla="*/ 611 h 1407"/>
                <a:gd name="T76" fmla="*/ 620 w 1412"/>
                <a:gd name="T77" fmla="*/ 951 h 1407"/>
                <a:gd name="T78" fmla="*/ 889 w 1412"/>
                <a:gd name="T79" fmla="*/ 933 h 1407"/>
                <a:gd name="T80" fmla="*/ 935 w 1412"/>
                <a:gd name="T81" fmla="*/ 889 h 1407"/>
                <a:gd name="T82" fmla="*/ 958 w 1412"/>
                <a:gd name="T83" fmla="*/ 619 h 1407"/>
                <a:gd name="T84" fmla="*/ 935 w 1412"/>
                <a:gd name="T85" fmla="*/ 889 h 1407"/>
                <a:gd name="T86" fmla="*/ 1175 w 1412"/>
                <a:gd name="T87" fmla="*/ 1342 h 1407"/>
                <a:gd name="T88" fmla="*/ 1038 w 1412"/>
                <a:gd name="T89" fmla="*/ 1083 h 1407"/>
                <a:gd name="T90" fmla="*/ 1043 w 1412"/>
                <a:gd name="T91" fmla="*/ 1087 h 1407"/>
                <a:gd name="T92" fmla="*/ 1179 w 1412"/>
                <a:gd name="T93" fmla="*/ 1340 h 1407"/>
                <a:gd name="T94" fmla="*/ 1343 w 1412"/>
                <a:gd name="T95" fmla="*/ 1177 h 1407"/>
                <a:gd name="T96" fmla="*/ 1224 w 1412"/>
                <a:gd name="T97" fmla="*/ 1178 h 1407"/>
                <a:gd name="T98" fmla="*/ 1205 w 1412"/>
                <a:gd name="T99" fmla="*/ 1038 h 1407"/>
                <a:gd name="T100" fmla="*/ 1343 w 1412"/>
                <a:gd name="T101" fmla="*/ 1177 h 1407"/>
                <a:gd name="T102" fmla="*/ 1343 w 1412"/>
                <a:gd name="T103" fmla="*/ 1177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12" h="1407">
                  <a:moveTo>
                    <a:pt x="1388" y="1130"/>
                  </a:moveTo>
                  <a:cubicBezTo>
                    <a:pt x="1241" y="983"/>
                    <a:pt x="1241" y="983"/>
                    <a:pt x="1241" y="983"/>
                  </a:cubicBezTo>
                  <a:cubicBezTo>
                    <a:pt x="1235" y="977"/>
                    <a:pt x="1227" y="974"/>
                    <a:pt x="1219" y="974"/>
                  </a:cubicBezTo>
                  <a:cubicBezTo>
                    <a:pt x="1019" y="973"/>
                    <a:pt x="1019" y="973"/>
                    <a:pt x="1019" y="973"/>
                  </a:cubicBezTo>
                  <a:cubicBezTo>
                    <a:pt x="980" y="934"/>
                    <a:pt x="980" y="934"/>
                    <a:pt x="980" y="934"/>
                  </a:cubicBezTo>
                  <a:cubicBezTo>
                    <a:pt x="1058" y="850"/>
                    <a:pt x="1107" y="740"/>
                    <a:pt x="1115" y="619"/>
                  </a:cubicBezTo>
                  <a:cubicBezTo>
                    <a:pt x="1144" y="619"/>
                    <a:pt x="1144" y="619"/>
                    <a:pt x="1144" y="619"/>
                  </a:cubicBezTo>
                  <a:cubicBezTo>
                    <a:pt x="1162" y="619"/>
                    <a:pt x="1176" y="605"/>
                    <a:pt x="1176" y="587"/>
                  </a:cubicBezTo>
                  <a:cubicBezTo>
                    <a:pt x="1176" y="570"/>
                    <a:pt x="1162" y="555"/>
                    <a:pt x="1144" y="555"/>
                  </a:cubicBezTo>
                  <a:cubicBezTo>
                    <a:pt x="1115" y="555"/>
                    <a:pt x="1115" y="555"/>
                    <a:pt x="1115" y="555"/>
                  </a:cubicBezTo>
                  <a:cubicBezTo>
                    <a:pt x="1099" y="295"/>
                    <a:pt x="886" y="86"/>
                    <a:pt x="620" y="70"/>
                  </a:cubicBezTo>
                  <a:cubicBezTo>
                    <a:pt x="620" y="32"/>
                    <a:pt x="620" y="32"/>
                    <a:pt x="620" y="32"/>
                  </a:cubicBezTo>
                  <a:cubicBezTo>
                    <a:pt x="620" y="14"/>
                    <a:pt x="606" y="0"/>
                    <a:pt x="588" y="0"/>
                  </a:cubicBezTo>
                  <a:cubicBezTo>
                    <a:pt x="570" y="0"/>
                    <a:pt x="556" y="14"/>
                    <a:pt x="556" y="32"/>
                  </a:cubicBezTo>
                  <a:cubicBezTo>
                    <a:pt x="556" y="70"/>
                    <a:pt x="556" y="70"/>
                    <a:pt x="556" y="70"/>
                  </a:cubicBezTo>
                  <a:cubicBezTo>
                    <a:pt x="291" y="86"/>
                    <a:pt x="77" y="295"/>
                    <a:pt x="61" y="555"/>
                  </a:cubicBezTo>
                  <a:cubicBezTo>
                    <a:pt x="32" y="555"/>
                    <a:pt x="32" y="555"/>
                    <a:pt x="32" y="555"/>
                  </a:cubicBezTo>
                  <a:cubicBezTo>
                    <a:pt x="14" y="555"/>
                    <a:pt x="0" y="570"/>
                    <a:pt x="0" y="587"/>
                  </a:cubicBezTo>
                  <a:cubicBezTo>
                    <a:pt x="0" y="605"/>
                    <a:pt x="14" y="619"/>
                    <a:pt x="32" y="619"/>
                  </a:cubicBezTo>
                  <a:cubicBezTo>
                    <a:pt x="61" y="619"/>
                    <a:pt x="61" y="619"/>
                    <a:pt x="61" y="619"/>
                  </a:cubicBezTo>
                  <a:cubicBezTo>
                    <a:pt x="77" y="880"/>
                    <a:pt x="291" y="1089"/>
                    <a:pt x="556" y="1105"/>
                  </a:cubicBezTo>
                  <a:cubicBezTo>
                    <a:pt x="556" y="1143"/>
                    <a:pt x="556" y="1143"/>
                    <a:pt x="556" y="1143"/>
                  </a:cubicBezTo>
                  <a:cubicBezTo>
                    <a:pt x="556" y="1161"/>
                    <a:pt x="570" y="1175"/>
                    <a:pt x="588" y="1175"/>
                  </a:cubicBezTo>
                  <a:cubicBezTo>
                    <a:pt x="606" y="1175"/>
                    <a:pt x="620" y="1161"/>
                    <a:pt x="620" y="1143"/>
                  </a:cubicBezTo>
                  <a:cubicBezTo>
                    <a:pt x="620" y="1105"/>
                    <a:pt x="620" y="1105"/>
                    <a:pt x="620" y="1105"/>
                  </a:cubicBezTo>
                  <a:cubicBezTo>
                    <a:pt x="740" y="1098"/>
                    <a:pt x="849" y="1051"/>
                    <a:pt x="934" y="979"/>
                  </a:cubicBezTo>
                  <a:cubicBezTo>
                    <a:pt x="974" y="1019"/>
                    <a:pt x="974" y="1019"/>
                    <a:pt x="974" y="1019"/>
                  </a:cubicBezTo>
                  <a:cubicBezTo>
                    <a:pt x="974" y="1218"/>
                    <a:pt x="974" y="1218"/>
                    <a:pt x="974" y="1218"/>
                  </a:cubicBezTo>
                  <a:cubicBezTo>
                    <a:pt x="974" y="1227"/>
                    <a:pt x="978" y="1235"/>
                    <a:pt x="984" y="1241"/>
                  </a:cubicBezTo>
                  <a:cubicBezTo>
                    <a:pt x="1130" y="1387"/>
                    <a:pt x="1130" y="1387"/>
                    <a:pt x="1130" y="1387"/>
                  </a:cubicBezTo>
                  <a:cubicBezTo>
                    <a:pt x="1143" y="1400"/>
                    <a:pt x="1160" y="1407"/>
                    <a:pt x="1177" y="1407"/>
                  </a:cubicBezTo>
                  <a:cubicBezTo>
                    <a:pt x="1185" y="1407"/>
                    <a:pt x="1194" y="1405"/>
                    <a:pt x="1202" y="1402"/>
                  </a:cubicBezTo>
                  <a:cubicBezTo>
                    <a:pt x="1227" y="1391"/>
                    <a:pt x="1243" y="1367"/>
                    <a:pt x="1243" y="1340"/>
                  </a:cubicBezTo>
                  <a:cubicBezTo>
                    <a:pt x="1243" y="1242"/>
                    <a:pt x="1243" y="1242"/>
                    <a:pt x="1243" y="1242"/>
                  </a:cubicBezTo>
                  <a:cubicBezTo>
                    <a:pt x="1341" y="1243"/>
                    <a:pt x="1341" y="1243"/>
                    <a:pt x="1341" y="1243"/>
                  </a:cubicBezTo>
                  <a:cubicBezTo>
                    <a:pt x="1341" y="1243"/>
                    <a:pt x="1341" y="1243"/>
                    <a:pt x="1341" y="1243"/>
                  </a:cubicBezTo>
                  <a:cubicBezTo>
                    <a:pt x="1368" y="1243"/>
                    <a:pt x="1392" y="1227"/>
                    <a:pt x="1402" y="1202"/>
                  </a:cubicBezTo>
                  <a:cubicBezTo>
                    <a:pt x="1412" y="1177"/>
                    <a:pt x="1407" y="1149"/>
                    <a:pt x="1388" y="1130"/>
                  </a:cubicBezTo>
                  <a:close/>
                  <a:moveTo>
                    <a:pt x="620" y="134"/>
                  </a:moveTo>
                  <a:cubicBezTo>
                    <a:pt x="850" y="150"/>
                    <a:pt x="1035" y="330"/>
                    <a:pt x="1051" y="555"/>
                  </a:cubicBezTo>
                  <a:cubicBezTo>
                    <a:pt x="958" y="555"/>
                    <a:pt x="958" y="555"/>
                    <a:pt x="958" y="555"/>
                  </a:cubicBezTo>
                  <a:cubicBezTo>
                    <a:pt x="942" y="380"/>
                    <a:pt x="799" y="239"/>
                    <a:pt x="620" y="224"/>
                  </a:cubicBezTo>
                  <a:lnTo>
                    <a:pt x="620" y="134"/>
                  </a:lnTo>
                  <a:close/>
                  <a:moveTo>
                    <a:pt x="556" y="134"/>
                  </a:moveTo>
                  <a:cubicBezTo>
                    <a:pt x="556" y="224"/>
                    <a:pt x="556" y="224"/>
                    <a:pt x="556" y="224"/>
                  </a:cubicBezTo>
                  <a:cubicBezTo>
                    <a:pt x="377" y="239"/>
                    <a:pt x="234" y="380"/>
                    <a:pt x="218" y="555"/>
                  </a:cubicBezTo>
                  <a:cubicBezTo>
                    <a:pt x="125" y="555"/>
                    <a:pt x="125" y="555"/>
                    <a:pt x="125" y="555"/>
                  </a:cubicBezTo>
                  <a:cubicBezTo>
                    <a:pt x="141" y="330"/>
                    <a:pt x="326" y="150"/>
                    <a:pt x="556" y="134"/>
                  </a:cubicBezTo>
                  <a:close/>
                  <a:moveTo>
                    <a:pt x="556" y="1041"/>
                  </a:moveTo>
                  <a:cubicBezTo>
                    <a:pt x="326" y="1025"/>
                    <a:pt x="141" y="845"/>
                    <a:pt x="125" y="619"/>
                  </a:cubicBezTo>
                  <a:cubicBezTo>
                    <a:pt x="218" y="619"/>
                    <a:pt x="218" y="619"/>
                    <a:pt x="218" y="619"/>
                  </a:cubicBezTo>
                  <a:cubicBezTo>
                    <a:pt x="234" y="795"/>
                    <a:pt x="377" y="936"/>
                    <a:pt x="556" y="951"/>
                  </a:cubicBezTo>
                  <a:lnTo>
                    <a:pt x="556" y="1041"/>
                  </a:lnTo>
                  <a:close/>
                  <a:moveTo>
                    <a:pt x="588" y="888"/>
                  </a:moveTo>
                  <a:cubicBezTo>
                    <a:pt x="419" y="888"/>
                    <a:pt x="281" y="753"/>
                    <a:pt x="281" y="587"/>
                  </a:cubicBezTo>
                  <a:cubicBezTo>
                    <a:pt x="281" y="422"/>
                    <a:pt x="419" y="287"/>
                    <a:pt x="588" y="287"/>
                  </a:cubicBezTo>
                  <a:cubicBezTo>
                    <a:pt x="758" y="287"/>
                    <a:pt x="895" y="422"/>
                    <a:pt x="895" y="587"/>
                  </a:cubicBezTo>
                  <a:cubicBezTo>
                    <a:pt x="895" y="660"/>
                    <a:pt x="869" y="727"/>
                    <a:pt x="825" y="779"/>
                  </a:cubicBezTo>
                  <a:cubicBezTo>
                    <a:pt x="760" y="714"/>
                    <a:pt x="760" y="714"/>
                    <a:pt x="760" y="714"/>
                  </a:cubicBezTo>
                  <a:cubicBezTo>
                    <a:pt x="787" y="679"/>
                    <a:pt x="803" y="635"/>
                    <a:pt x="803" y="587"/>
                  </a:cubicBezTo>
                  <a:cubicBezTo>
                    <a:pt x="803" y="471"/>
                    <a:pt x="706" y="376"/>
                    <a:pt x="588" y="376"/>
                  </a:cubicBezTo>
                  <a:cubicBezTo>
                    <a:pt x="470" y="376"/>
                    <a:pt x="373" y="471"/>
                    <a:pt x="373" y="587"/>
                  </a:cubicBezTo>
                  <a:cubicBezTo>
                    <a:pt x="373" y="704"/>
                    <a:pt x="470" y="799"/>
                    <a:pt x="588" y="799"/>
                  </a:cubicBezTo>
                  <a:cubicBezTo>
                    <a:pt x="635" y="799"/>
                    <a:pt x="678" y="784"/>
                    <a:pt x="714" y="759"/>
                  </a:cubicBezTo>
                  <a:cubicBezTo>
                    <a:pt x="779" y="823"/>
                    <a:pt x="779" y="823"/>
                    <a:pt x="779" y="823"/>
                  </a:cubicBezTo>
                  <a:cubicBezTo>
                    <a:pt x="726" y="864"/>
                    <a:pt x="660" y="888"/>
                    <a:pt x="588" y="888"/>
                  </a:cubicBezTo>
                  <a:close/>
                  <a:moveTo>
                    <a:pt x="566" y="611"/>
                  </a:moveTo>
                  <a:cubicBezTo>
                    <a:pt x="668" y="712"/>
                    <a:pt x="668" y="712"/>
                    <a:pt x="668" y="712"/>
                  </a:cubicBezTo>
                  <a:cubicBezTo>
                    <a:pt x="645" y="727"/>
                    <a:pt x="617" y="735"/>
                    <a:pt x="588" y="735"/>
                  </a:cubicBezTo>
                  <a:cubicBezTo>
                    <a:pt x="505" y="735"/>
                    <a:pt x="437" y="669"/>
                    <a:pt x="437" y="587"/>
                  </a:cubicBezTo>
                  <a:cubicBezTo>
                    <a:pt x="437" y="506"/>
                    <a:pt x="505" y="440"/>
                    <a:pt x="588" y="440"/>
                  </a:cubicBezTo>
                  <a:cubicBezTo>
                    <a:pt x="671" y="440"/>
                    <a:pt x="739" y="506"/>
                    <a:pt x="739" y="587"/>
                  </a:cubicBezTo>
                  <a:cubicBezTo>
                    <a:pt x="739" y="617"/>
                    <a:pt x="730" y="645"/>
                    <a:pt x="714" y="668"/>
                  </a:cubicBezTo>
                  <a:cubicBezTo>
                    <a:pt x="611" y="565"/>
                    <a:pt x="611" y="565"/>
                    <a:pt x="611" y="565"/>
                  </a:cubicBezTo>
                  <a:cubicBezTo>
                    <a:pt x="599" y="553"/>
                    <a:pt x="578" y="553"/>
                    <a:pt x="566" y="565"/>
                  </a:cubicBezTo>
                  <a:cubicBezTo>
                    <a:pt x="553" y="578"/>
                    <a:pt x="553" y="598"/>
                    <a:pt x="566" y="611"/>
                  </a:cubicBezTo>
                  <a:close/>
                  <a:moveTo>
                    <a:pt x="620" y="1041"/>
                  </a:moveTo>
                  <a:cubicBezTo>
                    <a:pt x="620" y="951"/>
                    <a:pt x="620" y="951"/>
                    <a:pt x="620" y="951"/>
                  </a:cubicBezTo>
                  <a:cubicBezTo>
                    <a:pt x="697" y="944"/>
                    <a:pt x="768" y="915"/>
                    <a:pt x="824" y="869"/>
                  </a:cubicBezTo>
                  <a:cubicBezTo>
                    <a:pt x="889" y="933"/>
                    <a:pt x="889" y="933"/>
                    <a:pt x="889" y="933"/>
                  </a:cubicBezTo>
                  <a:cubicBezTo>
                    <a:pt x="815" y="995"/>
                    <a:pt x="722" y="1034"/>
                    <a:pt x="620" y="1041"/>
                  </a:cubicBezTo>
                  <a:close/>
                  <a:moveTo>
                    <a:pt x="935" y="889"/>
                  </a:moveTo>
                  <a:cubicBezTo>
                    <a:pt x="870" y="824"/>
                    <a:pt x="870" y="824"/>
                    <a:pt x="870" y="824"/>
                  </a:cubicBezTo>
                  <a:cubicBezTo>
                    <a:pt x="919" y="768"/>
                    <a:pt x="951" y="697"/>
                    <a:pt x="958" y="619"/>
                  </a:cubicBezTo>
                  <a:cubicBezTo>
                    <a:pt x="1051" y="619"/>
                    <a:pt x="1051" y="619"/>
                    <a:pt x="1051" y="619"/>
                  </a:cubicBezTo>
                  <a:cubicBezTo>
                    <a:pt x="1043" y="723"/>
                    <a:pt x="1001" y="816"/>
                    <a:pt x="935" y="889"/>
                  </a:cubicBezTo>
                  <a:close/>
                  <a:moveTo>
                    <a:pt x="1178" y="1342"/>
                  </a:moveTo>
                  <a:cubicBezTo>
                    <a:pt x="1176" y="1343"/>
                    <a:pt x="1176" y="1343"/>
                    <a:pt x="1175" y="1342"/>
                  </a:cubicBezTo>
                  <a:cubicBezTo>
                    <a:pt x="1038" y="1205"/>
                    <a:pt x="1038" y="1205"/>
                    <a:pt x="1038" y="1205"/>
                  </a:cubicBezTo>
                  <a:cubicBezTo>
                    <a:pt x="1038" y="1083"/>
                    <a:pt x="1038" y="1083"/>
                    <a:pt x="1038" y="1083"/>
                  </a:cubicBezTo>
                  <a:cubicBezTo>
                    <a:pt x="1043" y="1087"/>
                    <a:pt x="1043" y="1087"/>
                    <a:pt x="1043" y="1087"/>
                  </a:cubicBezTo>
                  <a:cubicBezTo>
                    <a:pt x="1043" y="1087"/>
                    <a:pt x="1043" y="1087"/>
                    <a:pt x="1043" y="1087"/>
                  </a:cubicBezTo>
                  <a:cubicBezTo>
                    <a:pt x="1179" y="1224"/>
                    <a:pt x="1179" y="1224"/>
                    <a:pt x="1179" y="1224"/>
                  </a:cubicBezTo>
                  <a:cubicBezTo>
                    <a:pt x="1179" y="1340"/>
                    <a:pt x="1179" y="1340"/>
                    <a:pt x="1179" y="1340"/>
                  </a:cubicBezTo>
                  <a:cubicBezTo>
                    <a:pt x="1179" y="1341"/>
                    <a:pt x="1179" y="1342"/>
                    <a:pt x="1178" y="1342"/>
                  </a:cubicBezTo>
                  <a:close/>
                  <a:moveTo>
                    <a:pt x="1343" y="1177"/>
                  </a:moveTo>
                  <a:cubicBezTo>
                    <a:pt x="1342" y="1179"/>
                    <a:pt x="1342" y="1179"/>
                    <a:pt x="1341" y="1179"/>
                  </a:cubicBezTo>
                  <a:cubicBezTo>
                    <a:pt x="1224" y="1178"/>
                    <a:pt x="1224" y="1178"/>
                    <a:pt x="1224" y="1178"/>
                  </a:cubicBezTo>
                  <a:cubicBezTo>
                    <a:pt x="1083" y="1037"/>
                    <a:pt x="1083" y="1037"/>
                    <a:pt x="1083" y="1037"/>
                  </a:cubicBezTo>
                  <a:cubicBezTo>
                    <a:pt x="1205" y="1038"/>
                    <a:pt x="1205" y="1038"/>
                    <a:pt x="1205" y="1038"/>
                  </a:cubicBezTo>
                  <a:cubicBezTo>
                    <a:pt x="1343" y="1175"/>
                    <a:pt x="1343" y="1175"/>
                    <a:pt x="1343" y="1175"/>
                  </a:cubicBezTo>
                  <a:cubicBezTo>
                    <a:pt x="1343" y="1175"/>
                    <a:pt x="1344" y="1176"/>
                    <a:pt x="1343" y="1177"/>
                  </a:cubicBezTo>
                  <a:close/>
                  <a:moveTo>
                    <a:pt x="1343" y="1177"/>
                  </a:moveTo>
                  <a:cubicBezTo>
                    <a:pt x="1343" y="1177"/>
                    <a:pt x="1343" y="1177"/>
                    <a:pt x="1343" y="11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398"/>
            <p:cNvSpPr>
              <a:spLocks noEditPoints="1"/>
            </p:cNvSpPr>
            <p:nvPr/>
          </p:nvSpPr>
          <p:spPr bwMode="auto">
            <a:xfrm>
              <a:off x="-599" y="1418"/>
              <a:ext cx="122" cy="121"/>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9"/>
                    <a:pt x="10" y="54"/>
                  </a:cubicBezTo>
                  <a:cubicBezTo>
                    <a:pt x="16" y="60"/>
                    <a:pt x="24" y="64"/>
                    <a:pt x="32" y="64"/>
                  </a:cubicBezTo>
                  <a:cubicBezTo>
                    <a:pt x="41" y="64"/>
                    <a:pt x="49" y="60"/>
                    <a:pt x="55" y="54"/>
                  </a:cubicBezTo>
                  <a:cubicBezTo>
                    <a:pt x="61" y="49"/>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03" name="Group 499"/>
          <p:cNvGrpSpPr>
            <a:grpSpLocks noChangeAspect="1"/>
          </p:cNvGrpSpPr>
          <p:nvPr/>
        </p:nvGrpSpPr>
        <p:grpSpPr bwMode="auto">
          <a:xfrm>
            <a:off x="10413789" y="2984382"/>
            <a:ext cx="457200" cy="457200"/>
            <a:chOff x="3172" y="-102"/>
            <a:chExt cx="3101" cy="3101"/>
          </a:xfrm>
          <a:solidFill>
            <a:schemeClr val="accent1"/>
          </a:solidFill>
        </p:grpSpPr>
        <p:sp>
          <p:nvSpPr>
            <p:cNvPr id="505" name="Freeform 500"/>
            <p:cNvSpPr>
              <a:spLocks noEditPoints="1"/>
            </p:cNvSpPr>
            <p:nvPr/>
          </p:nvSpPr>
          <p:spPr bwMode="auto">
            <a:xfrm>
              <a:off x="3172" y="1638"/>
              <a:ext cx="3101" cy="1361"/>
            </a:xfrm>
            <a:custGeom>
              <a:avLst/>
              <a:gdLst>
                <a:gd name="T0" fmla="*/ 1493 w 1638"/>
                <a:gd name="T1" fmla="*/ 178 h 719"/>
                <a:gd name="T2" fmla="*/ 1344 w 1638"/>
                <a:gd name="T3" fmla="*/ 0 h 719"/>
                <a:gd name="T4" fmla="*/ 1195 w 1638"/>
                <a:gd name="T5" fmla="*/ 178 h 719"/>
                <a:gd name="T6" fmla="*/ 1082 w 1638"/>
                <a:gd name="T7" fmla="*/ 338 h 719"/>
                <a:gd name="T8" fmla="*/ 968 w 1638"/>
                <a:gd name="T9" fmla="*/ 178 h 719"/>
                <a:gd name="T10" fmla="*/ 819 w 1638"/>
                <a:gd name="T11" fmla="*/ 0 h 719"/>
                <a:gd name="T12" fmla="*/ 671 w 1638"/>
                <a:gd name="T13" fmla="*/ 178 h 719"/>
                <a:gd name="T14" fmla="*/ 557 w 1638"/>
                <a:gd name="T15" fmla="*/ 338 h 719"/>
                <a:gd name="T16" fmla="*/ 443 w 1638"/>
                <a:gd name="T17" fmla="*/ 178 h 719"/>
                <a:gd name="T18" fmla="*/ 294 w 1638"/>
                <a:gd name="T19" fmla="*/ 0 h 719"/>
                <a:gd name="T20" fmla="*/ 146 w 1638"/>
                <a:gd name="T21" fmla="*/ 178 h 719"/>
                <a:gd name="T22" fmla="*/ 0 w 1638"/>
                <a:gd name="T23" fmla="*/ 440 h 719"/>
                <a:gd name="T24" fmla="*/ 32 w 1638"/>
                <a:gd name="T25" fmla="*/ 719 h 719"/>
                <a:gd name="T26" fmla="*/ 1638 w 1638"/>
                <a:gd name="T27" fmla="*/ 687 h 719"/>
                <a:gd name="T28" fmla="*/ 1466 w 1638"/>
                <a:gd name="T29" fmla="*/ 262 h 719"/>
                <a:gd name="T30" fmla="*/ 294 w 1638"/>
                <a:gd name="T31" fmla="*/ 64 h 719"/>
                <a:gd name="T32" fmla="*/ 379 w 1638"/>
                <a:gd name="T33" fmla="*/ 178 h 719"/>
                <a:gd name="T34" fmla="*/ 210 w 1638"/>
                <a:gd name="T35" fmla="*/ 178 h 719"/>
                <a:gd name="T36" fmla="*/ 525 w 1638"/>
                <a:gd name="T37" fmla="*/ 655 h 719"/>
                <a:gd name="T38" fmla="*/ 64 w 1638"/>
                <a:gd name="T39" fmla="*/ 440 h 719"/>
                <a:gd name="T40" fmla="*/ 262 w 1638"/>
                <a:gd name="T41" fmla="*/ 326 h 719"/>
                <a:gd name="T42" fmla="*/ 294 w 1638"/>
                <a:gd name="T43" fmla="*/ 446 h 719"/>
                <a:gd name="T44" fmla="*/ 326 w 1638"/>
                <a:gd name="T45" fmla="*/ 326 h 719"/>
                <a:gd name="T46" fmla="*/ 525 w 1638"/>
                <a:gd name="T47" fmla="*/ 440 h 719"/>
                <a:gd name="T48" fmla="*/ 735 w 1638"/>
                <a:gd name="T49" fmla="*/ 148 h 719"/>
                <a:gd name="T50" fmla="*/ 904 w 1638"/>
                <a:gd name="T51" fmla="*/ 148 h 719"/>
                <a:gd name="T52" fmla="*/ 819 w 1638"/>
                <a:gd name="T53" fmla="*/ 262 h 719"/>
                <a:gd name="T54" fmla="*/ 735 w 1638"/>
                <a:gd name="T55" fmla="*/ 148 h 719"/>
                <a:gd name="T56" fmla="*/ 589 w 1638"/>
                <a:gd name="T57" fmla="*/ 655 h 719"/>
                <a:gd name="T58" fmla="*/ 703 w 1638"/>
                <a:gd name="T59" fmla="*/ 326 h 719"/>
                <a:gd name="T60" fmla="*/ 788 w 1638"/>
                <a:gd name="T61" fmla="*/ 480 h 719"/>
                <a:gd name="T62" fmla="*/ 852 w 1638"/>
                <a:gd name="T63" fmla="*/ 480 h 719"/>
                <a:gd name="T64" fmla="*/ 936 w 1638"/>
                <a:gd name="T65" fmla="*/ 326 h 719"/>
                <a:gd name="T66" fmla="*/ 1050 w 1638"/>
                <a:gd name="T67" fmla="*/ 655 h 719"/>
                <a:gd name="T68" fmla="*/ 1344 w 1638"/>
                <a:gd name="T69" fmla="*/ 64 h 719"/>
                <a:gd name="T70" fmla="*/ 1429 w 1638"/>
                <a:gd name="T71" fmla="*/ 178 h 719"/>
                <a:gd name="T72" fmla="*/ 1259 w 1638"/>
                <a:gd name="T73" fmla="*/ 178 h 719"/>
                <a:gd name="T74" fmla="*/ 1574 w 1638"/>
                <a:gd name="T75" fmla="*/ 655 h 719"/>
                <a:gd name="T76" fmla="*/ 1114 w 1638"/>
                <a:gd name="T77" fmla="*/ 440 h 719"/>
                <a:gd name="T78" fmla="*/ 1313 w 1638"/>
                <a:gd name="T79" fmla="*/ 326 h 719"/>
                <a:gd name="T80" fmla="*/ 1345 w 1638"/>
                <a:gd name="T81" fmla="*/ 512 h 719"/>
                <a:gd name="T82" fmla="*/ 1377 w 1638"/>
                <a:gd name="T83" fmla="*/ 326 h 719"/>
                <a:gd name="T84" fmla="*/ 1574 w 1638"/>
                <a:gd name="T85" fmla="*/ 440 h 719"/>
                <a:gd name="T86" fmla="*/ 1574 w 1638"/>
                <a:gd name="T87" fmla="*/ 655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38" h="719">
                  <a:moveTo>
                    <a:pt x="1466" y="262"/>
                  </a:moveTo>
                  <a:cubicBezTo>
                    <a:pt x="1483" y="238"/>
                    <a:pt x="1493" y="209"/>
                    <a:pt x="1493" y="178"/>
                  </a:cubicBezTo>
                  <a:cubicBezTo>
                    <a:pt x="1493" y="148"/>
                    <a:pt x="1493" y="148"/>
                    <a:pt x="1493" y="148"/>
                  </a:cubicBezTo>
                  <a:cubicBezTo>
                    <a:pt x="1493" y="66"/>
                    <a:pt x="1426" y="0"/>
                    <a:pt x="1344" y="0"/>
                  </a:cubicBezTo>
                  <a:cubicBezTo>
                    <a:pt x="1262" y="0"/>
                    <a:pt x="1195" y="66"/>
                    <a:pt x="1195" y="148"/>
                  </a:cubicBezTo>
                  <a:cubicBezTo>
                    <a:pt x="1195" y="178"/>
                    <a:pt x="1195" y="178"/>
                    <a:pt x="1195" y="178"/>
                  </a:cubicBezTo>
                  <a:cubicBezTo>
                    <a:pt x="1195" y="209"/>
                    <a:pt x="1205" y="238"/>
                    <a:pt x="1222" y="262"/>
                  </a:cubicBezTo>
                  <a:cubicBezTo>
                    <a:pt x="1164" y="264"/>
                    <a:pt x="1113" y="294"/>
                    <a:pt x="1082" y="338"/>
                  </a:cubicBezTo>
                  <a:cubicBezTo>
                    <a:pt x="1050" y="294"/>
                    <a:pt x="999" y="264"/>
                    <a:pt x="941" y="262"/>
                  </a:cubicBezTo>
                  <a:cubicBezTo>
                    <a:pt x="958" y="238"/>
                    <a:pt x="968" y="209"/>
                    <a:pt x="968" y="178"/>
                  </a:cubicBezTo>
                  <a:cubicBezTo>
                    <a:pt x="968" y="148"/>
                    <a:pt x="968" y="148"/>
                    <a:pt x="968" y="148"/>
                  </a:cubicBezTo>
                  <a:cubicBezTo>
                    <a:pt x="968" y="66"/>
                    <a:pt x="901" y="0"/>
                    <a:pt x="819" y="0"/>
                  </a:cubicBezTo>
                  <a:cubicBezTo>
                    <a:pt x="737" y="0"/>
                    <a:pt x="671" y="66"/>
                    <a:pt x="671" y="148"/>
                  </a:cubicBezTo>
                  <a:cubicBezTo>
                    <a:pt x="671" y="178"/>
                    <a:pt x="671" y="178"/>
                    <a:pt x="671" y="178"/>
                  </a:cubicBezTo>
                  <a:cubicBezTo>
                    <a:pt x="671" y="209"/>
                    <a:pt x="680" y="238"/>
                    <a:pt x="697" y="262"/>
                  </a:cubicBezTo>
                  <a:cubicBezTo>
                    <a:pt x="639" y="264"/>
                    <a:pt x="588" y="294"/>
                    <a:pt x="557" y="338"/>
                  </a:cubicBezTo>
                  <a:cubicBezTo>
                    <a:pt x="526" y="294"/>
                    <a:pt x="474" y="264"/>
                    <a:pt x="416" y="262"/>
                  </a:cubicBezTo>
                  <a:cubicBezTo>
                    <a:pt x="433" y="238"/>
                    <a:pt x="443" y="209"/>
                    <a:pt x="443" y="178"/>
                  </a:cubicBezTo>
                  <a:cubicBezTo>
                    <a:pt x="443" y="148"/>
                    <a:pt x="443" y="148"/>
                    <a:pt x="443" y="148"/>
                  </a:cubicBezTo>
                  <a:cubicBezTo>
                    <a:pt x="443" y="66"/>
                    <a:pt x="376" y="0"/>
                    <a:pt x="294" y="0"/>
                  </a:cubicBezTo>
                  <a:cubicBezTo>
                    <a:pt x="212" y="0"/>
                    <a:pt x="146" y="66"/>
                    <a:pt x="146" y="148"/>
                  </a:cubicBezTo>
                  <a:cubicBezTo>
                    <a:pt x="146" y="178"/>
                    <a:pt x="146" y="178"/>
                    <a:pt x="146" y="178"/>
                  </a:cubicBezTo>
                  <a:cubicBezTo>
                    <a:pt x="146" y="209"/>
                    <a:pt x="156" y="238"/>
                    <a:pt x="172" y="262"/>
                  </a:cubicBezTo>
                  <a:cubicBezTo>
                    <a:pt x="77" y="265"/>
                    <a:pt x="0" y="344"/>
                    <a:pt x="0" y="440"/>
                  </a:cubicBezTo>
                  <a:cubicBezTo>
                    <a:pt x="0" y="687"/>
                    <a:pt x="0" y="687"/>
                    <a:pt x="0" y="687"/>
                  </a:cubicBezTo>
                  <a:cubicBezTo>
                    <a:pt x="0" y="705"/>
                    <a:pt x="14" y="719"/>
                    <a:pt x="32" y="719"/>
                  </a:cubicBezTo>
                  <a:cubicBezTo>
                    <a:pt x="1606" y="719"/>
                    <a:pt x="1606" y="719"/>
                    <a:pt x="1606" y="719"/>
                  </a:cubicBezTo>
                  <a:cubicBezTo>
                    <a:pt x="1624" y="719"/>
                    <a:pt x="1638" y="705"/>
                    <a:pt x="1638" y="687"/>
                  </a:cubicBezTo>
                  <a:cubicBezTo>
                    <a:pt x="1638" y="440"/>
                    <a:pt x="1638" y="440"/>
                    <a:pt x="1638" y="440"/>
                  </a:cubicBezTo>
                  <a:cubicBezTo>
                    <a:pt x="1638" y="344"/>
                    <a:pt x="1562" y="265"/>
                    <a:pt x="1466" y="262"/>
                  </a:cubicBezTo>
                  <a:close/>
                  <a:moveTo>
                    <a:pt x="210" y="148"/>
                  </a:moveTo>
                  <a:cubicBezTo>
                    <a:pt x="210" y="102"/>
                    <a:pt x="248" y="64"/>
                    <a:pt x="294" y="64"/>
                  </a:cubicBezTo>
                  <a:cubicBezTo>
                    <a:pt x="341" y="64"/>
                    <a:pt x="379" y="102"/>
                    <a:pt x="379" y="148"/>
                  </a:cubicBezTo>
                  <a:cubicBezTo>
                    <a:pt x="379" y="178"/>
                    <a:pt x="379" y="178"/>
                    <a:pt x="379" y="178"/>
                  </a:cubicBezTo>
                  <a:cubicBezTo>
                    <a:pt x="379" y="224"/>
                    <a:pt x="341" y="262"/>
                    <a:pt x="294" y="262"/>
                  </a:cubicBezTo>
                  <a:cubicBezTo>
                    <a:pt x="248" y="262"/>
                    <a:pt x="210" y="224"/>
                    <a:pt x="210" y="178"/>
                  </a:cubicBezTo>
                  <a:lnTo>
                    <a:pt x="210" y="148"/>
                  </a:lnTo>
                  <a:close/>
                  <a:moveTo>
                    <a:pt x="525" y="655"/>
                  </a:moveTo>
                  <a:cubicBezTo>
                    <a:pt x="64" y="655"/>
                    <a:pt x="64" y="655"/>
                    <a:pt x="64" y="655"/>
                  </a:cubicBezTo>
                  <a:cubicBezTo>
                    <a:pt x="64" y="440"/>
                    <a:pt x="64" y="440"/>
                    <a:pt x="64" y="440"/>
                  </a:cubicBezTo>
                  <a:cubicBezTo>
                    <a:pt x="64" y="377"/>
                    <a:pt x="115" y="326"/>
                    <a:pt x="178" y="326"/>
                  </a:cubicBezTo>
                  <a:cubicBezTo>
                    <a:pt x="262" y="326"/>
                    <a:pt x="262" y="326"/>
                    <a:pt x="262" y="326"/>
                  </a:cubicBezTo>
                  <a:cubicBezTo>
                    <a:pt x="262" y="414"/>
                    <a:pt x="262" y="414"/>
                    <a:pt x="262" y="414"/>
                  </a:cubicBezTo>
                  <a:cubicBezTo>
                    <a:pt x="262" y="432"/>
                    <a:pt x="277" y="446"/>
                    <a:pt x="294" y="446"/>
                  </a:cubicBezTo>
                  <a:cubicBezTo>
                    <a:pt x="312" y="446"/>
                    <a:pt x="326" y="432"/>
                    <a:pt x="326" y="414"/>
                  </a:cubicBezTo>
                  <a:cubicBezTo>
                    <a:pt x="326" y="326"/>
                    <a:pt x="326" y="326"/>
                    <a:pt x="326" y="326"/>
                  </a:cubicBezTo>
                  <a:cubicBezTo>
                    <a:pt x="411" y="326"/>
                    <a:pt x="411" y="326"/>
                    <a:pt x="411" y="326"/>
                  </a:cubicBezTo>
                  <a:cubicBezTo>
                    <a:pt x="474" y="326"/>
                    <a:pt x="525" y="377"/>
                    <a:pt x="525" y="440"/>
                  </a:cubicBezTo>
                  <a:lnTo>
                    <a:pt x="525" y="655"/>
                  </a:lnTo>
                  <a:close/>
                  <a:moveTo>
                    <a:pt x="735" y="148"/>
                  </a:moveTo>
                  <a:cubicBezTo>
                    <a:pt x="735" y="102"/>
                    <a:pt x="773" y="64"/>
                    <a:pt x="819" y="64"/>
                  </a:cubicBezTo>
                  <a:cubicBezTo>
                    <a:pt x="866" y="64"/>
                    <a:pt x="904" y="102"/>
                    <a:pt x="904" y="148"/>
                  </a:cubicBezTo>
                  <a:cubicBezTo>
                    <a:pt x="904" y="178"/>
                    <a:pt x="904" y="178"/>
                    <a:pt x="904" y="178"/>
                  </a:cubicBezTo>
                  <a:cubicBezTo>
                    <a:pt x="904" y="224"/>
                    <a:pt x="866" y="262"/>
                    <a:pt x="819" y="262"/>
                  </a:cubicBezTo>
                  <a:cubicBezTo>
                    <a:pt x="773" y="262"/>
                    <a:pt x="735" y="224"/>
                    <a:pt x="735" y="178"/>
                  </a:cubicBezTo>
                  <a:lnTo>
                    <a:pt x="735" y="148"/>
                  </a:lnTo>
                  <a:close/>
                  <a:moveTo>
                    <a:pt x="1050" y="655"/>
                  </a:moveTo>
                  <a:cubicBezTo>
                    <a:pt x="589" y="655"/>
                    <a:pt x="589" y="655"/>
                    <a:pt x="589" y="655"/>
                  </a:cubicBezTo>
                  <a:cubicBezTo>
                    <a:pt x="589" y="440"/>
                    <a:pt x="589" y="440"/>
                    <a:pt x="589" y="440"/>
                  </a:cubicBezTo>
                  <a:cubicBezTo>
                    <a:pt x="589" y="377"/>
                    <a:pt x="640" y="326"/>
                    <a:pt x="703" y="326"/>
                  </a:cubicBezTo>
                  <a:cubicBezTo>
                    <a:pt x="788" y="326"/>
                    <a:pt x="788" y="326"/>
                    <a:pt x="788" y="326"/>
                  </a:cubicBezTo>
                  <a:cubicBezTo>
                    <a:pt x="788" y="480"/>
                    <a:pt x="788" y="480"/>
                    <a:pt x="788" y="480"/>
                  </a:cubicBezTo>
                  <a:cubicBezTo>
                    <a:pt x="788" y="497"/>
                    <a:pt x="802" y="512"/>
                    <a:pt x="820" y="512"/>
                  </a:cubicBezTo>
                  <a:cubicBezTo>
                    <a:pt x="837" y="512"/>
                    <a:pt x="852" y="497"/>
                    <a:pt x="852" y="480"/>
                  </a:cubicBezTo>
                  <a:cubicBezTo>
                    <a:pt x="852" y="326"/>
                    <a:pt x="852" y="326"/>
                    <a:pt x="852" y="326"/>
                  </a:cubicBezTo>
                  <a:cubicBezTo>
                    <a:pt x="936" y="326"/>
                    <a:pt x="936" y="326"/>
                    <a:pt x="936" y="326"/>
                  </a:cubicBezTo>
                  <a:cubicBezTo>
                    <a:pt x="999" y="326"/>
                    <a:pt x="1050" y="377"/>
                    <a:pt x="1050" y="440"/>
                  </a:cubicBezTo>
                  <a:lnTo>
                    <a:pt x="1050" y="655"/>
                  </a:lnTo>
                  <a:close/>
                  <a:moveTo>
                    <a:pt x="1259" y="148"/>
                  </a:moveTo>
                  <a:cubicBezTo>
                    <a:pt x="1259" y="102"/>
                    <a:pt x="1297" y="64"/>
                    <a:pt x="1344" y="64"/>
                  </a:cubicBezTo>
                  <a:cubicBezTo>
                    <a:pt x="1391" y="64"/>
                    <a:pt x="1429" y="102"/>
                    <a:pt x="1429" y="148"/>
                  </a:cubicBezTo>
                  <a:cubicBezTo>
                    <a:pt x="1429" y="178"/>
                    <a:pt x="1429" y="178"/>
                    <a:pt x="1429" y="178"/>
                  </a:cubicBezTo>
                  <a:cubicBezTo>
                    <a:pt x="1429" y="224"/>
                    <a:pt x="1391" y="262"/>
                    <a:pt x="1344" y="262"/>
                  </a:cubicBezTo>
                  <a:cubicBezTo>
                    <a:pt x="1297" y="262"/>
                    <a:pt x="1259" y="224"/>
                    <a:pt x="1259" y="178"/>
                  </a:cubicBezTo>
                  <a:lnTo>
                    <a:pt x="1259" y="148"/>
                  </a:lnTo>
                  <a:close/>
                  <a:moveTo>
                    <a:pt x="1574" y="655"/>
                  </a:moveTo>
                  <a:cubicBezTo>
                    <a:pt x="1114" y="655"/>
                    <a:pt x="1114" y="655"/>
                    <a:pt x="1114" y="655"/>
                  </a:cubicBezTo>
                  <a:cubicBezTo>
                    <a:pt x="1114" y="440"/>
                    <a:pt x="1114" y="440"/>
                    <a:pt x="1114" y="440"/>
                  </a:cubicBezTo>
                  <a:cubicBezTo>
                    <a:pt x="1114" y="377"/>
                    <a:pt x="1165" y="326"/>
                    <a:pt x="1227" y="326"/>
                  </a:cubicBezTo>
                  <a:cubicBezTo>
                    <a:pt x="1313" y="326"/>
                    <a:pt x="1313" y="326"/>
                    <a:pt x="1313" y="326"/>
                  </a:cubicBezTo>
                  <a:cubicBezTo>
                    <a:pt x="1313" y="480"/>
                    <a:pt x="1313" y="480"/>
                    <a:pt x="1313" y="480"/>
                  </a:cubicBezTo>
                  <a:cubicBezTo>
                    <a:pt x="1313" y="497"/>
                    <a:pt x="1327" y="512"/>
                    <a:pt x="1345" y="512"/>
                  </a:cubicBezTo>
                  <a:cubicBezTo>
                    <a:pt x="1362" y="512"/>
                    <a:pt x="1377" y="497"/>
                    <a:pt x="1377" y="480"/>
                  </a:cubicBezTo>
                  <a:cubicBezTo>
                    <a:pt x="1377" y="326"/>
                    <a:pt x="1377" y="326"/>
                    <a:pt x="1377" y="326"/>
                  </a:cubicBezTo>
                  <a:cubicBezTo>
                    <a:pt x="1461" y="326"/>
                    <a:pt x="1461" y="326"/>
                    <a:pt x="1461" y="326"/>
                  </a:cubicBezTo>
                  <a:cubicBezTo>
                    <a:pt x="1523" y="326"/>
                    <a:pt x="1574" y="377"/>
                    <a:pt x="1574" y="440"/>
                  </a:cubicBezTo>
                  <a:lnTo>
                    <a:pt x="1574" y="655"/>
                  </a:lnTo>
                  <a:close/>
                  <a:moveTo>
                    <a:pt x="1574" y="655"/>
                  </a:moveTo>
                  <a:cubicBezTo>
                    <a:pt x="1574" y="655"/>
                    <a:pt x="1574" y="655"/>
                    <a:pt x="1574" y="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501"/>
            <p:cNvSpPr>
              <a:spLocks noEditPoints="1"/>
            </p:cNvSpPr>
            <p:nvPr/>
          </p:nvSpPr>
          <p:spPr bwMode="auto">
            <a:xfrm>
              <a:off x="3668" y="2569"/>
              <a:ext cx="121" cy="122"/>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502"/>
            <p:cNvSpPr>
              <a:spLocks noEditPoints="1"/>
            </p:cNvSpPr>
            <p:nvPr/>
          </p:nvSpPr>
          <p:spPr bwMode="auto">
            <a:xfrm>
              <a:off x="5485" y="-102"/>
              <a:ext cx="462" cy="454"/>
            </a:xfrm>
            <a:custGeom>
              <a:avLst/>
              <a:gdLst>
                <a:gd name="T0" fmla="*/ 212 w 244"/>
                <a:gd name="T1" fmla="*/ 0 h 240"/>
                <a:gd name="T2" fmla="*/ 95 w 244"/>
                <a:gd name="T3" fmla="*/ 0 h 240"/>
                <a:gd name="T4" fmla="*/ 63 w 244"/>
                <a:gd name="T5" fmla="*/ 32 h 240"/>
                <a:gd name="T6" fmla="*/ 95 w 244"/>
                <a:gd name="T7" fmla="*/ 64 h 240"/>
                <a:gd name="T8" fmla="*/ 134 w 244"/>
                <a:gd name="T9" fmla="*/ 64 h 240"/>
                <a:gd name="T10" fmla="*/ 13 w 244"/>
                <a:gd name="T11" fmla="*/ 186 h 240"/>
                <a:gd name="T12" fmla="*/ 13 w 244"/>
                <a:gd name="T13" fmla="*/ 231 h 240"/>
                <a:gd name="T14" fmla="*/ 35 w 244"/>
                <a:gd name="T15" fmla="*/ 240 h 240"/>
                <a:gd name="T16" fmla="*/ 58 w 244"/>
                <a:gd name="T17" fmla="*/ 231 h 240"/>
                <a:gd name="T18" fmla="*/ 180 w 244"/>
                <a:gd name="T19" fmla="*/ 109 h 240"/>
                <a:gd name="T20" fmla="*/ 180 w 244"/>
                <a:gd name="T21" fmla="*/ 149 h 240"/>
                <a:gd name="T22" fmla="*/ 212 w 244"/>
                <a:gd name="T23" fmla="*/ 181 h 240"/>
                <a:gd name="T24" fmla="*/ 244 w 244"/>
                <a:gd name="T25" fmla="*/ 149 h 240"/>
                <a:gd name="T26" fmla="*/ 244 w 244"/>
                <a:gd name="T27" fmla="*/ 32 h 240"/>
                <a:gd name="T28" fmla="*/ 212 w 244"/>
                <a:gd name="T29" fmla="*/ 0 h 240"/>
                <a:gd name="T30" fmla="*/ 212 w 244"/>
                <a:gd name="T31" fmla="*/ 0 h 240"/>
                <a:gd name="T32" fmla="*/ 212 w 244"/>
                <a:gd name="T33"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4" h="240">
                  <a:moveTo>
                    <a:pt x="212" y="0"/>
                  </a:moveTo>
                  <a:cubicBezTo>
                    <a:pt x="95" y="0"/>
                    <a:pt x="95" y="0"/>
                    <a:pt x="95" y="0"/>
                  </a:cubicBezTo>
                  <a:cubicBezTo>
                    <a:pt x="77" y="0"/>
                    <a:pt x="63" y="14"/>
                    <a:pt x="63" y="32"/>
                  </a:cubicBezTo>
                  <a:cubicBezTo>
                    <a:pt x="63" y="50"/>
                    <a:pt x="77" y="64"/>
                    <a:pt x="95" y="64"/>
                  </a:cubicBezTo>
                  <a:cubicBezTo>
                    <a:pt x="134" y="64"/>
                    <a:pt x="134" y="64"/>
                    <a:pt x="134" y="64"/>
                  </a:cubicBezTo>
                  <a:cubicBezTo>
                    <a:pt x="13" y="186"/>
                    <a:pt x="13" y="186"/>
                    <a:pt x="13" y="186"/>
                  </a:cubicBezTo>
                  <a:cubicBezTo>
                    <a:pt x="0" y="198"/>
                    <a:pt x="0" y="219"/>
                    <a:pt x="13" y="231"/>
                  </a:cubicBezTo>
                  <a:cubicBezTo>
                    <a:pt x="19" y="237"/>
                    <a:pt x="27" y="240"/>
                    <a:pt x="35" y="240"/>
                  </a:cubicBezTo>
                  <a:cubicBezTo>
                    <a:pt x="43" y="240"/>
                    <a:pt x="52" y="237"/>
                    <a:pt x="58" y="231"/>
                  </a:cubicBezTo>
                  <a:cubicBezTo>
                    <a:pt x="180" y="109"/>
                    <a:pt x="180" y="109"/>
                    <a:pt x="180" y="109"/>
                  </a:cubicBezTo>
                  <a:cubicBezTo>
                    <a:pt x="180" y="149"/>
                    <a:pt x="180" y="149"/>
                    <a:pt x="180" y="149"/>
                  </a:cubicBezTo>
                  <a:cubicBezTo>
                    <a:pt x="180" y="166"/>
                    <a:pt x="194" y="181"/>
                    <a:pt x="212" y="181"/>
                  </a:cubicBezTo>
                  <a:cubicBezTo>
                    <a:pt x="229" y="181"/>
                    <a:pt x="244" y="166"/>
                    <a:pt x="244" y="149"/>
                  </a:cubicBezTo>
                  <a:cubicBezTo>
                    <a:pt x="244" y="32"/>
                    <a:pt x="244" y="32"/>
                    <a:pt x="244" y="32"/>
                  </a:cubicBezTo>
                  <a:cubicBezTo>
                    <a:pt x="244" y="14"/>
                    <a:pt x="229" y="0"/>
                    <a:pt x="212" y="0"/>
                  </a:cubicBezTo>
                  <a:close/>
                  <a:moveTo>
                    <a:pt x="212" y="0"/>
                  </a:moveTo>
                  <a:cubicBezTo>
                    <a:pt x="212" y="0"/>
                    <a:pt x="212" y="0"/>
                    <a:pt x="2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503"/>
            <p:cNvSpPr>
              <a:spLocks noEditPoints="1"/>
            </p:cNvSpPr>
            <p:nvPr/>
          </p:nvSpPr>
          <p:spPr bwMode="auto">
            <a:xfrm>
              <a:off x="5338" y="385"/>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504"/>
            <p:cNvSpPr>
              <a:spLocks noEditPoints="1"/>
            </p:cNvSpPr>
            <p:nvPr/>
          </p:nvSpPr>
          <p:spPr bwMode="auto">
            <a:xfrm>
              <a:off x="3393" y="426"/>
              <a:ext cx="1926" cy="1024"/>
            </a:xfrm>
            <a:custGeom>
              <a:avLst/>
              <a:gdLst>
                <a:gd name="T0" fmla="*/ 1005 w 1017"/>
                <a:gd name="T1" fmla="*/ 65 h 541"/>
                <a:gd name="T2" fmla="*/ 960 w 1017"/>
                <a:gd name="T3" fmla="*/ 65 h 541"/>
                <a:gd name="T4" fmla="*/ 771 w 1017"/>
                <a:gd name="T5" fmla="*/ 253 h 541"/>
                <a:gd name="T6" fmla="*/ 531 w 1017"/>
                <a:gd name="T7" fmla="*/ 13 h 541"/>
                <a:gd name="T8" fmla="*/ 486 w 1017"/>
                <a:gd name="T9" fmla="*/ 13 h 541"/>
                <a:gd name="T10" fmla="*/ 12 w 1017"/>
                <a:gd name="T11" fmla="*/ 486 h 541"/>
                <a:gd name="T12" fmla="*/ 12 w 1017"/>
                <a:gd name="T13" fmla="*/ 531 h 541"/>
                <a:gd name="T14" fmla="*/ 35 w 1017"/>
                <a:gd name="T15" fmla="*/ 541 h 541"/>
                <a:gd name="T16" fmla="*/ 58 w 1017"/>
                <a:gd name="T17" fmla="*/ 531 h 541"/>
                <a:gd name="T18" fmla="*/ 508 w 1017"/>
                <a:gd name="T19" fmla="*/ 80 h 541"/>
                <a:gd name="T20" fmla="*/ 749 w 1017"/>
                <a:gd name="T21" fmla="*/ 321 h 541"/>
                <a:gd name="T22" fmla="*/ 794 w 1017"/>
                <a:gd name="T23" fmla="*/ 321 h 541"/>
                <a:gd name="T24" fmla="*/ 1005 w 1017"/>
                <a:gd name="T25" fmla="*/ 110 h 541"/>
                <a:gd name="T26" fmla="*/ 1005 w 1017"/>
                <a:gd name="T27" fmla="*/ 65 h 541"/>
                <a:gd name="T28" fmla="*/ 1005 w 1017"/>
                <a:gd name="T29" fmla="*/ 65 h 541"/>
                <a:gd name="T30" fmla="*/ 1005 w 1017"/>
                <a:gd name="T31" fmla="*/ 65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7" h="541">
                  <a:moveTo>
                    <a:pt x="1005" y="65"/>
                  </a:moveTo>
                  <a:cubicBezTo>
                    <a:pt x="992" y="52"/>
                    <a:pt x="972" y="52"/>
                    <a:pt x="960" y="65"/>
                  </a:cubicBezTo>
                  <a:cubicBezTo>
                    <a:pt x="771" y="253"/>
                    <a:pt x="771" y="253"/>
                    <a:pt x="771" y="253"/>
                  </a:cubicBezTo>
                  <a:cubicBezTo>
                    <a:pt x="531" y="13"/>
                    <a:pt x="531" y="13"/>
                    <a:pt x="531" y="13"/>
                  </a:cubicBezTo>
                  <a:cubicBezTo>
                    <a:pt x="519" y="0"/>
                    <a:pt x="498" y="0"/>
                    <a:pt x="486" y="13"/>
                  </a:cubicBezTo>
                  <a:cubicBezTo>
                    <a:pt x="12" y="486"/>
                    <a:pt x="12" y="486"/>
                    <a:pt x="12" y="486"/>
                  </a:cubicBezTo>
                  <a:cubicBezTo>
                    <a:pt x="0" y="498"/>
                    <a:pt x="0" y="519"/>
                    <a:pt x="12" y="531"/>
                  </a:cubicBezTo>
                  <a:cubicBezTo>
                    <a:pt x="19" y="537"/>
                    <a:pt x="27" y="541"/>
                    <a:pt x="35" y="541"/>
                  </a:cubicBezTo>
                  <a:cubicBezTo>
                    <a:pt x="43" y="541"/>
                    <a:pt x="51" y="537"/>
                    <a:pt x="58" y="531"/>
                  </a:cubicBezTo>
                  <a:cubicBezTo>
                    <a:pt x="508" y="80"/>
                    <a:pt x="508" y="80"/>
                    <a:pt x="508" y="80"/>
                  </a:cubicBezTo>
                  <a:cubicBezTo>
                    <a:pt x="749" y="321"/>
                    <a:pt x="749" y="321"/>
                    <a:pt x="749" y="321"/>
                  </a:cubicBezTo>
                  <a:cubicBezTo>
                    <a:pt x="761" y="333"/>
                    <a:pt x="782" y="333"/>
                    <a:pt x="794" y="321"/>
                  </a:cubicBezTo>
                  <a:cubicBezTo>
                    <a:pt x="1005" y="110"/>
                    <a:pt x="1005" y="110"/>
                    <a:pt x="1005" y="110"/>
                  </a:cubicBezTo>
                  <a:cubicBezTo>
                    <a:pt x="1017" y="97"/>
                    <a:pt x="1017" y="77"/>
                    <a:pt x="1005" y="65"/>
                  </a:cubicBezTo>
                  <a:close/>
                  <a:moveTo>
                    <a:pt x="1005" y="65"/>
                  </a:moveTo>
                  <a:cubicBezTo>
                    <a:pt x="1005" y="65"/>
                    <a:pt x="1005" y="65"/>
                    <a:pt x="1005" y="6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505"/>
            <p:cNvSpPr>
              <a:spLocks noEditPoints="1"/>
            </p:cNvSpPr>
            <p:nvPr/>
          </p:nvSpPr>
          <p:spPr bwMode="auto">
            <a:xfrm>
              <a:off x="3439" y="140"/>
              <a:ext cx="507" cy="510"/>
            </a:xfrm>
            <a:custGeom>
              <a:avLst/>
              <a:gdLst>
                <a:gd name="T0" fmla="*/ 134 w 268"/>
                <a:gd name="T1" fmla="*/ 0 h 269"/>
                <a:gd name="T2" fmla="*/ 0 w 268"/>
                <a:gd name="T3" fmla="*/ 134 h 269"/>
                <a:gd name="T4" fmla="*/ 134 w 268"/>
                <a:gd name="T5" fmla="*/ 269 h 269"/>
                <a:gd name="T6" fmla="*/ 268 w 268"/>
                <a:gd name="T7" fmla="*/ 134 h 269"/>
                <a:gd name="T8" fmla="*/ 134 w 268"/>
                <a:gd name="T9" fmla="*/ 0 h 269"/>
                <a:gd name="T10" fmla="*/ 134 w 268"/>
                <a:gd name="T11" fmla="*/ 205 h 269"/>
                <a:gd name="T12" fmla="*/ 64 w 268"/>
                <a:gd name="T13" fmla="*/ 134 h 269"/>
                <a:gd name="T14" fmla="*/ 134 w 268"/>
                <a:gd name="T15" fmla="*/ 64 h 269"/>
                <a:gd name="T16" fmla="*/ 204 w 268"/>
                <a:gd name="T17" fmla="*/ 134 h 269"/>
                <a:gd name="T18" fmla="*/ 134 w 268"/>
                <a:gd name="T19" fmla="*/ 205 h 269"/>
                <a:gd name="T20" fmla="*/ 134 w 268"/>
                <a:gd name="T21" fmla="*/ 205 h 269"/>
                <a:gd name="T22" fmla="*/ 134 w 268"/>
                <a:gd name="T23" fmla="*/ 20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8" h="269">
                  <a:moveTo>
                    <a:pt x="134" y="0"/>
                  </a:moveTo>
                  <a:cubicBezTo>
                    <a:pt x="60" y="0"/>
                    <a:pt x="0" y="60"/>
                    <a:pt x="0" y="134"/>
                  </a:cubicBezTo>
                  <a:cubicBezTo>
                    <a:pt x="0" y="209"/>
                    <a:pt x="60" y="269"/>
                    <a:pt x="134" y="269"/>
                  </a:cubicBezTo>
                  <a:cubicBezTo>
                    <a:pt x="208" y="269"/>
                    <a:pt x="268" y="209"/>
                    <a:pt x="268" y="134"/>
                  </a:cubicBezTo>
                  <a:cubicBezTo>
                    <a:pt x="268" y="60"/>
                    <a:pt x="208" y="0"/>
                    <a:pt x="134" y="0"/>
                  </a:cubicBezTo>
                  <a:close/>
                  <a:moveTo>
                    <a:pt x="134" y="205"/>
                  </a:moveTo>
                  <a:cubicBezTo>
                    <a:pt x="95" y="205"/>
                    <a:pt x="64" y="173"/>
                    <a:pt x="64" y="134"/>
                  </a:cubicBezTo>
                  <a:cubicBezTo>
                    <a:pt x="64" y="96"/>
                    <a:pt x="95" y="64"/>
                    <a:pt x="134" y="64"/>
                  </a:cubicBezTo>
                  <a:cubicBezTo>
                    <a:pt x="173" y="64"/>
                    <a:pt x="204" y="96"/>
                    <a:pt x="204" y="134"/>
                  </a:cubicBezTo>
                  <a:cubicBezTo>
                    <a:pt x="204" y="173"/>
                    <a:pt x="173" y="205"/>
                    <a:pt x="134" y="205"/>
                  </a:cubicBezTo>
                  <a:close/>
                  <a:moveTo>
                    <a:pt x="134" y="205"/>
                  </a:moveTo>
                  <a:cubicBezTo>
                    <a:pt x="134" y="205"/>
                    <a:pt x="134" y="205"/>
                    <a:pt x="134"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506"/>
            <p:cNvSpPr>
              <a:spLocks noEditPoints="1"/>
            </p:cNvSpPr>
            <p:nvPr/>
          </p:nvSpPr>
          <p:spPr bwMode="auto">
            <a:xfrm>
              <a:off x="5480" y="884"/>
              <a:ext cx="473" cy="466"/>
            </a:xfrm>
            <a:custGeom>
              <a:avLst/>
              <a:gdLst>
                <a:gd name="T0" fmla="*/ 170 w 250"/>
                <a:gd name="T1" fmla="*/ 124 h 246"/>
                <a:gd name="T2" fmla="*/ 237 w 250"/>
                <a:gd name="T3" fmla="*/ 57 h 246"/>
                <a:gd name="T4" fmla="*/ 237 w 250"/>
                <a:gd name="T5" fmla="*/ 12 h 246"/>
                <a:gd name="T6" fmla="*/ 192 w 250"/>
                <a:gd name="T7" fmla="*/ 12 h 246"/>
                <a:gd name="T8" fmla="*/ 125 w 250"/>
                <a:gd name="T9" fmla="*/ 79 h 246"/>
                <a:gd name="T10" fmla="*/ 58 w 250"/>
                <a:gd name="T11" fmla="*/ 12 h 246"/>
                <a:gd name="T12" fmla="*/ 13 w 250"/>
                <a:gd name="T13" fmla="*/ 12 h 246"/>
                <a:gd name="T14" fmla="*/ 13 w 250"/>
                <a:gd name="T15" fmla="*/ 57 h 246"/>
                <a:gd name="T16" fmla="*/ 80 w 250"/>
                <a:gd name="T17" fmla="*/ 124 h 246"/>
                <a:gd name="T18" fmla="*/ 13 w 250"/>
                <a:gd name="T19" fmla="*/ 191 h 246"/>
                <a:gd name="T20" fmla="*/ 13 w 250"/>
                <a:gd name="T21" fmla="*/ 236 h 246"/>
                <a:gd name="T22" fmla="*/ 35 w 250"/>
                <a:gd name="T23" fmla="*/ 246 h 246"/>
                <a:gd name="T24" fmla="*/ 58 w 250"/>
                <a:gd name="T25" fmla="*/ 236 h 246"/>
                <a:gd name="T26" fmla="*/ 125 w 250"/>
                <a:gd name="T27" fmla="*/ 169 h 246"/>
                <a:gd name="T28" fmla="*/ 192 w 250"/>
                <a:gd name="T29" fmla="*/ 236 h 246"/>
                <a:gd name="T30" fmla="*/ 215 w 250"/>
                <a:gd name="T31" fmla="*/ 246 h 246"/>
                <a:gd name="T32" fmla="*/ 237 w 250"/>
                <a:gd name="T33" fmla="*/ 236 h 246"/>
                <a:gd name="T34" fmla="*/ 237 w 250"/>
                <a:gd name="T35" fmla="*/ 191 h 246"/>
                <a:gd name="T36" fmla="*/ 170 w 250"/>
                <a:gd name="T37" fmla="*/ 124 h 246"/>
                <a:gd name="T38" fmla="*/ 170 w 250"/>
                <a:gd name="T39" fmla="*/ 124 h 246"/>
                <a:gd name="T40" fmla="*/ 170 w 250"/>
                <a:gd name="T41" fmla="*/ 1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0" h="246">
                  <a:moveTo>
                    <a:pt x="170" y="124"/>
                  </a:moveTo>
                  <a:cubicBezTo>
                    <a:pt x="237" y="57"/>
                    <a:pt x="237" y="57"/>
                    <a:pt x="237" y="57"/>
                  </a:cubicBezTo>
                  <a:cubicBezTo>
                    <a:pt x="250" y="45"/>
                    <a:pt x="250" y="25"/>
                    <a:pt x="237" y="12"/>
                  </a:cubicBezTo>
                  <a:cubicBezTo>
                    <a:pt x="225" y="0"/>
                    <a:pt x="204" y="0"/>
                    <a:pt x="192" y="12"/>
                  </a:cubicBezTo>
                  <a:cubicBezTo>
                    <a:pt x="125" y="79"/>
                    <a:pt x="125" y="79"/>
                    <a:pt x="125" y="79"/>
                  </a:cubicBezTo>
                  <a:cubicBezTo>
                    <a:pt x="58" y="12"/>
                    <a:pt x="58" y="12"/>
                    <a:pt x="58" y="12"/>
                  </a:cubicBezTo>
                  <a:cubicBezTo>
                    <a:pt x="46" y="0"/>
                    <a:pt x="25" y="0"/>
                    <a:pt x="13" y="12"/>
                  </a:cubicBezTo>
                  <a:cubicBezTo>
                    <a:pt x="0" y="25"/>
                    <a:pt x="0" y="45"/>
                    <a:pt x="13" y="57"/>
                  </a:cubicBezTo>
                  <a:cubicBezTo>
                    <a:pt x="80" y="124"/>
                    <a:pt x="80" y="124"/>
                    <a:pt x="80" y="124"/>
                  </a:cubicBezTo>
                  <a:cubicBezTo>
                    <a:pt x="13" y="191"/>
                    <a:pt x="13" y="191"/>
                    <a:pt x="13" y="191"/>
                  </a:cubicBezTo>
                  <a:cubicBezTo>
                    <a:pt x="0" y="204"/>
                    <a:pt x="0" y="224"/>
                    <a:pt x="13" y="236"/>
                  </a:cubicBezTo>
                  <a:cubicBezTo>
                    <a:pt x="19" y="243"/>
                    <a:pt x="27" y="246"/>
                    <a:pt x="35" y="246"/>
                  </a:cubicBezTo>
                  <a:cubicBezTo>
                    <a:pt x="44" y="246"/>
                    <a:pt x="52" y="243"/>
                    <a:pt x="58" y="236"/>
                  </a:cubicBezTo>
                  <a:cubicBezTo>
                    <a:pt x="125" y="169"/>
                    <a:pt x="125" y="169"/>
                    <a:pt x="125" y="169"/>
                  </a:cubicBezTo>
                  <a:cubicBezTo>
                    <a:pt x="192" y="236"/>
                    <a:pt x="192" y="236"/>
                    <a:pt x="192" y="236"/>
                  </a:cubicBezTo>
                  <a:cubicBezTo>
                    <a:pt x="198" y="243"/>
                    <a:pt x="206" y="246"/>
                    <a:pt x="215" y="246"/>
                  </a:cubicBezTo>
                  <a:cubicBezTo>
                    <a:pt x="223" y="246"/>
                    <a:pt x="231" y="243"/>
                    <a:pt x="237" y="236"/>
                  </a:cubicBezTo>
                  <a:cubicBezTo>
                    <a:pt x="250" y="224"/>
                    <a:pt x="250" y="204"/>
                    <a:pt x="237" y="191"/>
                  </a:cubicBezTo>
                  <a:lnTo>
                    <a:pt x="170" y="124"/>
                  </a:lnTo>
                  <a:close/>
                  <a:moveTo>
                    <a:pt x="170" y="124"/>
                  </a:moveTo>
                  <a:cubicBezTo>
                    <a:pt x="170" y="124"/>
                    <a:pt x="170" y="124"/>
                    <a:pt x="170"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9" name="Group 517"/>
          <p:cNvGrpSpPr>
            <a:grpSpLocks noChangeAspect="1"/>
          </p:cNvGrpSpPr>
          <p:nvPr/>
        </p:nvGrpSpPr>
        <p:grpSpPr bwMode="auto">
          <a:xfrm>
            <a:off x="7607852" y="2984382"/>
            <a:ext cx="457200" cy="457200"/>
            <a:chOff x="2769" y="1264"/>
            <a:chExt cx="3101" cy="3101"/>
          </a:xfrm>
          <a:solidFill>
            <a:schemeClr val="accent1"/>
          </a:solidFill>
        </p:grpSpPr>
        <p:sp>
          <p:nvSpPr>
            <p:cNvPr id="521" name="Freeform 518"/>
            <p:cNvSpPr>
              <a:spLocks noEditPoints="1"/>
            </p:cNvSpPr>
            <p:nvPr/>
          </p:nvSpPr>
          <p:spPr bwMode="auto">
            <a:xfrm>
              <a:off x="3577" y="1264"/>
              <a:ext cx="1485" cy="1611"/>
            </a:xfrm>
            <a:custGeom>
              <a:avLst/>
              <a:gdLst>
                <a:gd name="T0" fmla="*/ 548 w 784"/>
                <a:gd name="T1" fmla="*/ 422 h 851"/>
                <a:gd name="T2" fmla="*/ 534 w 784"/>
                <a:gd name="T3" fmla="*/ 422 h 851"/>
                <a:gd name="T4" fmla="*/ 583 w 784"/>
                <a:gd name="T5" fmla="*/ 296 h 851"/>
                <a:gd name="T6" fmla="*/ 583 w 784"/>
                <a:gd name="T7" fmla="*/ 191 h 851"/>
                <a:gd name="T8" fmla="*/ 392 w 784"/>
                <a:gd name="T9" fmla="*/ 0 h 851"/>
                <a:gd name="T10" fmla="*/ 202 w 784"/>
                <a:gd name="T11" fmla="*/ 191 h 851"/>
                <a:gd name="T12" fmla="*/ 202 w 784"/>
                <a:gd name="T13" fmla="*/ 296 h 851"/>
                <a:gd name="T14" fmla="*/ 250 w 784"/>
                <a:gd name="T15" fmla="*/ 422 h 851"/>
                <a:gd name="T16" fmla="*/ 237 w 784"/>
                <a:gd name="T17" fmla="*/ 422 h 851"/>
                <a:gd name="T18" fmla="*/ 0 w 784"/>
                <a:gd name="T19" fmla="*/ 659 h 851"/>
                <a:gd name="T20" fmla="*/ 0 w 784"/>
                <a:gd name="T21" fmla="*/ 819 h 851"/>
                <a:gd name="T22" fmla="*/ 32 w 784"/>
                <a:gd name="T23" fmla="*/ 851 h 851"/>
                <a:gd name="T24" fmla="*/ 752 w 784"/>
                <a:gd name="T25" fmla="*/ 851 h 851"/>
                <a:gd name="T26" fmla="*/ 784 w 784"/>
                <a:gd name="T27" fmla="*/ 819 h 851"/>
                <a:gd name="T28" fmla="*/ 784 w 784"/>
                <a:gd name="T29" fmla="*/ 659 h 851"/>
                <a:gd name="T30" fmla="*/ 548 w 784"/>
                <a:gd name="T31" fmla="*/ 422 h 851"/>
                <a:gd name="T32" fmla="*/ 392 w 784"/>
                <a:gd name="T33" fmla="*/ 64 h 851"/>
                <a:gd name="T34" fmla="*/ 517 w 784"/>
                <a:gd name="T35" fmla="*/ 172 h 851"/>
                <a:gd name="T36" fmla="*/ 461 w 784"/>
                <a:gd name="T37" fmla="*/ 139 h 851"/>
                <a:gd name="T38" fmla="*/ 420 w 784"/>
                <a:gd name="T39" fmla="*/ 146 h 851"/>
                <a:gd name="T40" fmla="*/ 311 w 784"/>
                <a:gd name="T41" fmla="*/ 197 h 851"/>
                <a:gd name="T42" fmla="*/ 266 w 784"/>
                <a:gd name="T43" fmla="*/ 197 h 851"/>
                <a:gd name="T44" fmla="*/ 266 w 784"/>
                <a:gd name="T45" fmla="*/ 191 h 851"/>
                <a:gd name="T46" fmla="*/ 392 w 784"/>
                <a:gd name="T47" fmla="*/ 64 h 851"/>
                <a:gd name="T48" fmla="*/ 266 w 784"/>
                <a:gd name="T49" fmla="*/ 261 h 851"/>
                <a:gd name="T50" fmla="*/ 311 w 784"/>
                <a:gd name="T51" fmla="*/ 261 h 851"/>
                <a:gd name="T52" fmla="*/ 450 w 784"/>
                <a:gd name="T53" fmla="*/ 207 h 851"/>
                <a:gd name="T54" fmla="*/ 519 w 784"/>
                <a:gd name="T55" fmla="*/ 247 h 851"/>
                <a:gd name="T56" fmla="*/ 519 w 784"/>
                <a:gd name="T57" fmla="*/ 296 h 851"/>
                <a:gd name="T58" fmla="*/ 392 w 784"/>
                <a:gd name="T59" fmla="*/ 422 h 851"/>
                <a:gd name="T60" fmla="*/ 266 w 784"/>
                <a:gd name="T61" fmla="*/ 296 h 851"/>
                <a:gd name="T62" fmla="*/ 266 w 784"/>
                <a:gd name="T63" fmla="*/ 261 h 851"/>
                <a:gd name="T64" fmla="*/ 720 w 784"/>
                <a:gd name="T65" fmla="*/ 787 h 851"/>
                <a:gd name="T66" fmla="*/ 64 w 784"/>
                <a:gd name="T67" fmla="*/ 787 h 851"/>
                <a:gd name="T68" fmla="*/ 64 w 784"/>
                <a:gd name="T69" fmla="*/ 659 h 851"/>
                <a:gd name="T70" fmla="*/ 237 w 784"/>
                <a:gd name="T71" fmla="*/ 486 h 851"/>
                <a:gd name="T72" fmla="*/ 360 w 784"/>
                <a:gd name="T73" fmla="*/ 486 h 851"/>
                <a:gd name="T74" fmla="*/ 360 w 784"/>
                <a:gd name="T75" fmla="*/ 550 h 851"/>
                <a:gd name="T76" fmla="*/ 392 w 784"/>
                <a:gd name="T77" fmla="*/ 582 h 851"/>
                <a:gd name="T78" fmla="*/ 424 w 784"/>
                <a:gd name="T79" fmla="*/ 550 h 851"/>
                <a:gd name="T80" fmla="*/ 424 w 784"/>
                <a:gd name="T81" fmla="*/ 486 h 851"/>
                <a:gd name="T82" fmla="*/ 548 w 784"/>
                <a:gd name="T83" fmla="*/ 486 h 851"/>
                <a:gd name="T84" fmla="*/ 720 w 784"/>
                <a:gd name="T85" fmla="*/ 659 h 851"/>
                <a:gd name="T86" fmla="*/ 720 w 784"/>
                <a:gd name="T87" fmla="*/ 787 h 851"/>
                <a:gd name="T88" fmla="*/ 720 w 784"/>
                <a:gd name="T89" fmla="*/ 787 h 851"/>
                <a:gd name="T90" fmla="*/ 720 w 784"/>
                <a:gd name="T91" fmla="*/ 787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4" h="851">
                  <a:moveTo>
                    <a:pt x="548" y="422"/>
                  </a:moveTo>
                  <a:cubicBezTo>
                    <a:pt x="534" y="422"/>
                    <a:pt x="534" y="422"/>
                    <a:pt x="534" y="422"/>
                  </a:cubicBezTo>
                  <a:cubicBezTo>
                    <a:pt x="564" y="389"/>
                    <a:pt x="583" y="345"/>
                    <a:pt x="583" y="296"/>
                  </a:cubicBezTo>
                  <a:cubicBezTo>
                    <a:pt x="583" y="191"/>
                    <a:pt x="583" y="191"/>
                    <a:pt x="583" y="191"/>
                  </a:cubicBezTo>
                  <a:cubicBezTo>
                    <a:pt x="583" y="85"/>
                    <a:pt x="497" y="0"/>
                    <a:pt x="392" y="0"/>
                  </a:cubicBezTo>
                  <a:cubicBezTo>
                    <a:pt x="287" y="0"/>
                    <a:pt x="202" y="85"/>
                    <a:pt x="202" y="191"/>
                  </a:cubicBezTo>
                  <a:cubicBezTo>
                    <a:pt x="202" y="296"/>
                    <a:pt x="202" y="296"/>
                    <a:pt x="202" y="296"/>
                  </a:cubicBezTo>
                  <a:cubicBezTo>
                    <a:pt x="202" y="344"/>
                    <a:pt x="220" y="389"/>
                    <a:pt x="250" y="422"/>
                  </a:cubicBezTo>
                  <a:cubicBezTo>
                    <a:pt x="237" y="422"/>
                    <a:pt x="237" y="422"/>
                    <a:pt x="237" y="422"/>
                  </a:cubicBezTo>
                  <a:cubicBezTo>
                    <a:pt x="106" y="422"/>
                    <a:pt x="0" y="529"/>
                    <a:pt x="0" y="659"/>
                  </a:cubicBezTo>
                  <a:cubicBezTo>
                    <a:pt x="0" y="819"/>
                    <a:pt x="0" y="819"/>
                    <a:pt x="0" y="819"/>
                  </a:cubicBezTo>
                  <a:cubicBezTo>
                    <a:pt x="0" y="837"/>
                    <a:pt x="14" y="851"/>
                    <a:pt x="32" y="851"/>
                  </a:cubicBezTo>
                  <a:cubicBezTo>
                    <a:pt x="752" y="851"/>
                    <a:pt x="752" y="851"/>
                    <a:pt x="752" y="851"/>
                  </a:cubicBezTo>
                  <a:cubicBezTo>
                    <a:pt x="770" y="851"/>
                    <a:pt x="784" y="837"/>
                    <a:pt x="784" y="819"/>
                  </a:cubicBezTo>
                  <a:cubicBezTo>
                    <a:pt x="784" y="659"/>
                    <a:pt x="784" y="659"/>
                    <a:pt x="784" y="659"/>
                  </a:cubicBezTo>
                  <a:cubicBezTo>
                    <a:pt x="784" y="529"/>
                    <a:pt x="678" y="422"/>
                    <a:pt x="548" y="422"/>
                  </a:cubicBezTo>
                  <a:close/>
                  <a:moveTo>
                    <a:pt x="392" y="64"/>
                  </a:moveTo>
                  <a:cubicBezTo>
                    <a:pt x="456" y="64"/>
                    <a:pt x="508" y="111"/>
                    <a:pt x="517" y="172"/>
                  </a:cubicBezTo>
                  <a:cubicBezTo>
                    <a:pt x="461" y="139"/>
                    <a:pt x="461" y="139"/>
                    <a:pt x="461" y="139"/>
                  </a:cubicBezTo>
                  <a:cubicBezTo>
                    <a:pt x="447" y="131"/>
                    <a:pt x="430" y="134"/>
                    <a:pt x="420" y="146"/>
                  </a:cubicBezTo>
                  <a:cubicBezTo>
                    <a:pt x="393" y="178"/>
                    <a:pt x="353" y="197"/>
                    <a:pt x="311" y="197"/>
                  </a:cubicBezTo>
                  <a:cubicBezTo>
                    <a:pt x="266" y="197"/>
                    <a:pt x="266" y="197"/>
                    <a:pt x="266" y="197"/>
                  </a:cubicBezTo>
                  <a:cubicBezTo>
                    <a:pt x="266" y="191"/>
                    <a:pt x="266" y="191"/>
                    <a:pt x="266" y="191"/>
                  </a:cubicBezTo>
                  <a:cubicBezTo>
                    <a:pt x="266" y="121"/>
                    <a:pt x="322" y="64"/>
                    <a:pt x="392" y="64"/>
                  </a:cubicBezTo>
                  <a:close/>
                  <a:moveTo>
                    <a:pt x="266" y="261"/>
                  </a:moveTo>
                  <a:cubicBezTo>
                    <a:pt x="311" y="261"/>
                    <a:pt x="311" y="261"/>
                    <a:pt x="311" y="261"/>
                  </a:cubicBezTo>
                  <a:cubicBezTo>
                    <a:pt x="363" y="261"/>
                    <a:pt x="412" y="241"/>
                    <a:pt x="450" y="207"/>
                  </a:cubicBezTo>
                  <a:cubicBezTo>
                    <a:pt x="519" y="247"/>
                    <a:pt x="519" y="247"/>
                    <a:pt x="519" y="247"/>
                  </a:cubicBezTo>
                  <a:cubicBezTo>
                    <a:pt x="519" y="296"/>
                    <a:pt x="519" y="296"/>
                    <a:pt x="519" y="296"/>
                  </a:cubicBezTo>
                  <a:cubicBezTo>
                    <a:pt x="519" y="366"/>
                    <a:pt x="462" y="422"/>
                    <a:pt x="392" y="422"/>
                  </a:cubicBezTo>
                  <a:cubicBezTo>
                    <a:pt x="322" y="422"/>
                    <a:pt x="266" y="366"/>
                    <a:pt x="266" y="296"/>
                  </a:cubicBezTo>
                  <a:lnTo>
                    <a:pt x="266" y="261"/>
                  </a:lnTo>
                  <a:close/>
                  <a:moveTo>
                    <a:pt x="720" y="787"/>
                  </a:moveTo>
                  <a:cubicBezTo>
                    <a:pt x="64" y="787"/>
                    <a:pt x="64" y="787"/>
                    <a:pt x="64" y="787"/>
                  </a:cubicBezTo>
                  <a:cubicBezTo>
                    <a:pt x="64" y="659"/>
                    <a:pt x="64" y="659"/>
                    <a:pt x="64" y="659"/>
                  </a:cubicBezTo>
                  <a:cubicBezTo>
                    <a:pt x="64" y="564"/>
                    <a:pt x="141" y="486"/>
                    <a:pt x="237" y="486"/>
                  </a:cubicBezTo>
                  <a:cubicBezTo>
                    <a:pt x="360" y="486"/>
                    <a:pt x="360" y="486"/>
                    <a:pt x="360" y="486"/>
                  </a:cubicBezTo>
                  <a:cubicBezTo>
                    <a:pt x="360" y="550"/>
                    <a:pt x="360" y="550"/>
                    <a:pt x="360" y="550"/>
                  </a:cubicBezTo>
                  <a:cubicBezTo>
                    <a:pt x="360" y="568"/>
                    <a:pt x="375" y="582"/>
                    <a:pt x="392" y="582"/>
                  </a:cubicBezTo>
                  <a:cubicBezTo>
                    <a:pt x="410" y="582"/>
                    <a:pt x="424" y="568"/>
                    <a:pt x="424" y="550"/>
                  </a:cubicBezTo>
                  <a:cubicBezTo>
                    <a:pt x="424" y="486"/>
                    <a:pt x="424" y="486"/>
                    <a:pt x="424" y="486"/>
                  </a:cubicBezTo>
                  <a:cubicBezTo>
                    <a:pt x="548" y="486"/>
                    <a:pt x="548" y="486"/>
                    <a:pt x="548" y="486"/>
                  </a:cubicBezTo>
                  <a:cubicBezTo>
                    <a:pt x="643" y="486"/>
                    <a:pt x="720" y="564"/>
                    <a:pt x="720" y="659"/>
                  </a:cubicBezTo>
                  <a:lnTo>
                    <a:pt x="720" y="787"/>
                  </a:lnTo>
                  <a:close/>
                  <a:moveTo>
                    <a:pt x="720" y="787"/>
                  </a:moveTo>
                  <a:cubicBezTo>
                    <a:pt x="720" y="787"/>
                    <a:pt x="720" y="787"/>
                    <a:pt x="720" y="7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519"/>
            <p:cNvSpPr>
              <a:spLocks noEditPoints="1"/>
            </p:cNvSpPr>
            <p:nvPr/>
          </p:nvSpPr>
          <p:spPr bwMode="auto">
            <a:xfrm>
              <a:off x="2769" y="3182"/>
              <a:ext cx="1236" cy="1183"/>
            </a:xfrm>
            <a:custGeom>
              <a:avLst/>
              <a:gdLst>
                <a:gd name="T0" fmla="*/ 493 w 653"/>
                <a:gd name="T1" fmla="*/ 263 h 625"/>
                <a:gd name="T2" fmla="*/ 449 w 653"/>
                <a:gd name="T3" fmla="*/ 263 h 625"/>
                <a:gd name="T4" fmla="*/ 475 w 653"/>
                <a:gd name="T5" fmla="*/ 178 h 625"/>
                <a:gd name="T6" fmla="*/ 475 w 653"/>
                <a:gd name="T7" fmla="*/ 149 h 625"/>
                <a:gd name="T8" fmla="*/ 326 w 653"/>
                <a:gd name="T9" fmla="*/ 0 h 625"/>
                <a:gd name="T10" fmla="*/ 177 w 653"/>
                <a:gd name="T11" fmla="*/ 149 h 625"/>
                <a:gd name="T12" fmla="*/ 177 w 653"/>
                <a:gd name="T13" fmla="*/ 178 h 625"/>
                <a:gd name="T14" fmla="*/ 204 w 653"/>
                <a:gd name="T15" fmla="*/ 263 h 625"/>
                <a:gd name="T16" fmla="*/ 160 w 653"/>
                <a:gd name="T17" fmla="*/ 263 h 625"/>
                <a:gd name="T18" fmla="*/ 0 w 653"/>
                <a:gd name="T19" fmla="*/ 423 h 625"/>
                <a:gd name="T20" fmla="*/ 0 w 653"/>
                <a:gd name="T21" fmla="*/ 593 h 625"/>
                <a:gd name="T22" fmla="*/ 32 w 653"/>
                <a:gd name="T23" fmla="*/ 625 h 625"/>
                <a:gd name="T24" fmla="*/ 621 w 653"/>
                <a:gd name="T25" fmla="*/ 625 h 625"/>
                <a:gd name="T26" fmla="*/ 653 w 653"/>
                <a:gd name="T27" fmla="*/ 593 h 625"/>
                <a:gd name="T28" fmla="*/ 653 w 653"/>
                <a:gd name="T29" fmla="*/ 423 h 625"/>
                <a:gd name="T30" fmla="*/ 493 w 653"/>
                <a:gd name="T31" fmla="*/ 263 h 625"/>
                <a:gd name="T32" fmla="*/ 241 w 653"/>
                <a:gd name="T33" fmla="*/ 149 h 625"/>
                <a:gd name="T34" fmla="*/ 326 w 653"/>
                <a:gd name="T35" fmla="*/ 64 h 625"/>
                <a:gd name="T36" fmla="*/ 411 w 653"/>
                <a:gd name="T37" fmla="*/ 149 h 625"/>
                <a:gd name="T38" fmla="*/ 411 w 653"/>
                <a:gd name="T39" fmla="*/ 178 h 625"/>
                <a:gd name="T40" fmla="*/ 326 w 653"/>
                <a:gd name="T41" fmla="*/ 263 h 625"/>
                <a:gd name="T42" fmla="*/ 241 w 653"/>
                <a:gd name="T43" fmla="*/ 178 h 625"/>
                <a:gd name="T44" fmla="*/ 241 w 653"/>
                <a:gd name="T45" fmla="*/ 149 h 625"/>
                <a:gd name="T46" fmla="*/ 589 w 653"/>
                <a:gd name="T47" fmla="*/ 561 h 625"/>
                <a:gd name="T48" fmla="*/ 64 w 653"/>
                <a:gd name="T49" fmla="*/ 561 h 625"/>
                <a:gd name="T50" fmla="*/ 64 w 653"/>
                <a:gd name="T51" fmla="*/ 423 h 625"/>
                <a:gd name="T52" fmla="*/ 160 w 653"/>
                <a:gd name="T53" fmla="*/ 327 h 625"/>
                <a:gd name="T54" fmla="*/ 294 w 653"/>
                <a:gd name="T55" fmla="*/ 327 h 625"/>
                <a:gd name="T56" fmla="*/ 294 w 653"/>
                <a:gd name="T57" fmla="*/ 392 h 625"/>
                <a:gd name="T58" fmla="*/ 326 w 653"/>
                <a:gd name="T59" fmla="*/ 424 h 625"/>
                <a:gd name="T60" fmla="*/ 358 w 653"/>
                <a:gd name="T61" fmla="*/ 392 h 625"/>
                <a:gd name="T62" fmla="*/ 358 w 653"/>
                <a:gd name="T63" fmla="*/ 327 h 625"/>
                <a:gd name="T64" fmla="*/ 493 w 653"/>
                <a:gd name="T65" fmla="*/ 327 h 625"/>
                <a:gd name="T66" fmla="*/ 589 w 653"/>
                <a:gd name="T67" fmla="*/ 423 h 625"/>
                <a:gd name="T68" fmla="*/ 589 w 653"/>
                <a:gd name="T69" fmla="*/ 561 h 625"/>
                <a:gd name="T70" fmla="*/ 589 w 653"/>
                <a:gd name="T71" fmla="*/ 561 h 625"/>
                <a:gd name="T72" fmla="*/ 589 w 653"/>
                <a:gd name="T73" fmla="*/ 5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3" h="625">
                  <a:moveTo>
                    <a:pt x="493" y="263"/>
                  </a:moveTo>
                  <a:cubicBezTo>
                    <a:pt x="449" y="263"/>
                    <a:pt x="449" y="263"/>
                    <a:pt x="449" y="263"/>
                  </a:cubicBezTo>
                  <a:cubicBezTo>
                    <a:pt x="465" y="239"/>
                    <a:pt x="475" y="210"/>
                    <a:pt x="475" y="178"/>
                  </a:cubicBezTo>
                  <a:cubicBezTo>
                    <a:pt x="475" y="149"/>
                    <a:pt x="475" y="149"/>
                    <a:pt x="475" y="149"/>
                  </a:cubicBezTo>
                  <a:cubicBezTo>
                    <a:pt x="475" y="67"/>
                    <a:pt x="409" y="0"/>
                    <a:pt x="326" y="0"/>
                  </a:cubicBezTo>
                  <a:cubicBezTo>
                    <a:pt x="244" y="0"/>
                    <a:pt x="177" y="67"/>
                    <a:pt x="177" y="149"/>
                  </a:cubicBezTo>
                  <a:cubicBezTo>
                    <a:pt x="177" y="178"/>
                    <a:pt x="177" y="178"/>
                    <a:pt x="177" y="178"/>
                  </a:cubicBezTo>
                  <a:cubicBezTo>
                    <a:pt x="177" y="210"/>
                    <a:pt x="187" y="239"/>
                    <a:pt x="204" y="263"/>
                  </a:cubicBezTo>
                  <a:cubicBezTo>
                    <a:pt x="160" y="263"/>
                    <a:pt x="160" y="263"/>
                    <a:pt x="160" y="263"/>
                  </a:cubicBezTo>
                  <a:cubicBezTo>
                    <a:pt x="72" y="263"/>
                    <a:pt x="0" y="335"/>
                    <a:pt x="0" y="423"/>
                  </a:cubicBezTo>
                  <a:cubicBezTo>
                    <a:pt x="0" y="593"/>
                    <a:pt x="0" y="593"/>
                    <a:pt x="0" y="593"/>
                  </a:cubicBezTo>
                  <a:cubicBezTo>
                    <a:pt x="0" y="611"/>
                    <a:pt x="14" y="625"/>
                    <a:pt x="32" y="625"/>
                  </a:cubicBezTo>
                  <a:cubicBezTo>
                    <a:pt x="621" y="625"/>
                    <a:pt x="621" y="625"/>
                    <a:pt x="621" y="625"/>
                  </a:cubicBezTo>
                  <a:cubicBezTo>
                    <a:pt x="638" y="625"/>
                    <a:pt x="653" y="611"/>
                    <a:pt x="653" y="593"/>
                  </a:cubicBezTo>
                  <a:cubicBezTo>
                    <a:pt x="653" y="423"/>
                    <a:pt x="653" y="423"/>
                    <a:pt x="653" y="423"/>
                  </a:cubicBezTo>
                  <a:cubicBezTo>
                    <a:pt x="653" y="335"/>
                    <a:pt x="581" y="263"/>
                    <a:pt x="493" y="263"/>
                  </a:cubicBezTo>
                  <a:close/>
                  <a:moveTo>
                    <a:pt x="241" y="149"/>
                  </a:moveTo>
                  <a:cubicBezTo>
                    <a:pt x="241" y="102"/>
                    <a:pt x="280" y="64"/>
                    <a:pt x="326" y="64"/>
                  </a:cubicBezTo>
                  <a:cubicBezTo>
                    <a:pt x="373" y="64"/>
                    <a:pt x="411" y="102"/>
                    <a:pt x="411" y="149"/>
                  </a:cubicBezTo>
                  <a:cubicBezTo>
                    <a:pt x="411" y="178"/>
                    <a:pt x="411" y="178"/>
                    <a:pt x="411" y="178"/>
                  </a:cubicBezTo>
                  <a:cubicBezTo>
                    <a:pt x="411" y="225"/>
                    <a:pt x="373" y="263"/>
                    <a:pt x="326" y="263"/>
                  </a:cubicBezTo>
                  <a:cubicBezTo>
                    <a:pt x="280" y="263"/>
                    <a:pt x="241" y="225"/>
                    <a:pt x="241" y="178"/>
                  </a:cubicBezTo>
                  <a:lnTo>
                    <a:pt x="241" y="149"/>
                  </a:lnTo>
                  <a:close/>
                  <a:moveTo>
                    <a:pt x="589" y="561"/>
                  </a:moveTo>
                  <a:cubicBezTo>
                    <a:pt x="64" y="561"/>
                    <a:pt x="64" y="561"/>
                    <a:pt x="64" y="561"/>
                  </a:cubicBezTo>
                  <a:cubicBezTo>
                    <a:pt x="64" y="423"/>
                    <a:pt x="64" y="423"/>
                    <a:pt x="64" y="423"/>
                  </a:cubicBezTo>
                  <a:cubicBezTo>
                    <a:pt x="64" y="370"/>
                    <a:pt x="107" y="327"/>
                    <a:pt x="160" y="327"/>
                  </a:cubicBezTo>
                  <a:cubicBezTo>
                    <a:pt x="294" y="327"/>
                    <a:pt x="294" y="327"/>
                    <a:pt x="294" y="327"/>
                  </a:cubicBezTo>
                  <a:cubicBezTo>
                    <a:pt x="294" y="392"/>
                    <a:pt x="294" y="392"/>
                    <a:pt x="294" y="392"/>
                  </a:cubicBezTo>
                  <a:cubicBezTo>
                    <a:pt x="294" y="409"/>
                    <a:pt x="309" y="424"/>
                    <a:pt x="326" y="424"/>
                  </a:cubicBezTo>
                  <a:cubicBezTo>
                    <a:pt x="344" y="424"/>
                    <a:pt x="358" y="409"/>
                    <a:pt x="358" y="392"/>
                  </a:cubicBezTo>
                  <a:cubicBezTo>
                    <a:pt x="358" y="327"/>
                    <a:pt x="358" y="327"/>
                    <a:pt x="358" y="327"/>
                  </a:cubicBezTo>
                  <a:cubicBezTo>
                    <a:pt x="493" y="327"/>
                    <a:pt x="493" y="327"/>
                    <a:pt x="493" y="327"/>
                  </a:cubicBezTo>
                  <a:cubicBezTo>
                    <a:pt x="546" y="327"/>
                    <a:pt x="589" y="370"/>
                    <a:pt x="589" y="423"/>
                  </a:cubicBezTo>
                  <a:lnTo>
                    <a:pt x="589" y="561"/>
                  </a:lnTo>
                  <a:close/>
                  <a:moveTo>
                    <a:pt x="589" y="561"/>
                  </a:moveTo>
                  <a:cubicBezTo>
                    <a:pt x="589" y="561"/>
                    <a:pt x="589" y="561"/>
                    <a:pt x="589" y="5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520"/>
            <p:cNvSpPr>
              <a:spLocks noEditPoints="1"/>
            </p:cNvSpPr>
            <p:nvPr/>
          </p:nvSpPr>
          <p:spPr bwMode="auto">
            <a:xfrm>
              <a:off x="4636" y="3182"/>
              <a:ext cx="1234" cy="1183"/>
            </a:xfrm>
            <a:custGeom>
              <a:avLst/>
              <a:gdLst>
                <a:gd name="T0" fmla="*/ 492 w 652"/>
                <a:gd name="T1" fmla="*/ 263 h 625"/>
                <a:gd name="T2" fmla="*/ 448 w 652"/>
                <a:gd name="T3" fmla="*/ 263 h 625"/>
                <a:gd name="T4" fmla="*/ 475 w 652"/>
                <a:gd name="T5" fmla="*/ 178 h 625"/>
                <a:gd name="T6" fmla="*/ 475 w 652"/>
                <a:gd name="T7" fmla="*/ 149 h 625"/>
                <a:gd name="T8" fmla="*/ 326 w 652"/>
                <a:gd name="T9" fmla="*/ 0 h 625"/>
                <a:gd name="T10" fmla="*/ 177 w 652"/>
                <a:gd name="T11" fmla="*/ 149 h 625"/>
                <a:gd name="T12" fmla="*/ 177 w 652"/>
                <a:gd name="T13" fmla="*/ 178 h 625"/>
                <a:gd name="T14" fmla="*/ 204 w 652"/>
                <a:gd name="T15" fmla="*/ 263 h 625"/>
                <a:gd name="T16" fmla="*/ 160 w 652"/>
                <a:gd name="T17" fmla="*/ 263 h 625"/>
                <a:gd name="T18" fmla="*/ 0 w 652"/>
                <a:gd name="T19" fmla="*/ 423 h 625"/>
                <a:gd name="T20" fmla="*/ 0 w 652"/>
                <a:gd name="T21" fmla="*/ 593 h 625"/>
                <a:gd name="T22" fmla="*/ 32 w 652"/>
                <a:gd name="T23" fmla="*/ 625 h 625"/>
                <a:gd name="T24" fmla="*/ 620 w 652"/>
                <a:gd name="T25" fmla="*/ 625 h 625"/>
                <a:gd name="T26" fmla="*/ 652 w 652"/>
                <a:gd name="T27" fmla="*/ 593 h 625"/>
                <a:gd name="T28" fmla="*/ 652 w 652"/>
                <a:gd name="T29" fmla="*/ 423 h 625"/>
                <a:gd name="T30" fmla="*/ 492 w 652"/>
                <a:gd name="T31" fmla="*/ 263 h 625"/>
                <a:gd name="T32" fmla="*/ 241 w 652"/>
                <a:gd name="T33" fmla="*/ 149 h 625"/>
                <a:gd name="T34" fmla="*/ 326 w 652"/>
                <a:gd name="T35" fmla="*/ 64 h 625"/>
                <a:gd name="T36" fmla="*/ 411 w 652"/>
                <a:gd name="T37" fmla="*/ 149 h 625"/>
                <a:gd name="T38" fmla="*/ 411 w 652"/>
                <a:gd name="T39" fmla="*/ 178 h 625"/>
                <a:gd name="T40" fmla="*/ 326 w 652"/>
                <a:gd name="T41" fmla="*/ 263 h 625"/>
                <a:gd name="T42" fmla="*/ 241 w 652"/>
                <a:gd name="T43" fmla="*/ 178 h 625"/>
                <a:gd name="T44" fmla="*/ 241 w 652"/>
                <a:gd name="T45" fmla="*/ 149 h 625"/>
                <a:gd name="T46" fmla="*/ 588 w 652"/>
                <a:gd name="T47" fmla="*/ 561 h 625"/>
                <a:gd name="T48" fmla="*/ 64 w 652"/>
                <a:gd name="T49" fmla="*/ 561 h 625"/>
                <a:gd name="T50" fmla="*/ 64 w 652"/>
                <a:gd name="T51" fmla="*/ 423 h 625"/>
                <a:gd name="T52" fmla="*/ 160 w 652"/>
                <a:gd name="T53" fmla="*/ 327 h 625"/>
                <a:gd name="T54" fmla="*/ 294 w 652"/>
                <a:gd name="T55" fmla="*/ 327 h 625"/>
                <a:gd name="T56" fmla="*/ 294 w 652"/>
                <a:gd name="T57" fmla="*/ 392 h 625"/>
                <a:gd name="T58" fmla="*/ 326 w 652"/>
                <a:gd name="T59" fmla="*/ 424 h 625"/>
                <a:gd name="T60" fmla="*/ 358 w 652"/>
                <a:gd name="T61" fmla="*/ 392 h 625"/>
                <a:gd name="T62" fmla="*/ 358 w 652"/>
                <a:gd name="T63" fmla="*/ 327 h 625"/>
                <a:gd name="T64" fmla="*/ 492 w 652"/>
                <a:gd name="T65" fmla="*/ 327 h 625"/>
                <a:gd name="T66" fmla="*/ 588 w 652"/>
                <a:gd name="T67" fmla="*/ 423 h 625"/>
                <a:gd name="T68" fmla="*/ 588 w 652"/>
                <a:gd name="T69" fmla="*/ 561 h 625"/>
                <a:gd name="T70" fmla="*/ 588 w 652"/>
                <a:gd name="T71" fmla="*/ 561 h 625"/>
                <a:gd name="T72" fmla="*/ 588 w 652"/>
                <a:gd name="T73" fmla="*/ 5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2" h="625">
                  <a:moveTo>
                    <a:pt x="492" y="263"/>
                  </a:moveTo>
                  <a:cubicBezTo>
                    <a:pt x="448" y="263"/>
                    <a:pt x="448" y="263"/>
                    <a:pt x="448" y="263"/>
                  </a:cubicBezTo>
                  <a:cubicBezTo>
                    <a:pt x="465" y="239"/>
                    <a:pt x="475" y="210"/>
                    <a:pt x="475" y="178"/>
                  </a:cubicBezTo>
                  <a:cubicBezTo>
                    <a:pt x="475" y="149"/>
                    <a:pt x="475" y="149"/>
                    <a:pt x="475" y="149"/>
                  </a:cubicBezTo>
                  <a:cubicBezTo>
                    <a:pt x="475" y="67"/>
                    <a:pt x="408" y="0"/>
                    <a:pt x="326" y="0"/>
                  </a:cubicBezTo>
                  <a:cubicBezTo>
                    <a:pt x="244" y="0"/>
                    <a:pt x="177" y="67"/>
                    <a:pt x="177" y="149"/>
                  </a:cubicBezTo>
                  <a:cubicBezTo>
                    <a:pt x="177" y="178"/>
                    <a:pt x="177" y="178"/>
                    <a:pt x="177" y="178"/>
                  </a:cubicBezTo>
                  <a:cubicBezTo>
                    <a:pt x="177" y="210"/>
                    <a:pt x="187" y="239"/>
                    <a:pt x="204" y="263"/>
                  </a:cubicBezTo>
                  <a:cubicBezTo>
                    <a:pt x="160" y="263"/>
                    <a:pt x="160" y="263"/>
                    <a:pt x="160" y="263"/>
                  </a:cubicBezTo>
                  <a:cubicBezTo>
                    <a:pt x="71" y="263"/>
                    <a:pt x="0" y="335"/>
                    <a:pt x="0" y="423"/>
                  </a:cubicBezTo>
                  <a:cubicBezTo>
                    <a:pt x="0" y="593"/>
                    <a:pt x="0" y="593"/>
                    <a:pt x="0" y="593"/>
                  </a:cubicBezTo>
                  <a:cubicBezTo>
                    <a:pt x="0" y="611"/>
                    <a:pt x="14" y="625"/>
                    <a:pt x="32" y="625"/>
                  </a:cubicBezTo>
                  <a:cubicBezTo>
                    <a:pt x="620" y="625"/>
                    <a:pt x="620" y="625"/>
                    <a:pt x="620" y="625"/>
                  </a:cubicBezTo>
                  <a:cubicBezTo>
                    <a:pt x="638" y="625"/>
                    <a:pt x="652" y="611"/>
                    <a:pt x="652" y="593"/>
                  </a:cubicBezTo>
                  <a:cubicBezTo>
                    <a:pt x="652" y="423"/>
                    <a:pt x="652" y="423"/>
                    <a:pt x="652" y="423"/>
                  </a:cubicBezTo>
                  <a:cubicBezTo>
                    <a:pt x="652" y="335"/>
                    <a:pt x="581" y="263"/>
                    <a:pt x="492" y="263"/>
                  </a:cubicBezTo>
                  <a:close/>
                  <a:moveTo>
                    <a:pt x="241" y="149"/>
                  </a:moveTo>
                  <a:cubicBezTo>
                    <a:pt x="241" y="102"/>
                    <a:pt x="279" y="64"/>
                    <a:pt x="326" y="64"/>
                  </a:cubicBezTo>
                  <a:cubicBezTo>
                    <a:pt x="373" y="64"/>
                    <a:pt x="411" y="102"/>
                    <a:pt x="411" y="149"/>
                  </a:cubicBezTo>
                  <a:cubicBezTo>
                    <a:pt x="411" y="178"/>
                    <a:pt x="411" y="178"/>
                    <a:pt x="411" y="178"/>
                  </a:cubicBezTo>
                  <a:cubicBezTo>
                    <a:pt x="411" y="225"/>
                    <a:pt x="373" y="263"/>
                    <a:pt x="326" y="263"/>
                  </a:cubicBezTo>
                  <a:cubicBezTo>
                    <a:pt x="279" y="263"/>
                    <a:pt x="241" y="225"/>
                    <a:pt x="241" y="178"/>
                  </a:cubicBezTo>
                  <a:lnTo>
                    <a:pt x="241" y="149"/>
                  </a:lnTo>
                  <a:close/>
                  <a:moveTo>
                    <a:pt x="588" y="561"/>
                  </a:moveTo>
                  <a:cubicBezTo>
                    <a:pt x="64" y="561"/>
                    <a:pt x="64" y="561"/>
                    <a:pt x="64" y="561"/>
                  </a:cubicBezTo>
                  <a:cubicBezTo>
                    <a:pt x="64" y="423"/>
                    <a:pt x="64" y="423"/>
                    <a:pt x="64" y="423"/>
                  </a:cubicBezTo>
                  <a:cubicBezTo>
                    <a:pt x="64" y="370"/>
                    <a:pt x="107" y="327"/>
                    <a:pt x="160" y="327"/>
                  </a:cubicBezTo>
                  <a:cubicBezTo>
                    <a:pt x="294" y="327"/>
                    <a:pt x="294" y="327"/>
                    <a:pt x="294" y="327"/>
                  </a:cubicBezTo>
                  <a:cubicBezTo>
                    <a:pt x="294" y="392"/>
                    <a:pt x="294" y="392"/>
                    <a:pt x="294" y="392"/>
                  </a:cubicBezTo>
                  <a:cubicBezTo>
                    <a:pt x="294" y="409"/>
                    <a:pt x="308" y="424"/>
                    <a:pt x="326" y="424"/>
                  </a:cubicBezTo>
                  <a:cubicBezTo>
                    <a:pt x="344" y="424"/>
                    <a:pt x="358" y="409"/>
                    <a:pt x="358" y="392"/>
                  </a:cubicBezTo>
                  <a:cubicBezTo>
                    <a:pt x="358" y="327"/>
                    <a:pt x="358" y="327"/>
                    <a:pt x="358" y="327"/>
                  </a:cubicBezTo>
                  <a:cubicBezTo>
                    <a:pt x="492" y="327"/>
                    <a:pt x="492" y="327"/>
                    <a:pt x="492" y="327"/>
                  </a:cubicBezTo>
                  <a:cubicBezTo>
                    <a:pt x="545" y="327"/>
                    <a:pt x="588" y="370"/>
                    <a:pt x="588" y="423"/>
                  </a:cubicBezTo>
                  <a:lnTo>
                    <a:pt x="588" y="561"/>
                  </a:lnTo>
                  <a:close/>
                  <a:moveTo>
                    <a:pt x="588" y="561"/>
                  </a:moveTo>
                  <a:cubicBezTo>
                    <a:pt x="588" y="561"/>
                    <a:pt x="588" y="561"/>
                    <a:pt x="588" y="5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521"/>
            <p:cNvSpPr>
              <a:spLocks noEditPoints="1"/>
            </p:cNvSpPr>
            <p:nvPr/>
          </p:nvSpPr>
          <p:spPr bwMode="auto">
            <a:xfrm>
              <a:off x="3918" y="2994"/>
              <a:ext cx="803" cy="743"/>
            </a:xfrm>
            <a:custGeom>
              <a:avLst/>
              <a:gdLst>
                <a:gd name="T0" fmla="*/ 412 w 424"/>
                <a:gd name="T1" fmla="*/ 334 h 392"/>
                <a:gd name="T2" fmla="*/ 244 w 424"/>
                <a:gd name="T3" fmla="*/ 166 h 392"/>
                <a:gd name="T4" fmla="*/ 244 w 424"/>
                <a:gd name="T5" fmla="*/ 32 h 392"/>
                <a:gd name="T6" fmla="*/ 212 w 424"/>
                <a:gd name="T7" fmla="*/ 0 h 392"/>
                <a:gd name="T8" fmla="*/ 180 w 424"/>
                <a:gd name="T9" fmla="*/ 32 h 392"/>
                <a:gd name="T10" fmla="*/ 180 w 424"/>
                <a:gd name="T11" fmla="*/ 166 h 392"/>
                <a:gd name="T12" fmla="*/ 13 w 424"/>
                <a:gd name="T13" fmla="*/ 334 h 392"/>
                <a:gd name="T14" fmla="*/ 13 w 424"/>
                <a:gd name="T15" fmla="*/ 379 h 392"/>
                <a:gd name="T16" fmla="*/ 58 w 424"/>
                <a:gd name="T17" fmla="*/ 379 h 392"/>
                <a:gd name="T18" fmla="*/ 212 w 424"/>
                <a:gd name="T19" fmla="*/ 225 h 392"/>
                <a:gd name="T20" fmla="*/ 367 w 424"/>
                <a:gd name="T21" fmla="*/ 379 h 392"/>
                <a:gd name="T22" fmla="*/ 389 w 424"/>
                <a:gd name="T23" fmla="*/ 388 h 392"/>
                <a:gd name="T24" fmla="*/ 412 w 424"/>
                <a:gd name="T25" fmla="*/ 379 h 392"/>
                <a:gd name="T26" fmla="*/ 412 w 424"/>
                <a:gd name="T27" fmla="*/ 334 h 392"/>
                <a:gd name="T28" fmla="*/ 412 w 424"/>
                <a:gd name="T29" fmla="*/ 334 h 392"/>
                <a:gd name="T30" fmla="*/ 412 w 424"/>
                <a:gd name="T31" fmla="*/ 33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4" h="392">
                  <a:moveTo>
                    <a:pt x="412" y="334"/>
                  </a:moveTo>
                  <a:cubicBezTo>
                    <a:pt x="244" y="166"/>
                    <a:pt x="244" y="166"/>
                    <a:pt x="244" y="166"/>
                  </a:cubicBezTo>
                  <a:cubicBezTo>
                    <a:pt x="244" y="32"/>
                    <a:pt x="244" y="32"/>
                    <a:pt x="244" y="32"/>
                  </a:cubicBezTo>
                  <a:cubicBezTo>
                    <a:pt x="244" y="14"/>
                    <a:pt x="230" y="0"/>
                    <a:pt x="212" y="0"/>
                  </a:cubicBezTo>
                  <a:cubicBezTo>
                    <a:pt x="195" y="0"/>
                    <a:pt x="180" y="14"/>
                    <a:pt x="180" y="32"/>
                  </a:cubicBezTo>
                  <a:cubicBezTo>
                    <a:pt x="180" y="166"/>
                    <a:pt x="180" y="166"/>
                    <a:pt x="180" y="166"/>
                  </a:cubicBezTo>
                  <a:cubicBezTo>
                    <a:pt x="13" y="334"/>
                    <a:pt x="13" y="334"/>
                    <a:pt x="13" y="334"/>
                  </a:cubicBezTo>
                  <a:cubicBezTo>
                    <a:pt x="0" y="346"/>
                    <a:pt x="0" y="367"/>
                    <a:pt x="13" y="379"/>
                  </a:cubicBezTo>
                  <a:cubicBezTo>
                    <a:pt x="25" y="392"/>
                    <a:pt x="45" y="392"/>
                    <a:pt x="58" y="379"/>
                  </a:cubicBezTo>
                  <a:cubicBezTo>
                    <a:pt x="212" y="225"/>
                    <a:pt x="212" y="225"/>
                    <a:pt x="212" y="225"/>
                  </a:cubicBezTo>
                  <a:cubicBezTo>
                    <a:pt x="367" y="379"/>
                    <a:pt x="367" y="379"/>
                    <a:pt x="367" y="379"/>
                  </a:cubicBezTo>
                  <a:cubicBezTo>
                    <a:pt x="373" y="385"/>
                    <a:pt x="381" y="388"/>
                    <a:pt x="389" y="388"/>
                  </a:cubicBezTo>
                  <a:cubicBezTo>
                    <a:pt x="397" y="388"/>
                    <a:pt x="406" y="385"/>
                    <a:pt x="412" y="379"/>
                  </a:cubicBezTo>
                  <a:cubicBezTo>
                    <a:pt x="424" y="367"/>
                    <a:pt x="424" y="346"/>
                    <a:pt x="412" y="334"/>
                  </a:cubicBezTo>
                  <a:close/>
                  <a:moveTo>
                    <a:pt x="412" y="334"/>
                  </a:moveTo>
                  <a:cubicBezTo>
                    <a:pt x="412" y="334"/>
                    <a:pt x="412" y="334"/>
                    <a:pt x="412" y="3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522"/>
            <p:cNvSpPr>
              <a:spLocks noEditPoints="1"/>
            </p:cNvSpPr>
            <p:nvPr/>
          </p:nvSpPr>
          <p:spPr bwMode="auto">
            <a:xfrm>
              <a:off x="4259" y="2479"/>
              <a:ext cx="121" cy="122"/>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2" name="Group 29"/>
          <p:cNvGrpSpPr>
            <a:grpSpLocks noChangeAspect="1"/>
          </p:cNvGrpSpPr>
          <p:nvPr/>
        </p:nvGrpSpPr>
        <p:grpSpPr bwMode="auto">
          <a:xfrm>
            <a:off x="6335473" y="2984382"/>
            <a:ext cx="584892" cy="457200"/>
            <a:chOff x="2864" y="1698"/>
            <a:chExt cx="3101" cy="2424"/>
          </a:xfrm>
          <a:solidFill>
            <a:schemeClr val="accent1"/>
          </a:solidFill>
        </p:grpSpPr>
        <p:sp>
          <p:nvSpPr>
            <p:cNvPr id="593" name="Freeform 30"/>
            <p:cNvSpPr>
              <a:spLocks noEditPoints="1"/>
            </p:cNvSpPr>
            <p:nvPr/>
          </p:nvSpPr>
          <p:spPr bwMode="auto">
            <a:xfrm>
              <a:off x="4282" y="1698"/>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8"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31"/>
            <p:cNvSpPr>
              <a:spLocks noEditPoints="1"/>
            </p:cNvSpPr>
            <p:nvPr/>
          </p:nvSpPr>
          <p:spPr bwMode="auto">
            <a:xfrm>
              <a:off x="2864" y="1698"/>
              <a:ext cx="3101" cy="2424"/>
            </a:xfrm>
            <a:custGeom>
              <a:avLst/>
              <a:gdLst>
                <a:gd name="T0" fmla="*/ 1555 w 1638"/>
                <a:gd name="T1" fmla="*/ 1043 h 1280"/>
                <a:gd name="T2" fmla="*/ 1382 w 1638"/>
                <a:gd name="T3" fmla="*/ 0 h 1280"/>
                <a:gd name="T4" fmla="*/ 883 w 1638"/>
                <a:gd name="T5" fmla="*/ 32 h 1280"/>
                <a:gd name="T6" fmla="*/ 1382 w 1638"/>
                <a:gd name="T7" fmla="*/ 64 h 1280"/>
                <a:gd name="T8" fmla="*/ 1491 w 1638"/>
                <a:gd name="T9" fmla="*/ 296 h 1280"/>
                <a:gd name="T10" fmla="*/ 421 w 1638"/>
                <a:gd name="T11" fmla="*/ 545 h 1280"/>
                <a:gd name="T12" fmla="*/ 376 w 1638"/>
                <a:gd name="T13" fmla="*/ 545 h 1280"/>
                <a:gd name="T14" fmla="*/ 147 w 1638"/>
                <a:gd name="T15" fmla="*/ 583 h 1280"/>
                <a:gd name="T16" fmla="*/ 656 w 1638"/>
                <a:gd name="T17" fmla="*/ 590 h 1280"/>
                <a:gd name="T18" fmla="*/ 1197 w 1638"/>
                <a:gd name="T19" fmla="*/ 277 h 1280"/>
                <a:gd name="T20" fmla="*/ 1229 w 1638"/>
                <a:gd name="T21" fmla="*/ 305 h 1280"/>
                <a:gd name="T22" fmla="*/ 1273 w 1638"/>
                <a:gd name="T23" fmla="*/ 204 h 1280"/>
                <a:gd name="T24" fmla="*/ 1242 w 1638"/>
                <a:gd name="T25" fmla="*/ 167 h 1280"/>
                <a:gd name="T26" fmla="*/ 1138 w 1638"/>
                <a:gd name="T27" fmla="*/ 199 h 1280"/>
                <a:gd name="T28" fmla="*/ 684 w 1638"/>
                <a:gd name="T29" fmla="*/ 526 h 1280"/>
                <a:gd name="T30" fmla="*/ 398 w 1638"/>
                <a:gd name="T31" fmla="*/ 254 h 1280"/>
                <a:gd name="T32" fmla="*/ 147 w 1638"/>
                <a:gd name="T33" fmla="*/ 492 h 1280"/>
                <a:gd name="T34" fmla="*/ 256 w 1638"/>
                <a:gd name="T35" fmla="*/ 64 h 1280"/>
                <a:gd name="T36" fmla="*/ 669 w 1638"/>
                <a:gd name="T37" fmla="*/ 32 h 1280"/>
                <a:gd name="T38" fmla="*/ 256 w 1638"/>
                <a:gd name="T39" fmla="*/ 0 h 1280"/>
                <a:gd name="T40" fmla="*/ 83 w 1638"/>
                <a:gd name="T41" fmla="*/ 1043 h 1280"/>
                <a:gd name="T42" fmla="*/ 0 w 1638"/>
                <a:gd name="T43" fmla="*/ 1075 h 1280"/>
                <a:gd name="T44" fmla="*/ 163 w 1638"/>
                <a:gd name="T45" fmla="*/ 1280 h 1280"/>
                <a:gd name="T46" fmla="*/ 1638 w 1638"/>
                <a:gd name="T47" fmla="*/ 1117 h 1280"/>
                <a:gd name="T48" fmla="*/ 1606 w 1638"/>
                <a:gd name="T49" fmla="*/ 1043 h 1280"/>
                <a:gd name="T50" fmla="*/ 1491 w 1638"/>
                <a:gd name="T51" fmla="*/ 372 h 1280"/>
                <a:gd name="T52" fmla="*/ 1274 w 1638"/>
                <a:gd name="T53" fmla="*/ 1043 h 1280"/>
                <a:gd name="T54" fmla="*/ 992 w 1638"/>
                <a:gd name="T55" fmla="*/ 688 h 1280"/>
                <a:gd name="T56" fmla="*/ 1210 w 1638"/>
                <a:gd name="T57" fmla="*/ 1043 h 1280"/>
                <a:gd name="T58" fmla="*/ 992 w 1638"/>
                <a:gd name="T59" fmla="*/ 688 h 1280"/>
                <a:gd name="T60" fmla="*/ 928 w 1638"/>
                <a:gd name="T61" fmla="*/ 729 h 1280"/>
                <a:gd name="T62" fmla="*/ 710 w 1638"/>
                <a:gd name="T63" fmla="*/ 1043 h 1280"/>
                <a:gd name="T64" fmla="*/ 429 w 1638"/>
                <a:gd name="T65" fmla="*/ 644 h 1280"/>
                <a:gd name="T66" fmla="*/ 646 w 1638"/>
                <a:gd name="T67" fmla="*/ 1043 h 1280"/>
                <a:gd name="T68" fmla="*/ 429 w 1638"/>
                <a:gd name="T69" fmla="*/ 644 h 1280"/>
                <a:gd name="T70" fmla="*/ 365 w 1638"/>
                <a:gd name="T71" fmla="*/ 647 h 1280"/>
                <a:gd name="T72" fmla="*/ 147 w 1638"/>
                <a:gd name="T73" fmla="*/ 1043 h 1280"/>
                <a:gd name="T74" fmla="*/ 1574 w 1638"/>
                <a:gd name="T75" fmla="*/ 1117 h 1280"/>
                <a:gd name="T76" fmla="*/ 163 w 1638"/>
                <a:gd name="T77" fmla="*/ 1216 h 1280"/>
                <a:gd name="T78" fmla="*/ 64 w 1638"/>
                <a:gd name="T79" fmla="*/ 1107 h 1280"/>
                <a:gd name="T80" fmla="*/ 1574 w 1638"/>
                <a:gd name="T81" fmla="*/ 1117 h 1280"/>
                <a:gd name="T82" fmla="*/ 1574 w 1638"/>
                <a:gd name="T83" fmla="*/ 1117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38" h="1280">
                  <a:moveTo>
                    <a:pt x="1606" y="1043"/>
                  </a:moveTo>
                  <a:cubicBezTo>
                    <a:pt x="1555" y="1043"/>
                    <a:pt x="1555" y="1043"/>
                    <a:pt x="1555" y="1043"/>
                  </a:cubicBezTo>
                  <a:cubicBezTo>
                    <a:pt x="1555" y="173"/>
                    <a:pt x="1555" y="173"/>
                    <a:pt x="1555" y="173"/>
                  </a:cubicBezTo>
                  <a:cubicBezTo>
                    <a:pt x="1555" y="78"/>
                    <a:pt x="1478" y="0"/>
                    <a:pt x="1382" y="0"/>
                  </a:cubicBezTo>
                  <a:cubicBezTo>
                    <a:pt x="915" y="0"/>
                    <a:pt x="915" y="0"/>
                    <a:pt x="915" y="0"/>
                  </a:cubicBezTo>
                  <a:cubicBezTo>
                    <a:pt x="898" y="0"/>
                    <a:pt x="883" y="14"/>
                    <a:pt x="883" y="32"/>
                  </a:cubicBezTo>
                  <a:cubicBezTo>
                    <a:pt x="883" y="50"/>
                    <a:pt x="898" y="64"/>
                    <a:pt x="915" y="64"/>
                  </a:cubicBezTo>
                  <a:cubicBezTo>
                    <a:pt x="1382" y="64"/>
                    <a:pt x="1382" y="64"/>
                    <a:pt x="1382" y="64"/>
                  </a:cubicBezTo>
                  <a:cubicBezTo>
                    <a:pt x="1442" y="64"/>
                    <a:pt x="1491" y="113"/>
                    <a:pt x="1491" y="173"/>
                  </a:cubicBezTo>
                  <a:cubicBezTo>
                    <a:pt x="1491" y="296"/>
                    <a:pt x="1491" y="296"/>
                    <a:pt x="1491" y="296"/>
                  </a:cubicBezTo>
                  <a:cubicBezTo>
                    <a:pt x="684" y="808"/>
                    <a:pt x="684" y="808"/>
                    <a:pt x="684" y="808"/>
                  </a:cubicBezTo>
                  <a:cubicBezTo>
                    <a:pt x="421" y="545"/>
                    <a:pt x="421" y="545"/>
                    <a:pt x="421" y="545"/>
                  </a:cubicBezTo>
                  <a:cubicBezTo>
                    <a:pt x="415" y="539"/>
                    <a:pt x="407" y="536"/>
                    <a:pt x="398" y="536"/>
                  </a:cubicBezTo>
                  <a:cubicBezTo>
                    <a:pt x="390" y="536"/>
                    <a:pt x="382" y="539"/>
                    <a:pt x="376" y="545"/>
                  </a:cubicBezTo>
                  <a:cubicBezTo>
                    <a:pt x="147" y="774"/>
                    <a:pt x="147" y="774"/>
                    <a:pt x="147" y="774"/>
                  </a:cubicBezTo>
                  <a:cubicBezTo>
                    <a:pt x="147" y="583"/>
                    <a:pt x="147" y="583"/>
                    <a:pt x="147" y="583"/>
                  </a:cubicBezTo>
                  <a:cubicBezTo>
                    <a:pt x="398" y="332"/>
                    <a:pt x="398" y="332"/>
                    <a:pt x="398" y="332"/>
                  </a:cubicBezTo>
                  <a:cubicBezTo>
                    <a:pt x="656" y="590"/>
                    <a:pt x="656" y="590"/>
                    <a:pt x="656" y="590"/>
                  </a:cubicBezTo>
                  <a:cubicBezTo>
                    <a:pt x="667" y="600"/>
                    <a:pt x="683" y="602"/>
                    <a:pt x="696" y="594"/>
                  </a:cubicBezTo>
                  <a:cubicBezTo>
                    <a:pt x="1197" y="277"/>
                    <a:pt x="1197" y="277"/>
                    <a:pt x="1197" y="277"/>
                  </a:cubicBezTo>
                  <a:cubicBezTo>
                    <a:pt x="1199" y="290"/>
                    <a:pt x="1209" y="302"/>
                    <a:pt x="1223" y="304"/>
                  </a:cubicBezTo>
                  <a:cubicBezTo>
                    <a:pt x="1225" y="305"/>
                    <a:pt x="1227" y="305"/>
                    <a:pt x="1229" y="305"/>
                  </a:cubicBezTo>
                  <a:cubicBezTo>
                    <a:pt x="1244" y="305"/>
                    <a:pt x="1258" y="294"/>
                    <a:pt x="1260" y="278"/>
                  </a:cubicBezTo>
                  <a:cubicBezTo>
                    <a:pt x="1273" y="204"/>
                    <a:pt x="1273" y="204"/>
                    <a:pt x="1273" y="204"/>
                  </a:cubicBezTo>
                  <a:cubicBezTo>
                    <a:pt x="1275" y="195"/>
                    <a:pt x="1272" y="186"/>
                    <a:pt x="1266" y="178"/>
                  </a:cubicBezTo>
                  <a:cubicBezTo>
                    <a:pt x="1260" y="171"/>
                    <a:pt x="1251" y="167"/>
                    <a:pt x="1242" y="167"/>
                  </a:cubicBezTo>
                  <a:cubicBezTo>
                    <a:pt x="1170" y="167"/>
                    <a:pt x="1170" y="167"/>
                    <a:pt x="1170" y="167"/>
                  </a:cubicBezTo>
                  <a:cubicBezTo>
                    <a:pt x="1153" y="167"/>
                    <a:pt x="1138" y="181"/>
                    <a:pt x="1138" y="199"/>
                  </a:cubicBezTo>
                  <a:cubicBezTo>
                    <a:pt x="1138" y="211"/>
                    <a:pt x="1145" y="222"/>
                    <a:pt x="1155" y="227"/>
                  </a:cubicBezTo>
                  <a:cubicBezTo>
                    <a:pt x="684" y="526"/>
                    <a:pt x="684" y="526"/>
                    <a:pt x="684" y="526"/>
                  </a:cubicBezTo>
                  <a:cubicBezTo>
                    <a:pt x="421" y="264"/>
                    <a:pt x="421" y="264"/>
                    <a:pt x="421" y="264"/>
                  </a:cubicBezTo>
                  <a:cubicBezTo>
                    <a:pt x="415" y="258"/>
                    <a:pt x="407" y="254"/>
                    <a:pt x="398" y="254"/>
                  </a:cubicBezTo>
                  <a:cubicBezTo>
                    <a:pt x="390" y="254"/>
                    <a:pt x="382" y="258"/>
                    <a:pt x="376" y="264"/>
                  </a:cubicBezTo>
                  <a:cubicBezTo>
                    <a:pt x="147" y="492"/>
                    <a:pt x="147" y="492"/>
                    <a:pt x="147" y="492"/>
                  </a:cubicBezTo>
                  <a:cubicBezTo>
                    <a:pt x="147" y="173"/>
                    <a:pt x="147" y="173"/>
                    <a:pt x="147" y="173"/>
                  </a:cubicBezTo>
                  <a:cubicBezTo>
                    <a:pt x="147" y="113"/>
                    <a:pt x="196" y="64"/>
                    <a:pt x="256" y="64"/>
                  </a:cubicBezTo>
                  <a:cubicBezTo>
                    <a:pt x="637" y="64"/>
                    <a:pt x="637" y="64"/>
                    <a:pt x="637" y="64"/>
                  </a:cubicBezTo>
                  <a:cubicBezTo>
                    <a:pt x="654" y="64"/>
                    <a:pt x="669" y="50"/>
                    <a:pt x="669" y="32"/>
                  </a:cubicBezTo>
                  <a:cubicBezTo>
                    <a:pt x="669" y="14"/>
                    <a:pt x="654" y="0"/>
                    <a:pt x="637" y="0"/>
                  </a:cubicBezTo>
                  <a:cubicBezTo>
                    <a:pt x="256" y="0"/>
                    <a:pt x="256" y="0"/>
                    <a:pt x="256" y="0"/>
                  </a:cubicBezTo>
                  <a:cubicBezTo>
                    <a:pt x="161" y="0"/>
                    <a:pt x="83" y="78"/>
                    <a:pt x="83" y="173"/>
                  </a:cubicBezTo>
                  <a:cubicBezTo>
                    <a:pt x="83" y="1043"/>
                    <a:pt x="83" y="1043"/>
                    <a:pt x="83" y="1043"/>
                  </a:cubicBezTo>
                  <a:cubicBezTo>
                    <a:pt x="32" y="1043"/>
                    <a:pt x="32" y="1043"/>
                    <a:pt x="32" y="1043"/>
                  </a:cubicBezTo>
                  <a:cubicBezTo>
                    <a:pt x="14" y="1043"/>
                    <a:pt x="0" y="1058"/>
                    <a:pt x="0" y="1075"/>
                  </a:cubicBezTo>
                  <a:cubicBezTo>
                    <a:pt x="0" y="1117"/>
                    <a:pt x="0" y="1117"/>
                    <a:pt x="0" y="1117"/>
                  </a:cubicBezTo>
                  <a:cubicBezTo>
                    <a:pt x="0" y="1207"/>
                    <a:pt x="73" y="1280"/>
                    <a:pt x="163" y="1280"/>
                  </a:cubicBezTo>
                  <a:cubicBezTo>
                    <a:pt x="1475" y="1280"/>
                    <a:pt x="1475" y="1280"/>
                    <a:pt x="1475" y="1280"/>
                  </a:cubicBezTo>
                  <a:cubicBezTo>
                    <a:pt x="1565" y="1280"/>
                    <a:pt x="1638" y="1207"/>
                    <a:pt x="1638" y="1117"/>
                  </a:cubicBezTo>
                  <a:cubicBezTo>
                    <a:pt x="1638" y="1075"/>
                    <a:pt x="1638" y="1075"/>
                    <a:pt x="1638" y="1075"/>
                  </a:cubicBezTo>
                  <a:cubicBezTo>
                    <a:pt x="1638" y="1058"/>
                    <a:pt x="1624" y="1043"/>
                    <a:pt x="1606" y="1043"/>
                  </a:cubicBezTo>
                  <a:close/>
                  <a:moveTo>
                    <a:pt x="1274" y="510"/>
                  </a:moveTo>
                  <a:cubicBezTo>
                    <a:pt x="1491" y="372"/>
                    <a:pt x="1491" y="372"/>
                    <a:pt x="1491" y="372"/>
                  </a:cubicBezTo>
                  <a:cubicBezTo>
                    <a:pt x="1491" y="1043"/>
                    <a:pt x="1491" y="1043"/>
                    <a:pt x="1491" y="1043"/>
                  </a:cubicBezTo>
                  <a:cubicBezTo>
                    <a:pt x="1274" y="1043"/>
                    <a:pt x="1274" y="1043"/>
                    <a:pt x="1274" y="1043"/>
                  </a:cubicBezTo>
                  <a:lnTo>
                    <a:pt x="1274" y="510"/>
                  </a:lnTo>
                  <a:close/>
                  <a:moveTo>
                    <a:pt x="992" y="688"/>
                  </a:moveTo>
                  <a:cubicBezTo>
                    <a:pt x="1210" y="550"/>
                    <a:pt x="1210" y="550"/>
                    <a:pt x="1210" y="550"/>
                  </a:cubicBezTo>
                  <a:cubicBezTo>
                    <a:pt x="1210" y="1043"/>
                    <a:pt x="1210" y="1043"/>
                    <a:pt x="1210" y="1043"/>
                  </a:cubicBezTo>
                  <a:cubicBezTo>
                    <a:pt x="992" y="1043"/>
                    <a:pt x="992" y="1043"/>
                    <a:pt x="992" y="1043"/>
                  </a:cubicBezTo>
                  <a:lnTo>
                    <a:pt x="992" y="688"/>
                  </a:lnTo>
                  <a:close/>
                  <a:moveTo>
                    <a:pt x="710" y="867"/>
                  </a:moveTo>
                  <a:cubicBezTo>
                    <a:pt x="928" y="729"/>
                    <a:pt x="928" y="729"/>
                    <a:pt x="928" y="729"/>
                  </a:cubicBezTo>
                  <a:cubicBezTo>
                    <a:pt x="928" y="1043"/>
                    <a:pt x="928" y="1043"/>
                    <a:pt x="928" y="1043"/>
                  </a:cubicBezTo>
                  <a:cubicBezTo>
                    <a:pt x="710" y="1043"/>
                    <a:pt x="710" y="1043"/>
                    <a:pt x="710" y="1043"/>
                  </a:cubicBezTo>
                  <a:lnTo>
                    <a:pt x="710" y="867"/>
                  </a:lnTo>
                  <a:close/>
                  <a:moveTo>
                    <a:pt x="429" y="644"/>
                  </a:moveTo>
                  <a:cubicBezTo>
                    <a:pt x="646" y="861"/>
                    <a:pt x="646" y="861"/>
                    <a:pt x="646" y="861"/>
                  </a:cubicBezTo>
                  <a:cubicBezTo>
                    <a:pt x="646" y="1043"/>
                    <a:pt x="646" y="1043"/>
                    <a:pt x="646" y="1043"/>
                  </a:cubicBezTo>
                  <a:cubicBezTo>
                    <a:pt x="429" y="1043"/>
                    <a:pt x="429" y="1043"/>
                    <a:pt x="429" y="1043"/>
                  </a:cubicBezTo>
                  <a:lnTo>
                    <a:pt x="429" y="644"/>
                  </a:lnTo>
                  <a:close/>
                  <a:moveTo>
                    <a:pt x="147" y="864"/>
                  </a:moveTo>
                  <a:cubicBezTo>
                    <a:pt x="365" y="647"/>
                    <a:pt x="365" y="647"/>
                    <a:pt x="365" y="647"/>
                  </a:cubicBezTo>
                  <a:cubicBezTo>
                    <a:pt x="365" y="1043"/>
                    <a:pt x="365" y="1043"/>
                    <a:pt x="365" y="1043"/>
                  </a:cubicBezTo>
                  <a:cubicBezTo>
                    <a:pt x="147" y="1043"/>
                    <a:pt x="147" y="1043"/>
                    <a:pt x="147" y="1043"/>
                  </a:cubicBezTo>
                  <a:lnTo>
                    <a:pt x="147" y="864"/>
                  </a:lnTo>
                  <a:close/>
                  <a:moveTo>
                    <a:pt x="1574" y="1117"/>
                  </a:moveTo>
                  <a:cubicBezTo>
                    <a:pt x="1574" y="1172"/>
                    <a:pt x="1530" y="1216"/>
                    <a:pt x="1475" y="1216"/>
                  </a:cubicBezTo>
                  <a:cubicBezTo>
                    <a:pt x="163" y="1216"/>
                    <a:pt x="163" y="1216"/>
                    <a:pt x="163" y="1216"/>
                  </a:cubicBezTo>
                  <a:cubicBezTo>
                    <a:pt x="109" y="1216"/>
                    <a:pt x="64" y="1172"/>
                    <a:pt x="64" y="1117"/>
                  </a:cubicBezTo>
                  <a:cubicBezTo>
                    <a:pt x="64" y="1107"/>
                    <a:pt x="64" y="1107"/>
                    <a:pt x="64" y="1107"/>
                  </a:cubicBezTo>
                  <a:cubicBezTo>
                    <a:pt x="1574" y="1107"/>
                    <a:pt x="1574" y="1107"/>
                    <a:pt x="1574" y="1107"/>
                  </a:cubicBezTo>
                  <a:lnTo>
                    <a:pt x="1574" y="1117"/>
                  </a:lnTo>
                  <a:close/>
                  <a:moveTo>
                    <a:pt x="1574" y="1117"/>
                  </a:moveTo>
                  <a:cubicBezTo>
                    <a:pt x="1574" y="1117"/>
                    <a:pt x="1574" y="1117"/>
                    <a:pt x="1574" y="11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5" name="Group 34"/>
          <p:cNvGrpSpPr>
            <a:grpSpLocks noChangeAspect="1"/>
          </p:cNvGrpSpPr>
          <p:nvPr/>
        </p:nvGrpSpPr>
        <p:grpSpPr bwMode="auto">
          <a:xfrm>
            <a:off x="275662" y="2984382"/>
            <a:ext cx="457786" cy="457200"/>
            <a:chOff x="4790" y="1045"/>
            <a:chExt cx="3124" cy="3120"/>
          </a:xfrm>
          <a:solidFill>
            <a:schemeClr val="accent1"/>
          </a:solidFill>
        </p:grpSpPr>
        <p:sp>
          <p:nvSpPr>
            <p:cNvPr id="596" name="Freeform 35"/>
            <p:cNvSpPr>
              <a:spLocks noEditPoints="1"/>
            </p:cNvSpPr>
            <p:nvPr/>
          </p:nvSpPr>
          <p:spPr bwMode="auto">
            <a:xfrm>
              <a:off x="4790" y="2253"/>
              <a:ext cx="1914" cy="1912"/>
            </a:xfrm>
            <a:custGeom>
              <a:avLst/>
              <a:gdLst>
                <a:gd name="T0" fmla="*/ 981 w 1011"/>
                <a:gd name="T1" fmla="*/ 475 h 1010"/>
                <a:gd name="T2" fmla="*/ 911 w 1011"/>
                <a:gd name="T3" fmla="*/ 322 h 1010"/>
                <a:gd name="T4" fmla="*/ 905 w 1011"/>
                <a:gd name="T5" fmla="*/ 115 h 1010"/>
                <a:gd name="T6" fmla="*/ 701 w 1011"/>
                <a:gd name="T7" fmla="*/ 105 h 1010"/>
                <a:gd name="T8" fmla="*/ 667 w 1011"/>
                <a:gd name="T9" fmla="*/ 160 h 1010"/>
                <a:gd name="T10" fmla="*/ 420 w 1011"/>
                <a:gd name="T11" fmla="*/ 34 h 1010"/>
                <a:gd name="T12" fmla="*/ 295 w 1011"/>
                <a:gd name="T13" fmla="*/ 196 h 1010"/>
                <a:gd name="T14" fmla="*/ 368 w 1011"/>
                <a:gd name="T15" fmla="*/ 265 h 1010"/>
                <a:gd name="T16" fmla="*/ 400 w 1011"/>
                <a:gd name="T17" fmla="*/ 329 h 1010"/>
                <a:gd name="T18" fmla="*/ 329 w 1011"/>
                <a:gd name="T19" fmla="*/ 400 h 1010"/>
                <a:gd name="T20" fmla="*/ 265 w 1011"/>
                <a:gd name="T21" fmla="*/ 368 h 1010"/>
                <a:gd name="T22" fmla="*/ 196 w 1011"/>
                <a:gd name="T23" fmla="*/ 295 h 1010"/>
                <a:gd name="T24" fmla="*/ 34 w 1011"/>
                <a:gd name="T25" fmla="*/ 420 h 1010"/>
                <a:gd name="T26" fmla="*/ 160 w 1011"/>
                <a:gd name="T27" fmla="*/ 667 h 1010"/>
                <a:gd name="T28" fmla="*/ 105 w 1011"/>
                <a:gd name="T29" fmla="*/ 701 h 1010"/>
                <a:gd name="T30" fmla="*/ 225 w 1011"/>
                <a:gd name="T31" fmla="*/ 952 h 1010"/>
                <a:gd name="T32" fmla="*/ 322 w 1011"/>
                <a:gd name="T33" fmla="*/ 911 h 1010"/>
                <a:gd name="T34" fmla="*/ 475 w 1011"/>
                <a:gd name="T35" fmla="*/ 981 h 1010"/>
                <a:gd name="T36" fmla="*/ 541 w 1011"/>
                <a:gd name="T37" fmla="*/ 1010 h 1010"/>
                <a:gd name="T38" fmla="*/ 704 w 1011"/>
                <a:gd name="T39" fmla="*/ 881 h 1010"/>
                <a:gd name="T40" fmla="*/ 744 w 1011"/>
                <a:gd name="T41" fmla="*/ 938 h 1010"/>
                <a:gd name="T42" fmla="*/ 938 w 1011"/>
                <a:gd name="T43" fmla="*/ 744 h 1010"/>
                <a:gd name="T44" fmla="*/ 881 w 1011"/>
                <a:gd name="T45" fmla="*/ 705 h 1010"/>
                <a:gd name="T46" fmla="*/ 1010 w 1011"/>
                <a:gd name="T47" fmla="*/ 536 h 1010"/>
                <a:gd name="T48" fmla="*/ 831 w 1011"/>
                <a:gd name="T49" fmla="*/ 665 h 1010"/>
                <a:gd name="T50" fmla="*/ 855 w 1011"/>
                <a:gd name="T51" fmla="*/ 763 h 1010"/>
                <a:gd name="T52" fmla="*/ 893 w 1011"/>
                <a:gd name="T53" fmla="*/ 789 h 1010"/>
                <a:gd name="T54" fmla="*/ 789 w 1011"/>
                <a:gd name="T55" fmla="*/ 893 h 1010"/>
                <a:gd name="T56" fmla="*/ 763 w 1011"/>
                <a:gd name="T57" fmla="*/ 855 h 1010"/>
                <a:gd name="T58" fmla="*/ 664 w 1011"/>
                <a:gd name="T59" fmla="*/ 831 h 1010"/>
                <a:gd name="T60" fmla="*/ 540 w 1011"/>
                <a:gd name="T61" fmla="*/ 946 h 1010"/>
                <a:gd name="T62" fmla="*/ 471 w 1011"/>
                <a:gd name="T63" fmla="*/ 887 h 1010"/>
                <a:gd name="T64" fmla="*/ 577 w 1011"/>
                <a:gd name="T65" fmla="*/ 736 h 1010"/>
                <a:gd name="T66" fmla="*/ 426 w 1011"/>
                <a:gd name="T67" fmla="*/ 842 h 1010"/>
                <a:gd name="T68" fmla="*/ 348 w 1011"/>
                <a:gd name="T69" fmla="*/ 790 h 1010"/>
                <a:gd name="T70" fmla="*/ 294 w 1011"/>
                <a:gd name="T71" fmla="*/ 834 h 1010"/>
                <a:gd name="T72" fmla="*/ 273 w 1011"/>
                <a:gd name="T73" fmla="*/ 869 h 1010"/>
                <a:gd name="T74" fmla="*/ 150 w 1011"/>
                <a:gd name="T75" fmla="*/ 746 h 1010"/>
                <a:gd name="T76" fmla="*/ 186 w 1011"/>
                <a:gd name="T77" fmla="*/ 726 h 1010"/>
                <a:gd name="T78" fmla="*/ 211 w 1011"/>
                <a:gd name="T79" fmla="*/ 627 h 1010"/>
                <a:gd name="T80" fmla="*/ 74 w 1011"/>
                <a:gd name="T81" fmla="*/ 480 h 1010"/>
                <a:gd name="T82" fmla="*/ 184 w 1011"/>
                <a:gd name="T83" fmla="*/ 360 h 1010"/>
                <a:gd name="T84" fmla="*/ 223 w 1011"/>
                <a:gd name="T85" fmla="*/ 417 h 1010"/>
                <a:gd name="T86" fmla="*/ 417 w 1011"/>
                <a:gd name="T87" fmla="*/ 223 h 1010"/>
                <a:gd name="T88" fmla="*/ 360 w 1011"/>
                <a:gd name="T89" fmla="*/ 184 h 1010"/>
                <a:gd name="T90" fmla="*/ 500 w 1011"/>
                <a:gd name="T91" fmla="*/ 84 h 1010"/>
                <a:gd name="T92" fmla="*/ 688 w 1011"/>
                <a:gd name="T93" fmla="*/ 227 h 1010"/>
                <a:gd name="T94" fmla="*/ 743 w 1011"/>
                <a:gd name="T95" fmla="*/ 153 h 1010"/>
                <a:gd name="T96" fmla="*/ 799 w 1011"/>
                <a:gd name="T97" fmla="*/ 132 h 1010"/>
                <a:gd name="T98" fmla="*/ 869 w 1011"/>
                <a:gd name="T99" fmla="*/ 273 h 1010"/>
                <a:gd name="T100" fmla="*/ 834 w 1011"/>
                <a:gd name="T101" fmla="*/ 294 h 1010"/>
                <a:gd name="T102" fmla="*/ 809 w 1011"/>
                <a:gd name="T103" fmla="*/ 393 h 1010"/>
                <a:gd name="T104" fmla="*/ 946 w 1011"/>
                <a:gd name="T105" fmla="*/ 540 h 1010"/>
                <a:gd name="T106" fmla="*/ 941 w 1011"/>
                <a:gd name="T107" fmla="*/ 554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1" h="1010">
                  <a:moveTo>
                    <a:pt x="1010" y="536"/>
                  </a:moveTo>
                  <a:cubicBezTo>
                    <a:pt x="1008" y="513"/>
                    <a:pt x="998" y="491"/>
                    <a:pt x="981" y="475"/>
                  </a:cubicBezTo>
                  <a:cubicBezTo>
                    <a:pt x="860" y="353"/>
                    <a:pt x="860" y="353"/>
                    <a:pt x="860" y="353"/>
                  </a:cubicBezTo>
                  <a:cubicBezTo>
                    <a:pt x="879" y="347"/>
                    <a:pt x="897" y="336"/>
                    <a:pt x="911" y="322"/>
                  </a:cubicBezTo>
                  <a:cubicBezTo>
                    <a:pt x="915" y="319"/>
                    <a:pt x="915" y="319"/>
                    <a:pt x="915" y="319"/>
                  </a:cubicBezTo>
                  <a:cubicBezTo>
                    <a:pt x="968" y="265"/>
                    <a:pt x="964" y="174"/>
                    <a:pt x="905" y="115"/>
                  </a:cubicBezTo>
                  <a:cubicBezTo>
                    <a:pt x="877" y="87"/>
                    <a:pt x="841" y="70"/>
                    <a:pt x="803" y="68"/>
                  </a:cubicBezTo>
                  <a:cubicBezTo>
                    <a:pt x="764" y="65"/>
                    <a:pt x="728" y="79"/>
                    <a:pt x="701" y="105"/>
                  </a:cubicBezTo>
                  <a:cubicBezTo>
                    <a:pt x="698" y="108"/>
                    <a:pt x="698" y="108"/>
                    <a:pt x="698" y="108"/>
                  </a:cubicBezTo>
                  <a:cubicBezTo>
                    <a:pt x="684" y="123"/>
                    <a:pt x="673" y="140"/>
                    <a:pt x="667" y="160"/>
                  </a:cubicBezTo>
                  <a:cubicBezTo>
                    <a:pt x="545" y="38"/>
                    <a:pt x="545" y="38"/>
                    <a:pt x="545" y="38"/>
                  </a:cubicBezTo>
                  <a:cubicBezTo>
                    <a:pt x="509" y="3"/>
                    <a:pt x="453" y="0"/>
                    <a:pt x="420" y="34"/>
                  </a:cubicBezTo>
                  <a:cubicBezTo>
                    <a:pt x="310" y="144"/>
                    <a:pt x="310" y="144"/>
                    <a:pt x="310" y="144"/>
                  </a:cubicBezTo>
                  <a:cubicBezTo>
                    <a:pt x="296" y="157"/>
                    <a:pt x="291" y="177"/>
                    <a:pt x="295" y="196"/>
                  </a:cubicBezTo>
                  <a:cubicBezTo>
                    <a:pt x="299" y="217"/>
                    <a:pt x="314" y="234"/>
                    <a:pt x="334" y="242"/>
                  </a:cubicBezTo>
                  <a:cubicBezTo>
                    <a:pt x="347" y="247"/>
                    <a:pt x="358" y="255"/>
                    <a:pt x="368" y="265"/>
                  </a:cubicBezTo>
                  <a:cubicBezTo>
                    <a:pt x="372" y="268"/>
                    <a:pt x="372" y="268"/>
                    <a:pt x="372" y="268"/>
                  </a:cubicBezTo>
                  <a:cubicBezTo>
                    <a:pt x="389" y="285"/>
                    <a:pt x="399" y="307"/>
                    <a:pt x="400" y="329"/>
                  </a:cubicBezTo>
                  <a:cubicBezTo>
                    <a:pt x="401" y="349"/>
                    <a:pt x="395" y="368"/>
                    <a:pt x="381" y="382"/>
                  </a:cubicBezTo>
                  <a:cubicBezTo>
                    <a:pt x="368" y="395"/>
                    <a:pt x="349" y="402"/>
                    <a:pt x="329" y="400"/>
                  </a:cubicBezTo>
                  <a:cubicBezTo>
                    <a:pt x="306" y="399"/>
                    <a:pt x="285" y="389"/>
                    <a:pt x="268" y="372"/>
                  </a:cubicBezTo>
                  <a:cubicBezTo>
                    <a:pt x="265" y="368"/>
                    <a:pt x="265" y="368"/>
                    <a:pt x="265" y="368"/>
                  </a:cubicBezTo>
                  <a:cubicBezTo>
                    <a:pt x="255" y="358"/>
                    <a:pt x="247" y="347"/>
                    <a:pt x="242" y="334"/>
                  </a:cubicBezTo>
                  <a:cubicBezTo>
                    <a:pt x="234" y="314"/>
                    <a:pt x="217" y="299"/>
                    <a:pt x="196" y="295"/>
                  </a:cubicBezTo>
                  <a:cubicBezTo>
                    <a:pt x="177" y="291"/>
                    <a:pt x="157" y="297"/>
                    <a:pt x="144" y="310"/>
                  </a:cubicBezTo>
                  <a:cubicBezTo>
                    <a:pt x="34" y="420"/>
                    <a:pt x="34" y="420"/>
                    <a:pt x="34" y="420"/>
                  </a:cubicBezTo>
                  <a:cubicBezTo>
                    <a:pt x="0" y="453"/>
                    <a:pt x="3" y="509"/>
                    <a:pt x="38" y="545"/>
                  </a:cubicBezTo>
                  <a:cubicBezTo>
                    <a:pt x="160" y="667"/>
                    <a:pt x="160" y="667"/>
                    <a:pt x="160" y="667"/>
                  </a:cubicBezTo>
                  <a:cubicBezTo>
                    <a:pt x="140" y="673"/>
                    <a:pt x="123" y="684"/>
                    <a:pt x="108" y="698"/>
                  </a:cubicBezTo>
                  <a:cubicBezTo>
                    <a:pt x="105" y="701"/>
                    <a:pt x="105" y="701"/>
                    <a:pt x="105" y="701"/>
                  </a:cubicBezTo>
                  <a:cubicBezTo>
                    <a:pt x="52" y="755"/>
                    <a:pt x="56" y="846"/>
                    <a:pt x="115" y="905"/>
                  </a:cubicBezTo>
                  <a:cubicBezTo>
                    <a:pt x="146" y="936"/>
                    <a:pt x="186" y="952"/>
                    <a:pt x="225" y="952"/>
                  </a:cubicBezTo>
                  <a:cubicBezTo>
                    <a:pt x="260" y="952"/>
                    <a:pt x="293" y="940"/>
                    <a:pt x="319" y="915"/>
                  </a:cubicBezTo>
                  <a:cubicBezTo>
                    <a:pt x="322" y="911"/>
                    <a:pt x="322" y="911"/>
                    <a:pt x="322" y="911"/>
                  </a:cubicBezTo>
                  <a:cubicBezTo>
                    <a:pt x="336" y="897"/>
                    <a:pt x="347" y="879"/>
                    <a:pt x="353" y="860"/>
                  </a:cubicBezTo>
                  <a:cubicBezTo>
                    <a:pt x="475" y="981"/>
                    <a:pt x="475" y="981"/>
                    <a:pt x="475" y="981"/>
                  </a:cubicBezTo>
                  <a:cubicBezTo>
                    <a:pt x="491" y="998"/>
                    <a:pt x="513" y="1008"/>
                    <a:pt x="536" y="1010"/>
                  </a:cubicBezTo>
                  <a:cubicBezTo>
                    <a:pt x="538" y="1010"/>
                    <a:pt x="540" y="1010"/>
                    <a:pt x="541" y="1010"/>
                  </a:cubicBezTo>
                  <a:cubicBezTo>
                    <a:pt x="564" y="1010"/>
                    <a:pt x="584" y="1001"/>
                    <a:pt x="600" y="986"/>
                  </a:cubicBezTo>
                  <a:cubicBezTo>
                    <a:pt x="704" y="881"/>
                    <a:pt x="704" y="881"/>
                    <a:pt x="704" y="881"/>
                  </a:cubicBezTo>
                  <a:cubicBezTo>
                    <a:pt x="713" y="901"/>
                    <a:pt x="725" y="919"/>
                    <a:pt x="740" y="934"/>
                  </a:cubicBezTo>
                  <a:cubicBezTo>
                    <a:pt x="744" y="938"/>
                    <a:pt x="744" y="938"/>
                    <a:pt x="744" y="938"/>
                  </a:cubicBezTo>
                  <a:cubicBezTo>
                    <a:pt x="802" y="997"/>
                    <a:pt x="894" y="1001"/>
                    <a:pt x="947" y="948"/>
                  </a:cubicBezTo>
                  <a:cubicBezTo>
                    <a:pt x="1001" y="894"/>
                    <a:pt x="997" y="803"/>
                    <a:pt x="938" y="744"/>
                  </a:cubicBezTo>
                  <a:cubicBezTo>
                    <a:pt x="934" y="740"/>
                    <a:pt x="934" y="740"/>
                    <a:pt x="934" y="740"/>
                  </a:cubicBezTo>
                  <a:cubicBezTo>
                    <a:pt x="919" y="725"/>
                    <a:pt x="901" y="713"/>
                    <a:pt x="881" y="705"/>
                  </a:cubicBezTo>
                  <a:cubicBezTo>
                    <a:pt x="986" y="600"/>
                    <a:pt x="986" y="600"/>
                    <a:pt x="986" y="600"/>
                  </a:cubicBezTo>
                  <a:cubicBezTo>
                    <a:pt x="1002" y="583"/>
                    <a:pt x="1011" y="560"/>
                    <a:pt x="1010" y="536"/>
                  </a:cubicBezTo>
                  <a:close/>
                  <a:moveTo>
                    <a:pt x="941" y="554"/>
                  </a:moveTo>
                  <a:cubicBezTo>
                    <a:pt x="831" y="665"/>
                    <a:pt x="831" y="665"/>
                    <a:pt x="831" y="665"/>
                  </a:cubicBezTo>
                  <a:cubicBezTo>
                    <a:pt x="817" y="678"/>
                    <a:pt x="812" y="698"/>
                    <a:pt x="816" y="717"/>
                  </a:cubicBezTo>
                  <a:cubicBezTo>
                    <a:pt x="820" y="738"/>
                    <a:pt x="835" y="755"/>
                    <a:pt x="855" y="763"/>
                  </a:cubicBezTo>
                  <a:cubicBezTo>
                    <a:pt x="868" y="768"/>
                    <a:pt x="879" y="775"/>
                    <a:pt x="889" y="785"/>
                  </a:cubicBezTo>
                  <a:cubicBezTo>
                    <a:pt x="893" y="789"/>
                    <a:pt x="893" y="789"/>
                    <a:pt x="893" y="789"/>
                  </a:cubicBezTo>
                  <a:cubicBezTo>
                    <a:pt x="926" y="823"/>
                    <a:pt x="931" y="874"/>
                    <a:pt x="902" y="902"/>
                  </a:cubicBezTo>
                  <a:cubicBezTo>
                    <a:pt x="874" y="931"/>
                    <a:pt x="823" y="927"/>
                    <a:pt x="789" y="893"/>
                  </a:cubicBezTo>
                  <a:cubicBezTo>
                    <a:pt x="785" y="889"/>
                    <a:pt x="785" y="889"/>
                    <a:pt x="785" y="889"/>
                  </a:cubicBezTo>
                  <a:cubicBezTo>
                    <a:pt x="775" y="879"/>
                    <a:pt x="768" y="868"/>
                    <a:pt x="763" y="855"/>
                  </a:cubicBezTo>
                  <a:cubicBezTo>
                    <a:pt x="755" y="835"/>
                    <a:pt x="738" y="820"/>
                    <a:pt x="717" y="816"/>
                  </a:cubicBezTo>
                  <a:cubicBezTo>
                    <a:pt x="698" y="812"/>
                    <a:pt x="678" y="817"/>
                    <a:pt x="664" y="831"/>
                  </a:cubicBezTo>
                  <a:cubicBezTo>
                    <a:pt x="554" y="941"/>
                    <a:pt x="554" y="941"/>
                    <a:pt x="554" y="941"/>
                  </a:cubicBezTo>
                  <a:cubicBezTo>
                    <a:pt x="550" y="945"/>
                    <a:pt x="544" y="946"/>
                    <a:pt x="540" y="946"/>
                  </a:cubicBezTo>
                  <a:cubicBezTo>
                    <a:pt x="533" y="945"/>
                    <a:pt x="525" y="942"/>
                    <a:pt x="520" y="936"/>
                  </a:cubicBezTo>
                  <a:cubicBezTo>
                    <a:pt x="471" y="887"/>
                    <a:pt x="471" y="887"/>
                    <a:pt x="471" y="887"/>
                  </a:cubicBezTo>
                  <a:cubicBezTo>
                    <a:pt x="577" y="781"/>
                    <a:pt x="577" y="781"/>
                    <a:pt x="577" y="781"/>
                  </a:cubicBezTo>
                  <a:cubicBezTo>
                    <a:pt x="590" y="769"/>
                    <a:pt x="590" y="748"/>
                    <a:pt x="577" y="736"/>
                  </a:cubicBezTo>
                  <a:cubicBezTo>
                    <a:pt x="565" y="723"/>
                    <a:pt x="544" y="723"/>
                    <a:pt x="532" y="736"/>
                  </a:cubicBezTo>
                  <a:cubicBezTo>
                    <a:pt x="426" y="842"/>
                    <a:pt x="426" y="842"/>
                    <a:pt x="426" y="842"/>
                  </a:cubicBezTo>
                  <a:cubicBezTo>
                    <a:pt x="393" y="809"/>
                    <a:pt x="393" y="809"/>
                    <a:pt x="393" y="809"/>
                  </a:cubicBezTo>
                  <a:cubicBezTo>
                    <a:pt x="381" y="797"/>
                    <a:pt x="365" y="790"/>
                    <a:pt x="348" y="790"/>
                  </a:cubicBezTo>
                  <a:cubicBezTo>
                    <a:pt x="343" y="790"/>
                    <a:pt x="337" y="791"/>
                    <a:pt x="332" y="793"/>
                  </a:cubicBezTo>
                  <a:cubicBezTo>
                    <a:pt x="312" y="798"/>
                    <a:pt x="298" y="814"/>
                    <a:pt x="294" y="834"/>
                  </a:cubicBezTo>
                  <a:cubicBezTo>
                    <a:pt x="291" y="847"/>
                    <a:pt x="285" y="857"/>
                    <a:pt x="276" y="866"/>
                  </a:cubicBezTo>
                  <a:cubicBezTo>
                    <a:pt x="273" y="869"/>
                    <a:pt x="273" y="869"/>
                    <a:pt x="273" y="869"/>
                  </a:cubicBezTo>
                  <a:cubicBezTo>
                    <a:pt x="245" y="898"/>
                    <a:pt x="194" y="894"/>
                    <a:pt x="160" y="860"/>
                  </a:cubicBezTo>
                  <a:cubicBezTo>
                    <a:pt x="126" y="826"/>
                    <a:pt x="122" y="775"/>
                    <a:pt x="150" y="746"/>
                  </a:cubicBezTo>
                  <a:cubicBezTo>
                    <a:pt x="153" y="743"/>
                    <a:pt x="153" y="743"/>
                    <a:pt x="153" y="743"/>
                  </a:cubicBezTo>
                  <a:cubicBezTo>
                    <a:pt x="162" y="735"/>
                    <a:pt x="173" y="729"/>
                    <a:pt x="186" y="726"/>
                  </a:cubicBezTo>
                  <a:cubicBezTo>
                    <a:pt x="206" y="722"/>
                    <a:pt x="221" y="707"/>
                    <a:pt x="227" y="688"/>
                  </a:cubicBezTo>
                  <a:cubicBezTo>
                    <a:pt x="233" y="667"/>
                    <a:pt x="227" y="643"/>
                    <a:pt x="211" y="627"/>
                  </a:cubicBezTo>
                  <a:cubicBezTo>
                    <a:pt x="84" y="500"/>
                    <a:pt x="84" y="500"/>
                    <a:pt x="84" y="500"/>
                  </a:cubicBezTo>
                  <a:cubicBezTo>
                    <a:pt x="78" y="494"/>
                    <a:pt x="74" y="487"/>
                    <a:pt x="74" y="480"/>
                  </a:cubicBezTo>
                  <a:cubicBezTo>
                    <a:pt x="74" y="476"/>
                    <a:pt x="74" y="470"/>
                    <a:pt x="79" y="465"/>
                  </a:cubicBezTo>
                  <a:cubicBezTo>
                    <a:pt x="184" y="360"/>
                    <a:pt x="184" y="360"/>
                    <a:pt x="184" y="360"/>
                  </a:cubicBezTo>
                  <a:cubicBezTo>
                    <a:pt x="192" y="380"/>
                    <a:pt x="204" y="398"/>
                    <a:pt x="219" y="414"/>
                  </a:cubicBezTo>
                  <a:cubicBezTo>
                    <a:pt x="223" y="417"/>
                    <a:pt x="223" y="417"/>
                    <a:pt x="223" y="417"/>
                  </a:cubicBezTo>
                  <a:cubicBezTo>
                    <a:pt x="282" y="476"/>
                    <a:pt x="373" y="480"/>
                    <a:pt x="427" y="427"/>
                  </a:cubicBezTo>
                  <a:cubicBezTo>
                    <a:pt x="480" y="373"/>
                    <a:pt x="476" y="282"/>
                    <a:pt x="417" y="223"/>
                  </a:cubicBezTo>
                  <a:cubicBezTo>
                    <a:pt x="414" y="219"/>
                    <a:pt x="414" y="219"/>
                    <a:pt x="414" y="219"/>
                  </a:cubicBezTo>
                  <a:cubicBezTo>
                    <a:pt x="398" y="204"/>
                    <a:pt x="380" y="192"/>
                    <a:pt x="360" y="184"/>
                  </a:cubicBezTo>
                  <a:cubicBezTo>
                    <a:pt x="465" y="79"/>
                    <a:pt x="465" y="79"/>
                    <a:pt x="465" y="79"/>
                  </a:cubicBezTo>
                  <a:cubicBezTo>
                    <a:pt x="473" y="71"/>
                    <a:pt x="489" y="73"/>
                    <a:pt x="500" y="84"/>
                  </a:cubicBezTo>
                  <a:cubicBezTo>
                    <a:pt x="627" y="211"/>
                    <a:pt x="627" y="211"/>
                    <a:pt x="627" y="211"/>
                  </a:cubicBezTo>
                  <a:cubicBezTo>
                    <a:pt x="643" y="227"/>
                    <a:pt x="667" y="233"/>
                    <a:pt x="688" y="227"/>
                  </a:cubicBezTo>
                  <a:cubicBezTo>
                    <a:pt x="707" y="221"/>
                    <a:pt x="722" y="206"/>
                    <a:pt x="726" y="186"/>
                  </a:cubicBezTo>
                  <a:cubicBezTo>
                    <a:pt x="729" y="173"/>
                    <a:pt x="735" y="162"/>
                    <a:pt x="743" y="153"/>
                  </a:cubicBezTo>
                  <a:cubicBezTo>
                    <a:pt x="746" y="150"/>
                    <a:pt x="746" y="150"/>
                    <a:pt x="746" y="150"/>
                  </a:cubicBezTo>
                  <a:cubicBezTo>
                    <a:pt x="760" y="137"/>
                    <a:pt x="778" y="130"/>
                    <a:pt x="799" y="132"/>
                  </a:cubicBezTo>
                  <a:cubicBezTo>
                    <a:pt x="821" y="133"/>
                    <a:pt x="843" y="143"/>
                    <a:pt x="860" y="160"/>
                  </a:cubicBezTo>
                  <a:cubicBezTo>
                    <a:pt x="894" y="194"/>
                    <a:pt x="898" y="245"/>
                    <a:pt x="869" y="273"/>
                  </a:cubicBezTo>
                  <a:cubicBezTo>
                    <a:pt x="866" y="276"/>
                    <a:pt x="866" y="276"/>
                    <a:pt x="866" y="276"/>
                  </a:cubicBezTo>
                  <a:cubicBezTo>
                    <a:pt x="857" y="285"/>
                    <a:pt x="847" y="291"/>
                    <a:pt x="834" y="294"/>
                  </a:cubicBezTo>
                  <a:cubicBezTo>
                    <a:pt x="814" y="298"/>
                    <a:pt x="798" y="312"/>
                    <a:pt x="793" y="332"/>
                  </a:cubicBezTo>
                  <a:cubicBezTo>
                    <a:pt x="786" y="353"/>
                    <a:pt x="793" y="376"/>
                    <a:pt x="809" y="393"/>
                  </a:cubicBezTo>
                  <a:cubicBezTo>
                    <a:pt x="936" y="520"/>
                    <a:pt x="936" y="520"/>
                    <a:pt x="936" y="520"/>
                  </a:cubicBezTo>
                  <a:cubicBezTo>
                    <a:pt x="942" y="525"/>
                    <a:pt x="945" y="533"/>
                    <a:pt x="946" y="540"/>
                  </a:cubicBezTo>
                  <a:cubicBezTo>
                    <a:pt x="946" y="544"/>
                    <a:pt x="945" y="550"/>
                    <a:pt x="941" y="554"/>
                  </a:cubicBezTo>
                  <a:close/>
                  <a:moveTo>
                    <a:pt x="941" y="554"/>
                  </a:moveTo>
                  <a:cubicBezTo>
                    <a:pt x="941" y="554"/>
                    <a:pt x="941" y="554"/>
                    <a:pt x="941" y="5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36"/>
            <p:cNvSpPr>
              <a:spLocks noEditPoints="1"/>
            </p:cNvSpPr>
            <p:nvPr/>
          </p:nvSpPr>
          <p:spPr bwMode="auto">
            <a:xfrm>
              <a:off x="5936" y="3472"/>
              <a:ext cx="121" cy="122"/>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37"/>
            <p:cNvSpPr>
              <a:spLocks noEditPoints="1"/>
            </p:cNvSpPr>
            <p:nvPr/>
          </p:nvSpPr>
          <p:spPr bwMode="auto">
            <a:xfrm>
              <a:off x="7221" y="1814"/>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38"/>
            <p:cNvSpPr>
              <a:spLocks noEditPoints="1"/>
            </p:cNvSpPr>
            <p:nvPr/>
          </p:nvSpPr>
          <p:spPr bwMode="auto">
            <a:xfrm>
              <a:off x="6000" y="1045"/>
              <a:ext cx="1914" cy="1910"/>
            </a:xfrm>
            <a:custGeom>
              <a:avLst/>
              <a:gdLst>
                <a:gd name="T0" fmla="*/ 878 w 1011"/>
                <a:gd name="T1" fmla="*/ 706 h 1009"/>
                <a:gd name="T2" fmla="*/ 1009 w 1011"/>
                <a:gd name="T3" fmla="*/ 535 h 1009"/>
                <a:gd name="T4" fmla="*/ 862 w 1011"/>
                <a:gd name="T5" fmla="*/ 355 h 1009"/>
                <a:gd name="T6" fmla="*/ 910 w 1011"/>
                <a:gd name="T7" fmla="*/ 323 h 1009"/>
                <a:gd name="T8" fmla="*/ 696 w 1011"/>
                <a:gd name="T9" fmla="*/ 109 h 1009"/>
                <a:gd name="T10" fmla="*/ 664 w 1011"/>
                <a:gd name="T11" fmla="*/ 157 h 1009"/>
                <a:gd name="T12" fmla="*/ 420 w 1011"/>
                <a:gd name="T13" fmla="*/ 33 h 1009"/>
                <a:gd name="T14" fmla="*/ 274 w 1011"/>
                <a:gd name="T15" fmla="*/ 79 h 1009"/>
                <a:gd name="T16" fmla="*/ 66 w 1011"/>
                <a:gd name="T17" fmla="*/ 66 h 1009"/>
                <a:gd name="T18" fmla="*/ 80 w 1011"/>
                <a:gd name="T19" fmla="*/ 273 h 1009"/>
                <a:gd name="T20" fmla="*/ 33 w 1011"/>
                <a:gd name="T21" fmla="*/ 419 h 1009"/>
                <a:gd name="T22" fmla="*/ 165 w 1011"/>
                <a:gd name="T23" fmla="*/ 672 h 1009"/>
                <a:gd name="T24" fmla="*/ 264 w 1011"/>
                <a:gd name="T25" fmla="*/ 646 h 1009"/>
                <a:gd name="T26" fmla="*/ 285 w 1011"/>
                <a:gd name="T27" fmla="*/ 611 h 1009"/>
                <a:gd name="T28" fmla="*/ 398 w 1011"/>
                <a:gd name="T29" fmla="*/ 621 h 1009"/>
                <a:gd name="T30" fmla="*/ 408 w 1011"/>
                <a:gd name="T31" fmla="*/ 734 h 1009"/>
                <a:gd name="T32" fmla="*/ 372 w 1011"/>
                <a:gd name="T33" fmla="*/ 754 h 1009"/>
                <a:gd name="T34" fmla="*/ 347 w 1011"/>
                <a:gd name="T35" fmla="*/ 853 h 1009"/>
                <a:gd name="T36" fmla="*/ 541 w 1011"/>
                <a:gd name="T37" fmla="*/ 1009 h 1009"/>
                <a:gd name="T38" fmla="*/ 707 w 1011"/>
                <a:gd name="T39" fmla="*/ 878 h 1009"/>
                <a:gd name="T40" fmla="*/ 749 w 1011"/>
                <a:gd name="T41" fmla="*/ 943 h 1009"/>
                <a:gd name="T42" fmla="*/ 943 w 1011"/>
                <a:gd name="T43" fmla="*/ 748 h 1009"/>
                <a:gd name="T44" fmla="*/ 907 w 1011"/>
                <a:gd name="T45" fmla="*/ 907 h 1009"/>
                <a:gd name="T46" fmla="*/ 790 w 1011"/>
                <a:gd name="T47" fmla="*/ 894 h 1009"/>
                <a:gd name="T48" fmla="*/ 721 w 1011"/>
                <a:gd name="T49" fmla="*/ 813 h 1009"/>
                <a:gd name="T50" fmla="*/ 554 w 1011"/>
                <a:gd name="T51" fmla="*/ 940 h 1009"/>
                <a:gd name="T52" fmla="*/ 519 w 1011"/>
                <a:gd name="T53" fmla="*/ 935 h 1009"/>
                <a:gd name="T54" fmla="*/ 450 w 1011"/>
                <a:gd name="T55" fmla="*/ 782 h 1009"/>
                <a:gd name="T56" fmla="*/ 490 w 1011"/>
                <a:gd name="T57" fmla="*/ 677 h 1009"/>
                <a:gd name="T58" fmla="*/ 341 w 1011"/>
                <a:gd name="T59" fmla="*/ 528 h 1009"/>
                <a:gd name="T60" fmla="*/ 236 w 1011"/>
                <a:gd name="T61" fmla="*/ 569 h 1009"/>
                <a:gd name="T62" fmla="*/ 83 w 1011"/>
                <a:gd name="T63" fmla="*/ 499 h 1009"/>
                <a:gd name="T64" fmla="*/ 79 w 1011"/>
                <a:gd name="T65" fmla="*/ 464 h 1009"/>
                <a:gd name="T66" fmla="*/ 206 w 1011"/>
                <a:gd name="T67" fmla="*/ 298 h 1009"/>
                <a:gd name="T68" fmla="*/ 125 w 1011"/>
                <a:gd name="T69" fmla="*/ 228 h 1009"/>
                <a:gd name="T70" fmla="*/ 112 w 1011"/>
                <a:gd name="T71" fmla="*/ 111 h 1009"/>
                <a:gd name="T72" fmla="*/ 229 w 1011"/>
                <a:gd name="T73" fmla="*/ 124 h 1009"/>
                <a:gd name="T74" fmla="*/ 298 w 1011"/>
                <a:gd name="T75" fmla="*/ 205 h 1009"/>
                <a:gd name="T76" fmla="*/ 465 w 1011"/>
                <a:gd name="T77" fmla="*/ 78 h 1009"/>
                <a:gd name="T78" fmla="*/ 624 w 1011"/>
                <a:gd name="T79" fmla="*/ 207 h 1009"/>
                <a:gd name="T80" fmla="*/ 722 w 1011"/>
                <a:gd name="T81" fmla="*/ 186 h 1009"/>
                <a:gd name="T82" fmla="*/ 741 w 1011"/>
                <a:gd name="T83" fmla="*/ 154 h 1009"/>
                <a:gd name="T84" fmla="*/ 864 w 1011"/>
                <a:gd name="T85" fmla="*/ 277 h 1009"/>
                <a:gd name="T86" fmla="*/ 833 w 1011"/>
                <a:gd name="T87" fmla="*/ 297 h 1009"/>
                <a:gd name="T88" fmla="*/ 811 w 1011"/>
                <a:gd name="T89" fmla="*/ 395 h 1009"/>
                <a:gd name="T90" fmla="*/ 945 w 1011"/>
                <a:gd name="T91" fmla="*/ 539 h 1009"/>
                <a:gd name="T92" fmla="*/ 889 w 1011"/>
                <a:gd name="T93" fmla="*/ 605 h 1009"/>
                <a:gd name="T94" fmla="*/ 738 w 1011"/>
                <a:gd name="T95" fmla="*/ 499 h 1009"/>
                <a:gd name="T96" fmla="*/ 844 w 1011"/>
                <a:gd name="T97" fmla="*/ 650 h 1009"/>
                <a:gd name="T98" fmla="*/ 813 w 1011"/>
                <a:gd name="T99" fmla="*/ 720 h 1009"/>
                <a:gd name="T100" fmla="*/ 894 w 1011"/>
                <a:gd name="T101" fmla="*/ 790 h 1009"/>
                <a:gd name="T102" fmla="*/ 907 w 1011"/>
                <a:gd name="T103" fmla="*/ 907 h 1009"/>
                <a:gd name="T104" fmla="*/ 907 w 1011"/>
                <a:gd name="T105" fmla="*/ 907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1" h="1009">
                  <a:moveTo>
                    <a:pt x="939" y="745"/>
                  </a:moveTo>
                  <a:cubicBezTo>
                    <a:pt x="922" y="727"/>
                    <a:pt x="901" y="714"/>
                    <a:pt x="878" y="706"/>
                  </a:cubicBezTo>
                  <a:cubicBezTo>
                    <a:pt x="986" y="599"/>
                    <a:pt x="986" y="599"/>
                    <a:pt x="986" y="599"/>
                  </a:cubicBezTo>
                  <a:cubicBezTo>
                    <a:pt x="1002" y="582"/>
                    <a:pt x="1011" y="559"/>
                    <a:pt x="1009" y="535"/>
                  </a:cubicBezTo>
                  <a:cubicBezTo>
                    <a:pt x="1008" y="512"/>
                    <a:pt x="998" y="491"/>
                    <a:pt x="981" y="474"/>
                  </a:cubicBezTo>
                  <a:cubicBezTo>
                    <a:pt x="862" y="355"/>
                    <a:pt x="862" y="355"/>
                    <a:pt x="862" y="355"/>
                  </a:cubicBezTo>
                  <a:cubicBezTo>
                    <a:pt x="879" y="348"/>
                    <a:pt x="894" y="338"/>
                    <a:pt x="906" y="326"/>
                  </a:cubicBezTo>
                  <a:cubicBezTo>
                    <a:pt x="910" y="323"/>
                    <a:pt x="910" y="323"/>
                    <a:pt x="910" y="323"/>
                  </a:cubicBezTo>
                  <a:cubicBezTo>
                    <a:pt x="963" y="269"/>
                    <a:pt x="959" y="178"/>
                    <a:pt x="900" y="119"/>
                  </a:cubicBezTo>
                  <a:cubicBezTo>
                    <a:pt x="841" y="60"/>
                    <a:pt x="750" y="56"/>
                    <a:pt x="696" y="109"/>
                  </a:cubicBezTo>
                  <a:cubicBezTo>
                    <a:pt x="693" y="112"/>
                    <a:pt x="693" y="112"/>
                    <a:pt x="693" y="112"/>
                  </a:cubicBezTo>
                  <a:cubicBezTo>
                    <a:pt x="680" y="125"/>
                    <a:pt x="671" y="140"/>
                    <a:pt x="664" y="157"/>
                  </a:cubicBezTo>
                  <a:cubicBezTo>
                    <a:pt x="545" y="38"/>
                    <a:pt x="545" y="38"/>
                    <a:pt x="545" y="38"/>
                  </a:cubicBezTo>
                  <a:cubicBezTo>
                    <a:pt x="509" y="2"/>
                    <a:pt x="453" y="0"/>
                    <a:pt x="420" y="33"/>
                  </a:cubicBezTo>
                  <a:cubicBezTo>
                    <a:pt x="312" y="140"/>
                    <a:pt x="312" y="140"/>
                    <a:pt x="312" y="140"/>
                  </a:cubicBezTo>
                  <a:cubicBezTo>
                    <a:pt x="304" y="117"/>
                    <a:pt x="291" y="96"/>
                    <a:pt x="274" y="79"/>
                  </a:cubicBezTo>
                  <a:cubicBezTo>
                    <a:pt x="270" y="76"/>
                    <a:pt x="270" y="76"/>
                    <a:pt x="270" y="76"/>
                  </a:cubicBezTo>
                  <a:cubicBezTo>
                    <a:pt x="211" y="17"/>
                    <a:pt x="120" y="12"/>
                    <a:pt x="66" y="66"/>
                  </a:cubicBezTo>
                  <a:cubicBezTo>
                    <a:pt x="13" y="120"/>
                    <a:pt x="17" y="211"/>
                    <a:pt x="76" y="270"/>
                  </a:cubicBezTo>
                  <a:cubicBezTo>
                    <a:pt x="80" y="273"/>
                    <a:pt x="80" y="273"/>
                    <a:pt x="80" y="273"/>
                  </a:cubicBezTo>
                  <a:cubicBezTo>
                    <a:pt x="97" y="291"/>
                    <a:pt x="118" y="304"/>
                    <a:pt x="141" y="312"/>
                  </a:cubicBezTo>
                  <a:cubicBezTo>
                    <a:pt x="33" y="419"/>
                    <a:pt x="33" y="419"/>
                    <a:pt x="33" y="419"/>
                  </a:cubicBezTo>
                  <a:cubicBezTo>
                    <a:pt x="0" y="452"/>
                    <a:pt x="2" y="509"/>
                    <a:pt x="38" y="544"/>
                  </a:cubicBezTo>
                  <a:cubicBezTo>
                    <a:pt x="165" y="672"/>
                    <a:pt x="165" y="672"/>
                    <a:pt x="165" y="672"/>
                  </a:cubicBezTo>
                  <a:cubicBezTo>
                    <a:pt x="182" y="688"/>
                    <a:pt x="205" y="694"/>
                    <a:pt x="226" y="688"/>
                  </a:cubicBezTo>
                  <a:cubicBezTo>
                    <a:pt x="246" y="682"/>
                    <a:pt x="260" y="666"/>
                    <a:pt x="264" y="646"/>
                  </a:cubicBezTo>
                  <a:cubicBezTo>
                    <a:pt x="267" y="634"/>
                    <a:pt x="273" y="623"/>
                    <a:pt x="282" y="614"/>
                  </a:cubicBezTo>
                  <a:cubicBezTo>
                    <a:pt x="285" y="611"/>
                    <a:pt x="285" y="611"/>
                    <a:pt x="285" y="611"/>
                  </a:cubicBezTo>
                  <a:cubicBezTo>
                    <a:pt x="298" y="598"/>
                    <a:pt x="317" y="591"/>
                    <a:pt x="337" y="592"/>
                  </a:cubicBezTo>
                  <a:cubicBezTo>
                    <a:pt x="360" y="594"/>
                    <a:pt x="381" y="604"/>
                    <a:pt x="398" y="621"/>
                  </a:cubicBezTo>
                  <a:cubicBezTo>
                    <a:pt x="415" y="638"/>
                    <a:pt x="425" y="659"/>
                    <a:pt x="426" y="681"/>
                  </a:cubicBezTo>
                  <a:cubicBezTo>
                    <a:pt x="428" y="702"/>
                    <a:pt x="421" y="721"/>
                    <a:pt x="408" y="734"/>
                  </a:cubicBezTo>
                  <a:cubicBezTo>
                    <a:pt x="405" y="737"/>
                    <a:pt x="405" y="737"/>
                    <a:pt x="405" y="737"/>
                  </a:cubicBezTo>
                  <a:cubicBezTo>
                    <a:pt x="396" y="746"/>
                    <a:pt x="385" y="752"/>
                    <a:pt x="372" y="754"/>
                  </a:cubicBezTo>
                  <a:cubicBezTo>
                    <a:pt x="352" y="759"/>
                    <a:pt x="337" y="773"/>
                    <a:pt x="331" y="793"/>
                  </a:cubicBezTo>
                  <a:cubicBezTo>
                    <a:pt x="325" y="814"/>
                    <a:pt x="331" y="837"/>
                    <a:pt x="347" y="853"/>
                  </a:cubicBezTo>
                  <a:cubicBezTo>
                    <a:pt x="474" y="980"/>
                    <a:pt x="474" y="980"/>
                    <a:pt x="474" y="980"/>
                  </a:cubicBezTo>
                  <a:cubicBezTo>
                    <a:pt x="493" y="999"/>
                    <a:pt x="517" y="1009"/>
                    <a:pt x="541" y="1009"/>
                  </a:cubicBezTo>
                  <a:cubicBezTo>
                    <a:pt x="563" y="1009"/>
                    <a:pt x="584" y="1001"/>
                    <a:pt x="599" y="985"/>
                  </a:cubicBezTo>
                  <a:cubicBezTo>
                    <a:pt x="707" y="878"/>
                    <a:pt x="707" y="878"/>
                    <a:pt x="707" y="878"/>
                  </a:cubicBezTo>
                  <a:cubicBezTo>
                    <a:pt x="715" y="901"/>
                    <a:pt x="728" y="922"/>
                    <a:pt x="745" y="939"/>
                  </a:cubicBezTo>
                  <a:cubicBezTo>
                    <a:pt x="749" y="943"/>
                    <a:pt x="749" y="943"/>
                    <a:pt x="749" y="943"/>
                  </a:cubicBezTo>
                  <a:cubicBezTo>
                    <a:pt x="808" y="1001"/>
                    <a:pt x="899" y="1006"/>
                    <a:pt x="953" y="952"/>
                  </a:cubicBezTo>
                  <a:cubicBezTo>
                    <a:pt x="1006" y="899"/>
                    <a:pt x="1002" y="807"/>
                    <a:pt x="943" y="748"/>
                  </a:cubicBezTo>
                  <a:lnTo>
                    <a:pt x="939" y="745"/>
                  </a:lnTo>
                  <a:close/>
                  <a:moveTo>
                    <a:pt x="907" y="907"/>
                  </a:moveTo>
                  <a:cubicBezTo>
                    <a:pt x="879" y="935"/>
                    <a:pt x="828" y="931"/>
                    <a:pt x="794" y="897"/>
                  </a:cubicBezTo>
                  <a:cubicBezTo>
                    <a:pt x="790" y="894"/>
                    <a:pt x="790" y="894"/>
                    <a:pt x="790" y="894"/>
                  </a:cubicBezTo>
                  <a:cubicBezTo>
                    <a:pt x="779" y="883"/>
                    <a:pt x="771" y="869"/>
                    <a:pt x="766" y="855"/>
                  </a:cubicBezTo>
                  <a:cubicBezTo>
                    <a:pt x="760" y="834"/>
                    <a:pt x="742" y="818"/>
                    <a:pt x="721" y="813"/>
                  </a:cubicBezTo>
                  <a:cubicBezTo>
                    <a:pt x="701" y="808"/>
                    <a:pt x="681" y="813"/>
                    <a:pt x="667" y="827"/>
                  </a:cubicBezTo>
                  <a:cubicBezTo>
                    <a:pt x="554" y="940"/>
                    <a:pt x="554" y="940"/>
                    <a:pt x="554" y="940"/>
                  </a:cubicBezTo>
                  <a:cubicBezTo>
                    <a:pt x="550" y="944"/>
                    <a:pt x="544" y="945"/>
                    <a:pt x="540" y="945"/>
                  </a:cubicBezTo>
                  <a:cubicBezTo>
                    <a:pt x="533" y="944"/>
                    <a:pt x="525" y="941"/>
                    <a:pt x="519" y="935"/>
                  </a:cubicBezTo>
                  <a:cubicBezTo>
                    <a:pt x="398" y="814"/>
                    <a:pt x="398" y="814"/>
                    <a:pt x="398" y="814"/>
                  </a:cubicBezTo>
                  <a:cubicBezTo>
                    <a:pt x="418" y="807"/>
                    <a:pt x="435" y="797"/>
                    <a:pt x="450" y="782"/>
                  </a:cubicBezTo>
                  <a:cubicBezTo>
                    <a:pt x="453" y="779"/>
                    <a:pt x="453" y="779"/>
                    <a:pt x="453" y="779"/>
                  </a:cubicBezTo>
                  <a:cubicBezTo>
                    <a:pt x="479" y="753"/>
                    <a:pt x="493" y="717"/>
                    <a:pt x="490" y="677"/>
                  </a:cubicBezTo>
                  <a:cubicBezTo>
                    <a:pt x="488" y="640"/>
                    <a:pt x="471" y="603"/>
                    <a:pt x="443" y="575"/>
                  </a:cubicBezTo>
                  <a:cubicBezTo>
                    <a:pt x="415" y="547"/>
                    <a:pt x="379" y="531"/>
                    <a:pt x="341" y="528"/>
                  </a:cubicBezTo>
                  <a:cubicBezTo>
                    <a:pt x="302" y="526"/>
                    <a:pt x="266" y="539"/>
                    <a:pt x="239" y="566"/>
                  </a:cubicBezTo>
                  <a:cubicBezTo>
                    <a:pt x="236" y="569"/>
                    <a:pt x="236" y="569"/>
                    <a:pt x="236" y="569"/>
                  </a:cubicBezTo>
                  <a:cubicBezTo>
                    <a:pt x="222" y="583"/>
                    <a:pt x="211" y="601"/>
                    <a:pt x="205" y="621"/>
                  </a:cubicBezTo>
                  <a:cubicBezTo>
                    <a:pt x="83" y="499"/>
                    <a:pt x="83" y="499"/>
                    <a:pt x="83" y="499"/>
                  </a:cubicBezTo>
                  <a:cubicBezTo>
                    <a:pt x="78" y="493"/>
                    <a:pt x="74" y="486"/>
                    <a:pt x="74" y="479"/>
                  </a:cubicBezTo>
                  <a:cubicBezTo>
                    <a:pt x="73" y="475"/>
                    <a:pt x="74" y="469"/>
                    <a:pt x="79" y="464"/>
                  </a:cubicBezTo>
                  <a:cubicBezTo>
                    <a:pt x="191" y="352"/>
                    <a:pt x="191" y="352"/>
                    <a:pt x="191" y="352"/>
                  </a:cubicBezTo>
                  <a:cubicBezTo>
                    <a:pt x="205" y="338"/>
                    <a:pt x="211" y="318"/>
                    <a:pt x="206" y="298"/>
                  </a:cubicBezTo>
                  <a:cubicBezTo>
                    <a:pt x="201" y="276"/>
                    <a:pt x="185" y="259"/>
                    <a:pt x="164" y="252"/>
                  </a:cubicBezTo>
                  <a:cubicBezTo>
                    <a:pt x="149" y="248"/>
                    <a:pt x="136" y="239"/>
                    <a:pt x="125" y="228"/>
                  </a:cubicBezTo>
                  <a:cubicBezTo>
                    <a:pt x="121" y="225"/>
                    <a:pt x="121" y="225"/>
                    <a:pt x="121" y="225"/>
                  </a:cubicBezTo>
                  <a:cubicBezTo>
                    <a:pt x="87" y="191"/>
                    <a:pt x="83" y="140"/>
                    <a:pt x="112" y="111"/>
                  </a:cubicBezTo>
                  <a:cubicBezTo>
                    <a:pt x="140" y="83"/>
                    <a:pt x="191" y="87"/>
                    <a:pt x="225" y="121"/>
                  </a:cubicBezTo>
                  <a:cubicBezTo>
                    <a:pt x="229" y="124"/>
                    <a:pt x="229" y="124"/>
                    <a:pt x="229" y="124"/>
                  </a:cubicBezTo>
                  <a:cubicBezTo>
                    <a:pt x="240" y="135"/>
                    <a:pt x="248" y="149"/>
                    <a:pt x="253" y="163"/>
                  </a:cubicBezTo>
                  <a:cubicBezTo>
                    <a:pt x="259" y="184"/>
                    <a:pt x="277" y="200"/>
                    <a:pt x="298" y="205"/>
                  </a:cubicBezTo>
                  <a:cubicBezTo>
                    <a:pt x="318" y="210"/>
                    <a:pt x="338" y="205"/>
                    <a:pt x="352" y="191"/>
                  </a:cubicBezTo>
                  <a:cubicBezTo>
                    <a:pt x="465" y="78"/>
                    <a:pt x="465" y="78"/>
                    <a:pt x="465" y="78"/>
                  </a:cubicBezTo>
                  <a:cubicBezTo>
                    <a:pt x="473" y="70"/>
                    <a:pt x="489" y="72"/>
                    <a:pt x="500" y="83"/>
                  </a:cubicBezTo>
                  <a:cubicBezTo>
                    <a:pt x="624" y="207"/>
                    <a:pt x="624" y="207"/>
                    <a:pt x="624" y="207"/>
                  </a:cubicBezTo>
                  <a:cubicBezTo>
                    <a:pt x="640" y="223"/>
                    <a:pt x="662" y="229"/>
                    <a:pt x="683" y="224"/>
                  </a:cubicBezTo>
                  <a:cubicBezTo>
                    <a:pt x="702" y="219"/>
                    <a:pt x="717" y="205"/>
                    <a:pt x="722" y="186"/>
                  </a:cubicBezTo>
                  <a:cubicBezTo>
                    <a:pt x="725" y="175"/>
                    <a:pt x="731" y="165"/>
                    <a:pt x="738" y="157"/>
                  </a:cubicBezTo>
                  <a:cubicBezTo>
                    <a:pt x="741" y="154"/>
                    <a:pt x="741" y="154"/>
                    <a:pt x="741" y="154"/>
                  </a:cubicBezTo>
                  <a:cubicBezTo>
                    <a:pt x="770" y="126"/>
                    <a:pt x="821" y="130"/>
                    <a:pt x="855" y="164"/>
                  </a:cubicBezTo>
                  <a:cubicBezTo>
                    <a:pt x="889" y="198"/>
                    <a:pt x="893" y="249"/>
                    <a:pt x="864" y="277"/>
                  </a:cubicBezTo>
                  <a:cubicBezTo>
                    <a:pt x="861" y="280"/>
                    <a:pt x="861" y="280"/>
                    <a:pt x="861" y="280"/>
                  </a:cubicBezTo>
                  <a:cubicBezTo>
                    <a:pt x="853" y="288"/>
                    <a:pt x="844" y="294"/>
                    <a:pt x="833" y="297"/>
                  </a:cubicBezTo>
                  <a:cubicBezTo>
                    <a:pt x="814" y="302"/>
                    <a:pt x="800" y="317"/>
                    <a:pt x="795" y="336"/>
                  </a:cubicBezTo>
                  <a:cubicBezTo>
                    <a:pt x="789" y="356"/>
                    <a:pt x="796" y="379"/>
                    <a:pt x="811" y="395"/>
                  </a:cubicBezTo>
                  <a:cubicBezTo>
                    <a:pt x="936" y="519"/>
                    <a:pt x="936" y="519"/>
                    <a:pt x="936" y="519"/>
                  </a:cubicBezTo>
                  <a:cubicBezTo>
                    <a:pt x="941" y="525"/>
                    <a:pt x="945" y="532"/>
                    <a:pt x="945" y="539"/>
                  </a:cubicBezTo>
                  <a:cubicBezTo>
                    <a:pt x="946" y="543"/>
                    <a:pt x="945" y="549"/>
                    <a:pt x="940" y="554"/>
                  </a:cubicBezTo>
                  <a:cubicBezTo>
                    <a:pt x="889" y="605"/>
                    <a:pt x="889" y="605"/>
                    <a:pt x="889" y="605"/>
                  </a:cubicBezTo>
                  <a:cubicBezTo>
                    <a:pt x="783" y="499"/>
                    <a:pt x="783" y="499"/>
                    <a:pt x="783" y="499"/>
                  </a:cubicBezTo>
                  <a:cubicBezTo>
                    <a:pt x="771" y="486"/>
                    <a:pt x="750" y="486"/>
                    <a:pt x="738" y="499"/>
                  </a:cubicBezTo>
                  <a:cubicBezTo>
                    <a:pt x="725" y="511"/>
                    <a:pt x="725" y="532"/>
                    <a:pt x="738" y="544"/>
                  </a:cubicBezTo>
                  <a:cubicBezTo>
                    <a:pt x="844" y="650"/>
                    <a:pt x="844" y="650"/>
                    <a:pt x="844" y="650"/>
                  </a:cubicBezTo>
                  <a:cubicBezTo>
                    <a:pt x="828" y="666"/>
                    <a:pt x="828" y="666"/>
                    <a:pt x="828" y="666"/>
                  </a:cubicBezTo>
                  <a:cubicBezTo>
                    <a:pt x="814" y="680"/>
                    <a:pt x="808" y="700"/>
                    <a:pt x="813" y="720"/>
                  </a:cubicBezTo>
                  <a:cubicBezTo>
                    <a:pt x="818" y="742"/>
                    <a:pt x="834" y="759"/>
                    <a:pt x="855" y="766"/>
                  </a:cubicBezTo>
                  <a:cubicBezTo>
                    <a:pt x="870" y="770"/>
                    <a:pt x="883" y="779"/>
                    <a:pt x="894" y="790"/>
                  </a:cubicBezTo>
                  <a:cubicBezTo>
                    <a:pt x="898" y="793"/>
                    <a:pt x="898" y="793"/>
                    <a:pt x="898" y="793"/>
                  </a:cubicBezTo>
                  <a:cubicBezTo>
                    <a:pt x="932" y="827"/>
                    <a:pt x="936" y="878"/>
                    <a:pt x="907" y="907"/>
                  </a:cubicBezTo>
                  <a:close/>
                  <a:moveTo>
                    <a:pt x="907" y="907"/>
                  </a:moveTo>
                  <a:cubicBezTo>
                    <a:pt x="907" y="907"/>
                    <a:pt x="907" y="907"/>
                    <a:pt x="907" y="90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4"/>
          <p:cNvGrpSpPr>
            <a:grpSpLocks noChangeAspect="1"/>
          </p:cNvGrpSpPr>
          <p:nvPr/>
        </p:nvGrpSpPr>
        <p:grpSpPr bwMode="auto">
          <a:xfrm>
            <a:off x="6732874" y="4107973"/>
            <a:ext cx="458144" cy="457200"/>
            <a:chOff x="4318" y="2162"/>
            <a:chExt cx="3884" cy="3876"/>
          </a:xfrm>
          <a:solidFill>
            <a:schemeClr val="accent1"/>
          </a:solidFill>
        </p:grpSpPr>
        <p:sp>
          <p:nvSpPr>
            <p:cNvPr id="28" name="Freeform 25"/>
            <p:cNvSpPr>
              <a:spLocks noEditPoints="1"/>
            </p:cNvSpPr>
            <p:nvPr/>
          </p:nvSpPr>
          <p:spPr bwMode="auto">
            <a:xfrm>
              <a:off x="4318" y="2162"/>
              <a:ext cx="3876" cy="3876"/>
            </a:xfrm>
            <a:custGeom>
              <a:avLst/>
              <a:gdLst>
                <a:gd name="T0" fmla="*/ 168 w 2048"/>
                <a:gd name="T1" fmla="*/ 1968 h 2048"/>
                <a:gd name="T2" fmla="*/ 204 w 2048"/>
                <a:gd name="T3" fmla="*/ 844 h 2048"/>
                <a:gd name="T4" fmla="*/ 532 w 2048"/>
                <a:gd name="T5" fmla="*/ 844 h 2048"/>
                <a:gd name="T6" fmla="*/ 860 w 2048"/>
                <a:gd name="T7" fmla="*/ 844 h 2048"/>
                <a:gd name="T8" fmla="*/ 1188 w 2048"/>
                <a:gd name="T9" fmla="*/ 844 h 2048"/>
                <a:gd name="T10" fmla="*/ 1516 w 2048"/>
                <a:gd name="T11" fmla="*/ 844 h 2048"/>
                <a:gd name="T12" fmla="*/ 1844 w 2048"/>
                <a:gd name="T13" fmla="*/ 844 h 2048"/>
                <a:gd name="T14" fmla="*/ 1880 w 2048"/>
                <a:gd name="T15" fmla="*/ 1160 h 2048"/>
                <a:gd name="T16" fmla="*/ 1960 w 2048"/>
                <a:gd name="T17" fmla="*/ 1160 h 2048"/>
                <a:gd name="T18" fmla="*/ 2048 w 2048"/>
                <a:gd name="T19" fmla="*/ 652 h 2048"/>
                <a:gd name="T20" fmla="*/ 2048 w 2048"/>
                <a:gd name="T21" fmla="*/ 552 h 2048"/>
                <a:gd name="T22" fmla="*/ 1960 w 2048"/>
                <a:gd name="T23" fmla="*/ 320 h 2048"/>
                <a:gd name="T24" fmla="*/ 1824 w 2048"/>
                <a:gd name="T25" fmla="*/ 0 h 2048"/>
                <a:gd name="T26" fmla="*/ 88 w 2048"/>
                <a:gd name="T27" fmla="*/ 136 h 2048"/>
                <a:gd name="T28" fmla="*/ 3 w 2048"/>
                <a:gd name="T29" fmla="*/ 537 h 2048"/>
                <a:gd name="T30" fmla="*/ 0 w 2048"/>
                <a:gd name="T31" fmla="*/ 552 h 2048"/>
                <a:gd name="T32" fmla="*/ 88 w 2048"/>
                <a:gd name="T33" fmla="*/ 812 h 2048"/>
                <a:gd name="T34" fmla="*/ 128 w 2048"/>
                <a:gd name="T35" fmla="*/ 2048 h 2048"/>
                <a:gd name="T36" fmla="*/ 1578 w 2048"/>
                <a:gd name="T37" fmla="*/ 2008 h 2048"/>
                <a:gd name="T38" fmla="*/ 532 w 2048"/>
                <a:gd name="T39" fmla="*/ 764 h 2048"/>
                <a:gd name="T40" fmla="*/ 408 w 2048"/>
                <a:gd name="T41" fmla="*/ 592 h 2048"/>
                <a:gd name="T42" fmla="*/ 656 w 2048"/>
                <a:gd name="T43" fmla="*/ 652 h 2048"/>
                <a:gd name="T44" fmla="*/ 155 w 2048"/>
                <a:gd name="T45" fmla="*/ 368 h 2048"/>
                <a:gd name="T46" fmla="*/ 1949 w 2048"/>
                <a:gd name="T47" fmla="*/ 512 h 2048"/>
                <a:gd name="T48" fmla="*/ 155 w 2048"/>
                <a:gd name="T49" fmla="*/ 368 h 2048"/>
                <a:gd name="T50" fmla="*/ 736 w 2048"/>
                <a:gd name="T51" fmla="*/ 652 h 2048"/>
                <a:gd name="T52" fmla="*/ 984 w 2048"/>
                <a:gd name="T53" fmla="*/ 592 h 2048"/>
                <a:gd name="T54" fmla="*/ 860 w 2048"/>
                <a:gd name="T55" fmla="*/ 764 h 2048"/>
                <a:gd name="T56" fmla="*/ 1064 w 2048"/>
                <a:gd name="T57" fmla="*/ 652 h 2048"/>
                <a:gd name="T58" fmla="*/ 1312 w 2048"/>
                <a:gd name="T59" fmla="*/ 592 h 2048"/>
                <a:gd name="T60" fmla="*/ 1188 w 2048"/>
                <a:gd name="T61" fmla="*/ 764 h 2048"/>
                <a:gd name="T62" fmla="*/ 1392 w 2048"/>
                <a:gd name="T63" fmla="*/ 652 h 2048"/>
                <a:gd name="T64" fmla="*/ 1640 w 2048"/>
                <a:gd name="T65" fmla="*/ 592 h 2048"/>
                <a:gd name="T66" fmla="*/ 1516 w 2048"/>
                <a:gd name="T67" fmla="*/ 764 h 2048"/>
                <a:gd name="T68" fmla="*/ 1844 w 2048"/>
                <a:gd name="T69" fmla="*/ 764 h 2048"/>
                <a:gd name="T70" fmla="*/ 1720 w 2048"/>
                <a:gd name="T71" fmla="*/ 592 h 2048"/>
                <a:gd name="T72" fmla="*/ 1968 w 2048"/>
                <a:gd name="T73" fmla="*/ 652 h 2048"/>
                <a:gd name="T74" fmla="*/ 224 w 2048"/>
                <a:gd name="T75" fmla="*/ 80 h 2048"/>
                <a:gd name="T76" fmla="*/ 1880 w 2048"/>
                <a:gd name="T77" fmla="*/ 136 h 2048"/>
                <a:gd name="T78" fmla="*/ 168 w 2048"/>
                <a:gd name="T79" fmla="*/ 288 h 2048"/>
                <a:gd name="T80" fmla="*/ 80 w 2048"/>
                <a:gd name="T81" fmla="*/ 592 h 2048"/>
                <a:gd name="T82" fmla="*/ 328 w 2048"/>
                <a:gd name="T83" fmla="*/ 652 h 2048"/>
                <a:gd name="T84" fmla="*/ 80 w 2048"/>
                <a:gd name="T85" fmla="*/ 652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8" h="2048">
                  <a:moveTo>
                    <a:pt x="1538" y="1968"/>
                  </a:moveTo>
                  <a:cubicBezTo>
                    <a:pt x="168" y="1968"/>
                    <a:pt x="168" y="1968"/>
                    <a:pt x="168" y="1968"/>
                  </a:cubicBezTo>
                  <a:cubicBezTo>
                    <a:pt x="168" y="841"/>
                    <a:pt x="168" y="841"/>
                    <a:pt x="168" y="841"/>
                  </a:cubicBezTo>
                  <a:cubicBezTo>
                    <a:pt x="180" y="843"/>
                    <a:pt x="192" y="844"/>
                    <a:pt x="204" y="844"/>
                  </a:cubicBezTo>
                  <a:cubicBezTo>
                    <a:pt x="273" y="844"/>
                    <a:pt x="331" y="815"/>
                    <a:pt x="368" y="769"/>
                  </a:cubicBezTo>
                  <a:cubicBezTo>
                    <a:pt x="405" y="815"/>
                    <a:pt x="463" y="844"/>
                    <a:pt x="532" y="844"/>
                  </a:cubicBezTo>
                  <a:cubicBezTo>
                    <a:pt x="601" y="844"/>
                    <a:pt x="659" y="815"/>
                    <a:pt x="696" y="769"/>
                  </a:cubicBezTo>
                  <a:cubicBezTo>
                    <a:pt x="733" y="815"/>
                    <a:pt x="791" y="844"/>
                    <a:pt x="860" y="844"/>
                  </a:cubicBezTo>
                  <a:cubicBezTo>
                    <a:pt x="929" y="844"/>
                    <a:pt x="987" y="815"/>
                    <a:pt x="1024" y="769"/>
                  </a:cubicBezTo>
                  <a:cubicBezTo>
                    <a:pt x="1061" y="815"/>
                    <a:pt x="1119" y="844"/>
                    <a:pt x="1188" y="844"/>
                  </a:cubicBezTo>
                  <a:cubicBezTo>
                    <a:pt x="1257" y="844"/>
                    <a:pt x="1315" y="815"/>
                    <a:pt x="1352" y="769"/>
                  </a:cubicBezTo>
                  <a:cubicBezTo>
                    <a:pt x="1389" y="815"/>
                    <a:pt x="1447" y="844"/>
                    <a:pt x="1516" y="844"/>
                  </a:cubicBezTo>
                  <a:cubicBezTo>
                    <a:pt x="1585" y="844"/>
                    <a:pt x="1643" y="815"/>
                    <a:pt x="1680" y="769"/>
                  </a:cubicBezTo>
                  <a:cubicBezTo>
                    <a:pt x="1717" y="815"/>
                    <a:pt x="1775" y="844"/>
                    <a:pt x="1844" y="844"/>
                  </a:cubicBezTo>
                  <a:cubicBezTo>
                    <a:pt x="1856" y="844"/>
                    <a:pt x="1868" y="843"/>
                    <a:pt x="1880" y="841"/>
                  </a:cubicBezTo>
                  <a:cubicBezTo>
                    <a:pt x="1880" y="1160"/>
                    <a:pt x="1880" y="1160"/>
                    <a:pt x="1880" y="1160"/>
                  </a:cubicBezTo>
                  <a:cubicBezTo>
                    <a:pt x="1880" y="1183"/>
                    <a:pt x="1898" y="1200"/>
                    <a:pt x="1920" y="1200"/>
                  </a:cubicBezTo>
                  <a:cubicBezTo>
                    <a:pt x="1942" y="1200"/>
                    <a:pt x="1960" y="1183"/>
                    <a:pt x="1960" y="1160"/>
                  </a:cubicBezTo>
                  <a:cubicBezTo>
                    <a:pt x="1960" y="812"/>
                    <a:pt x="1960" y="812"/>
                    <a:pt x="1960" y="812"/>
                  </a:cubicBezTo>
                  <a:cubicBezTo>
                    <a:pt x="2014" y="778"/>
                    <a:pt x="2048" y="720"/>
                    <a:pt x="2048" y="652"/>
                  </a:cubicBezTo>
                  <a:cubicBezTo>
                    <a:pt x="2048" y="552"/>
                    <a:pt x="2048" y="552"/>
                    <a:pt x="2048" y="552"/>
                  </a:cubicBezTo>
                  <a:cubicBezTo>
                    <a:pt x="2048" y="552"/>
                    <a:pt x="2048" y="552"/>
                    <a:pt x="2048" y="552"/>
                  </a:cubicBezTo>
                  <a:cubicBezTo>
                    <a:pt x="2048" y="547"/>
                    <a:pt x="2047" y="542"/>
                    <a:pt x="2045" y="537"/>
                  </a:cubicBezTo>
                  <a:cubicBezTo>
                    <a:pt x="1960" y="320"/>
                    <a:pt x="1960" y="320"/>
                    <a:pt x="1960" y="320"/>
                  </a:cubicBezTo>
                  <a:cubicBezTo>
                    <a:pt x="1960" y="136"/>
                    <a:pt x="1960" y="136"/>
                    <a:pt x="1960" y="136"/>
                  </a:cubicBezTo>
                  <a:cubicBezTo>
                    <a:pt x="1960" y="61"/>
                    <a:pt x="1899" y="0"/>
                    <a:pt x="1824" y="0"/>
                  </a:cubicBezTo>
                  <a:cubicBezTo>
                    <a:pt x="224" y="0"/>
                    <a:pt x="224" y="0"/>
                    <a:pt x="224" y="0"/>
                  </a:cubicBezTo>
                  <a:cubicBezTo>
                    <a:pt x="149" y="0"/>
                    <a:pt x="88" y="61"/>
                    <a:pt x="88" y="136"/>
                  </a:cubicBezTo>
                  <a:cubicBezTo>
                    <a:pt x="88" y="320"/>
                    <a:pt x="88" y="320"/>
                    <a:pt x="88" y="320"/>
                  </a:cubicBezTo>
                  <a:cubicBezTo>
                    <a:pt x="3" y="537"/>
                    <a:pt x="3" y="537"/>
                    <a:pt x="3" y="537"/>
                  </a:cubicBezTo>
                  <a:cubicBezTo>
                    <a:pt x="1" y="542"/>
                    <a:pt x="0" y="547"/>
                    <a:pt x="0" y="552"/>
                  </a:cubicBezTo>
                  <a:cubicBezTo>
                    <a:pt x="0" y="552"/>
                    <a:pt x="0" y="552"/>
                    <a:pt x="0" y="552"/>
                  </a:cubicBezTo>
                  <a:cubicBezTo>
                    <a:pt x="0" y="652"/>
                    <a:pt x="0" y="652"/>
                    <a:pt x="0" y="652"/>
                  </a:cubicBezTo>
                  <a:cubicBezTo>
                    <a:pt x="0" y="720"/>
                    <a:pt x="34" y="778"/>
                    <a:pt x="88" y="812"/>
                  </a:cubicBezTo>
                  <a:cubicBezTo>
                    <a:pt x="88" y="2008"/>
                    <a:pt x="88" y="2008"/>
                    <a:pt x="88" y="2008"/>
                  </a:cubicBezTo>
                  <a:cubicBezTo>
                    <a:pt x="88" y="2030"/>
                    <a:pt x="106" y="2048"/>
                    <a:pt x="128" y="2048"/>
                  </a:cubicBezTo>
                  <a:cubicBezTo>
                    <a:pt x="1538" y="2048"/>
                    <a:pt x="1538" y="2048"/>
                    <a:pt x="1538" y="2048"/>
                  </a:cubicBezTo>
                  <a:cubicBezTo>
                    <a:pt x="1560" y="2048"/>
                    <a:pt x="1578" y="2030"/>
                    <a:pt x="1578" y="2008"/>
                  </a:cubicBezTo>
                  <a:cubicBezTo>
                    <a:pt x="1578" y="1986"/>
                    <a:pt x="1560" y="1968"/>
                    <a:pt x="1538" y="1968"/>
                  </a:cubicBezTo>
                  <a:close/>
                  <a:moveTo>
                    <a:pt x="532" y="764"/>
                  </a:moveTo>
                  <a:cubicBezTo>
                    <a:pt x="460" y="764"/>
                    <a:pt x="408" y="717"/>
                    <a:pt x="408" y="652"/>
                  </a:cubicBezTo>
                  <a:cubicBezTo>
                    <a:pt x="408" y="592"/>
                    <a:pt x="408" y="592"/>
                    <a:pt x="408" y="592"/>
                  </a:cubicBezTo>
                  <a:cubicBezTo>
                    <a:pt x="656" y="592"/>
                    <a:pt x="656" y="592"/>
                    <a:pt x="656" y="592"/>
                  </a:cubicBezTo>
                  <a:cubicBezTo>
                    <a:pt x="656" y="652"/>
                    <a:pt x="656" y="652"/>
                    <a:pt x="656" y="652"/>
                  </a:cubicBezTo>
                  <a:cubicBezTo>
                    <a:pt x="656" y="717"/>
                    <a:pt x="604" y="764"/>
                    <a:pt x="532" y="764"/>
                  </a:cubicBezTo>
                  <a:close/>
                  <a:moveTo>
                    <a:pt x="155" y="368"/>
                  </a:moveTo>
                  <a:cubicBezTo>
                    <a:pt x="1893" y="368"/>
                    <a:pt x="1893" y="368"/>
                    <a:pt x="1893" y="368"/>
                  </a:cubicBezTo>
                  <a:cubicBezTo>
                    <a:pt x="1949" y="512"/>
                    <a:pt x="1949" y="512"/>
                    <a:pt x="1949" y="512"/>
                  </a:cubicBezTo>
                  <a:cubicBezTo>
                    <a:pt x="99" y="512"/>
                    <a:pt x="99" y="512"/>
                    <a:pt x="99" y="512"/>
                  </a:cubicBezTo>
                  <a:lnTo>
                    <a:pt x="155" y="368"/>
                  </a:lnTo>
                  <a:close/>
                  <a:moveTo>
                    <a:pt x="860" y="764"/>
                  </a:moveTo>
                  <a:cubicBezTo>
                    <a:pt x="788" y="764"/>
                    <a:pt x="736" y="717"/>
                    <a:pt x="736" y="652"/>
                  </a:cubicBezTo>
                  <a:cubicBezTo>
                    <a:pt x="736" y="592"/>
                    <a:pt x="736" y="592"/>
                    <a:pt x="736" y="592"/>
                  </a:cubicBezTo>
                  <a:cubicBezTo>
                    <a:pt x="984" y="592"/>
                    <a:pt x="984" y="592"/>
                    <a:pt x="984" y="592"/>
                  </a:cubicBezTo>
                  <a:cubicBezTo>
                    <a:pt x="984" y="652"/>
                    <a:pt x="984" y="652"/>
                    <a:pt x="984" y="652"/>
                  </a:cubicBezTo>
                  <a:cubicBezTo>
                    <a:pt x="984" y="717"/>
                    <a:pt x="932" y="764"/>
                    <a:pt x="860" y="764"/>
                  </a:cubicBezTo>
                  <a:close/>
                  <a:moveTo>
                    <a:pt x="1188" y="764"/>
                  </a:moveTo>
                  <a:cubicBezTo>
                    <a:pt x="1116" y="764"/>
                    <a:pt x="1064" y="717"/>
                    <a:pt x="1064" y="652"/>
                  </a:cubicBezTo>
                  <a:cubicBezTo>
                    <a:pt x="1064" y="592"/>
                    <a:pt x="1064" y="592"/>
                    <a:pt x="1064" y="592"/>
                  </a:cubicBezTo>
                  <a:cubicBezTo>
                    <a:pt x="1312" y="592"/>
                    <a:pt x="1312" y="592"/>
                    <a:pt x="1312" y="592"/>
                  </a:cubicBezTo>
                  <a:cubicBezTo>
                    <a:pt x="1312" y="652"/>
                    <a:pt x="1312" y="652"/>
                    <a:pt x="1312" y="652"/>
                  </a:cubicBezTo>
                  <a:cubicBezTo>
                    <a:pt x="1312" y="717"/>
                    <a:pt x="1260" y="764"/>
                    <a:pt x="1188" y="764"/>
                  </a:cubicBezTo>
                  <a:close/>
                  <a:moveTo>
                    <a:pt x="1516" y="764"/>
                  </a:moveTo>
                  <a:cubicBezTo>
                    <a:pt x="1444" y="764"/>
                    <a:pt x="1392" y="717"/>
                    <a:pt x="1392" y="652"/>
                  </a:cubicBezTo>
                  <a:cubicBezTo>
                    <a:pt x="1392" y="592"/>
                    <a:pt x="1392" y="592"/>
                    <a:pt x="1392" y="592"/>
                  </a:cubicBezTo>
                  <a:cubicBezTo>
                    <a:pt x="1640" y="592"/>
                    <a:pt x="1640" y="592"/>
                    <a:pt x="1640" y="592"/>
                  </a:cubicBezTo>
                  <a:cubicBezTo>
                    <a:pt x="1640" y="652"/>
                    <a:pt x="1640" y="652"/>
                    <a:pt x="1640" y="652"/>
                  </a:cubicBezTo>
                  <a:cubicBezTo>
                    <a:pt x="1640" y="717"/>
                    <a:pt x="1588" y="764"/>
                    <a:pt x="1516" y="764"/>
                  </a:cubicBezTo>
                  <a:close/>
                  <a:moveTo>
                    <a:pt x="1968" y="652"/>
                  </a:moveTo>
                  <a:cubicBezTo>
                    <a:pt x="1968" y="717"/>
                    <a:pt x="1916" y="764"/>
                    <a:pt x="1844" y="764"/>
                  </a:cubicBezTo>
                  <a:cubicBezTo>
                    <a:pt x="1772" y="764"/>
                    <a:pt x="1720" y="717"/>
                    <a:pt x="1720" y="652"/>
                  </a:cubicBezTo>
                  <a:cubicBezTo>
                    <a:pt x="1720" y="592"/>
                    <a:pt x="1720" y="592"/>
                    <a:pt x="1720" y="592"/>
                  </a:cubicBezTo>
                  <a:cubicBezTo>
                    <a:pt x="1968" y="592"/>
                    <a:pt x="1968" y="592"/>
                    <a:pt x="1968" y="592"/>
                  </a:cubicBezTo>
                  <a:lnTo>
                    <a:pt x="1968" y="652"/>
                  </a:lnTo>
                  <a:close/>
                  <a:moveTo>
                    <a:pt x="168" y="136"/>
                  </a:moveTo>
                  <a:cubicBezTo>
                    <a:pt x="168" y="105"/>
                    <a:pt x="193" y="80"/>
                    <a:pt x="224" y="80"/>
                  </a:cubicBezTo>
                  <a:cubicBezTo>
                    <a:pt x="1824" y="80"/>
                    <a:pt x="1824" y="80"/>
                    <a:pt x="1824" y="80"/>
                  </a:cubicBezTo>
                  <a:cubicBezTo>
                    <a:pt x="1855" y="80"/>
                    <a:pt x="1880" y="105"/>
                    <a:pt x="1880" y="136"/>
                  </a:cubicBezTo>
                  <a:cubicBezTo>
                    <a:pt x="1880" y="288"/>
                    <a:pt x="1880" y="288"/>
                    <a:pt x="1880" y="288"/>
                  </a:cubicBezTo>
                  <a:cubicBezTo>
                    <a:pt x="168" y="288"/>
                    <a:pt x="168" y="288"/>
                    <a:pt x="168" y="288"/>
                  </a:cubicBezTo>
                  <a:lnTo>
                    <a:pt x="168" y="136"/>
                  </a:lnTo>
                  <a:close/>
                  <a:moveTo>
                    <a:pt x="80" y="592"/>
                  </a:moveTo>
                  <a:cubicBezTo>
                    <a:pt x="328" y="592"/>
                    <a:pt x="328" y="592"/>
                    <a:pt x="328" y="592"/>
                  </a:cubicBezTo>
                  <a:cubicBezTo>
                    <a:pt x="328" y="652"/>
                    <a:pt x="328" y="652"/>
                    <a:pt x="328" y="652"/>
                  </a:cubicBezTo>
                  <a:cubicBezTo>
                    <a:pt x="328" y="717"/>
                    <a:pt x="276" y="764"/>
                    <a:pt x="204" y="764"/>
                  </a:cubicBezTo>
                  <a:cubicBezTo>
                    <a:pt x="132" y="764"/>
                    <a:pt x="80" y="717"/>
                    <a:pt x="80" y="652"/>
                  </a:cubicBezTo>
                  <a:lnTo>
                    <a:pt x="80"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p:cNvSpPr>
              <a:spLocks noEditPoints="1"/>
            </p:cNvSpPr>
            <p:nvPr/>
          </p:nvSpPr>
          <p:spPr bwMode="auto">
            <a:xfrm>
              <a:off x="6932" y="4728"/>
              <a:ext cx="1270" cy="1310"/>
            </a:xfrm>
            <a:custGeom>
              <a:avLst/>
              <a:gdLst>
                <a:gd name="T0" fmla="*/ 655 w 671"/>
                <a:gd name="T1" fmla="*/ 443 h 692"/>
                <a:gd name="T2" fmla="*/ 481 w 671"/>
                <a:gd name="T3" fmla="*/ 268 h 692"/>
                <a:gd name="T4" fmla="*/ 550 w 671"/>
                <a:gd name="T5" fmla="*/ 199 h 692"/>
                <a:gd name="T6" fmla="*/ 560 w 671"/>
                <a:gd name="T7" fmla="*/ 161 h 692"/>
                <a:gd name="T8" fmla="*/ 532 w 671"/>
                <a:gd name="T9" fmla="*/ 132 h 692"/>
                <a:gd name="T10" fmla="*/ 52 w 671"/>
                <a:gd name="T11" fmla="*/ 4 h 692"/>
                <a:gd name="T12" fmla="*/ 14 w 671"/>
                <a:gd name="T13" fmla="*/ 14 h 692"/>
                <a:gd name="T14" fmla="*/ 4 w 671"/>
                <a:gd name="T15" fmla="*/ 53 h 692"/>
                <a:gd name="T16" fmla="*/ 132 w 671"/>
                <a:gd name="T17" fmla="*/ 532 h 692"/>
                <a:gd name="T18" fmla="*/ 160 w 671"/>
                <a:gd name="T19" fmla="*/ 561 h 692"/>
                <a:gd name="T20" fmla="*/ 199 w 671"/>
                <a:gd name="T21" fmla="*/ 550 h 692"/>
                <a:gd name="T22" fmla="*/ 243 w 671"/>
                <a:gd name="T23" fmla="*/ 506 h 692"/>
                <a:gd name="T24" fmla="*/ 418 w 671"/>
                <a:gd name="T25" fmla="*/ 680 h 692"/>
                <a:gd name="T26" fmla="*/ 446 w 671"/>
                <a:gd name="T27" fmla="*/ 692 h 692"/>
                <a:gd name="T28" fmla="*/ 474 w 671"/>
                <a:gd name="T29" fmla="*/ 680 h 692"/>
                <a:gd name="T30" fmla="*/ 655 w 671"/>
                <a:gd name="T31" fmla="*/ 499 h 692"/>
                <a:gd name="T32" fmla="*/ 655 w 671"/>
                <a:gd name="T33" fmla="*/ 443 h 692"/>
                <a:gd name="T34" fmla="*/ 191 w 671"/>
                <a:gd name="T35" fmla="*/ 445 h 692"/>
                <a:gd name="T36" fmla="*/ 99 w 671"/>
                <a:gd name="T37" fmla="*/ 99 h 692"/>
                <a:gd name="T38" fmla="*/ 444 w 671"/>
                <a:gd name="T39" fmla="*/ 192 h 692"/>
                <a:gd name="T40" fmla="*/ 396 w 671"/>
                <a:gd name="T41" fmla="*/ 240 h 692"/>
                <a:gd name="T42" fmla="*/ 215 w 671"/>
                <a:gd name="T43" fmla="*/ 421 h 692"/>
                <a:gd name="T44" fmla="*/ 191 w 671"/>
                <a:gd name="T45" fmla="*/ 445 h 692"/>
                <a:gd name="T46" fmla="*/ 446 w 671"/>
                <a:gd name="T47" fmla="*/ 595 h 692"/>
                <a:gd name="T48" fmla="*/ 300 w 671"/>
                <a:gd name="T49" fmla="*/ 449 h 692"/>
                <a:gd name="T50" fmla="*/ 424 w 671"/>
                <a:gd name="T51" fmla="*/ 325 h 692"/>
                <a:gd name="T52" fmla="*/ 570 w 671"/>
                <a:gd name="T53" fmla="*/ 471 h 692"/>
                <a:gd name="T54" fmla="*/ 446 w 671"/>
                <a:gd name="T55" fmla="*/ 59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1" h="692">
                  <a:moveTo>
                    <a:pt x="655" y="443"/>
                  </a:moveTo>
                  <a:cubicBezTo>
                    <a:pt x="481" y="268"/>
                    <a:pt x="481" y="268"/>
                    <a:pt x="481" y="268"/>
                  </a:cubicBezTo>
                  <a:cubicBezTo>
                    <a:pt x="550" y="199"/>
                    <a:pt x="550" y="199"/>
                    <a:pt x="550" y="199"/>
                  </a:cubicBezTo>
                  <a:cubicBezTo>
                    <a:pt x="560" y="189"/>
                    <a:pt x="564" y="174"/>
                    <a:pt x="560" y="161"/>
                  </a:cubicBezTo>
                  <a:cubicBezTo>
                    <a:pt x="557" y="147"/>
                    <a:pt x="546" y="136"/>
                    <a:pt x="532" y="132"/>
                  </a:cubicBezTo>
                  <a:cubicBezTo>
                    <a:pt x="52" y="4"/>
                    <a:pt x="52" y="4"/>
                    <a:pt x="52" y="4"/>
                  </a:cubicBezTo>
                  <a:cubicBezTo>
                    <a:pt x="39" y="0"/>
                    <a:pt x="24" y="4"/>
                    <a:pt x="14" y="14"/>
                  </a:cubicBezTo>
                  <a:cubicBezTo>
                    <a:pt x="4" y="24"/>
                    <a:pt x="0" y="39"/>
                    <a:pt x="4" y="53"/>
                  </a:cubicBezTo>
                  <a:cubicBezTo>
                    <a:pt x="132" y="532"/>
                    <a:pt x="132" y="532"/>
                    <a:pt x="132" y="532"/>
                  </a:cubicBezTo>
                  <a:cubicBezTo>
                    <a:pt x="136" y="546"/>
                    <a:pt x="146" y="557"/>
                    <a:pt x="160" y="561"/>
                  </a:cubicBezTo>
                  <a:cubicBezTo>
                    <a:pt x="174" y="564"/>
                    <a:pt x="189" y="560"/>
                    <a:pt x="199" y="550"/>
                  </a:cubicBezTo>
                  <a:cubicBezTo>
                    <a:pt x="243" y="506"/>
                    <a:pt x="243" y="506"/>
                    <a:pt x="243" y="506"/>
                  </a:cubicBezTo>
                  <a:cubicBezTo>
                    <a:pt x="418" y="680"/>
                    <a:pt x="418" y="680"/>
                    <a:pt x="418" y="680"/>
                  </a:cubicBezTo>
                  <a:cubicBezTo>
                    <a:pt x="426" y="688"/>
                    <a:pt x="436" y="692"/>
                    <a:pt x="446" y="692"/>
                  </a:cubicBezTo>
                  <a:cubicBezTo>
                    <a:pt x="456" y="692"/>
                    <a:pt x="466" y="688"/>
                    <a:pt x="474" y="680"/>
                  </a:cubicBezTo>
                  <a:cubicBezTo>
                    <a:pt x="655" y="499"/>
                    <a:pt x="655" y="499"/>
                    <a:pt x="655" y="499"/>
                  </a:cubicBezTo>
                  <a:cubicBezTo>
                    <a:pt x="671" y="484"/>
                    <a:pt x="671" y="458"/>
                    <a:pt x="655" y="443"/>
                  </a:cubicBezTo>
                  <a:close/>
                  <a:moveTo>
                    <a:pt x="191" y="445"/>
                  </a:moveTo>
                  <a:cubicBezTo>
                    <a:pt x="99" y="99"/>
                    <a:pt x="99" y="99"/>
                    <a:pt x="99" y="99"/>
                  </a:cubicBezTo>
                  <a:cubicBezTo>
                    <a:pt x="444" y="192"/>
                    <a:pt x="444" y="192"/>
                    <a:pt x="444" y="192"/>
                  </a:cubicBezTo>
                  <a:cubicBezTo>
                    <a:pt x="396" y="240"/>
                    <a:pt x="396" y="240"/>
                    <a:pt x="396" y="240"/>
                  </a:cubicBezTo>
                  <a:cubicBezTo>
                    <a:pt x="215" y="421"/>
                    <a:pt x="215" y="421"/>
                    <a:pt x="215" y="421"/>
                  </a:cubicBezTo>
                  <a:lnTo>
                    <a:pt x="191" y="445"/>
                  </a:lnTo>
                  <a:close/>
                  <a:moveTo>
                    <a:pt x="446" y="595"/>
                  </a:moveTo>
                  <a:cubicBezTo>
                    <a:pt x="300" y="449"/>
                    <a:pt x="300" y="449"/>
                    <a:pt x="300" y="449"/>
                  </a:cubicBezTo>
                  <a:cubicBezTo>
                    <a:pt x="424" y="325"/>
                    <a:pt x="424" y="325"/>
                    <a:pt x="424" y="325"/>
                  </a:cubicBezTo>
                  <a:cubicBezTo>
                    <a:pt x="570" y="471"/>
                    <a:pt x="570" y="471"/>
                    <a:pt x="570" y="471"/>
                  </a:cubicBezTo>
                  <a:lnTo>
                    <a:pt x="446"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p:cNvSpPr>
              <a:spLocks/>
            </p:cNvSpPr>
            <p:nvPr/>
          </p:nvSpPr>
          <p:spPr bwMode="auto">
            <a:xfrm>
              <a:off x="6506" y="4276"/>
              <a:ext cx="414" cy="407"/>
            </a:xfrm>
            <a:custGeom>
              <a:avLst/>
              <a:gdLst>
                <a:gd name="T0" fmla="*/ 204 w 219"/>
                <a:gd name="T1" fmla="*/ 203 h 215"/>
                <a:gd name="T2" fmla="*/ 204 w 219"/>
                <a:gd name="T3" fmla="*/ 146 h 215"/>
                <a:gd name="T4" fmla="*/ 72 w 219"/>
                <a:gd name="T5" fmla="*/ 15 h 215"/>
                <a:gd name="T6" fmla="*/ 16 w 219"/>
                <a:gd name="T7" fmla="*/ 15 h 215"/>
                <a:gd name="T8" fmla="*/ 16 w 219"/>
                <a:gd name="T9" fmla="*/ 72 h 215"/>
                <a:gd name="T10" fmla="*/ 147 w 219"/>
                <a:gd name="T11" fmla="*/ 203 h 215"/>
                <a:gd name="T12" fmla="*/ 175 w 219"/>
                <a:gd name="T13" fmla="*/ 215 h 215"/>
                <a:gd name="T14" fmla="*/ 204 w 219"/>
                <a:gd name="T15" fmla="*/ 203 h 2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15">
                  <a:moveTo>
                    <a:pt x="204" y="203"/>
                  </a:moveTo>
                  <a:cubicBezTo>
                    <a:pt x="219" y="187"/>
                    <a:pt x="219" y="162"/>
                    <a:pt x="204" y="146"/>
                  </a:cubicBezTo>
                  <a:cubicBezTo>
                    <a:pt x="72" y="15"/>
                    <a:pt x="72" y="15"/>
                    <a:pt x="72" y="15"/>
                  </a:cubicBezTo>
                  <a:cubicBezTo>
                    <a:pt x="57" y="0"/>
                    <a:pt x="31" y="0"/>
                    <a:pt x="16" y="15"/>
                  </a:cubicBezTo>
                  <a:cubicBezTo>
                    <a:pt x="0" y="31"/>
                    <a:pt x="0" y="56"/>
                    <a:pt x="16" y="72"/>
                  </a:cubicBezTo>
                  <a:cubicBezTo>
                    <a:pt x="147" y="203"/>
                    <a:pt x="147" y="203"/>
                    <a:pt x="147" y="203"/>
                  </a:cubicBezTo>
                  <a:cubicBezTo>
                    <a:pt x="155" y="211"/>
                    <a:pt x="165" y="215"/>
                    <a:pt x="175" y="215"/>
                  </a:cubicBezTo>
                  <a:cubicBezTo>
                    <a:pt x="185" y="215"/>
                    <a:pt x="196" y="211"/>
                    <a:pt x="204"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p:cNvSpPr>
              <a:spLocks/>
            </p:cNvSpPr>
            <p:nvPr/>
          </p:nvSpPr>
          <p:spPr bwMode="auto">
            <a:xfrm>
              <a:off x="6998" y="4250"/>
              <a:ext cx="151" cy="314"/>
            </a:xfrm>
            <a:custGeom>
              <a:avLst/>
              <a:gdLst>
                <a:gd name="T0" fmla="*/ 0 w 80"/>
                <a:gd name="T1" fmla="*/ 40 h 166"/>
                <a:gd name="T2" fmla="*/ 0 w 80"/>
                <a:gd name="T3" fmla="*/ 126 h 166"/>
                <a:gd name="T4" fmla="*/ 40 w 80"/>
                <a:gd name="T5" fmla="*/ 166 h 166"/>
                <a:gd name="T6" fmla="*/ 80 w 80"/>
                <a:gd name="T7" fmla="*/ 126 h 166"/>
                <a:gd name="T8" fmla="*/ 80 w 80"/>
                <a:gd name="T9" fmla="*/ 40 h 166"/>
                <a:gd name="T10" fmla="*/ 40 w 80"/>
                <a:gd name="T11" fmla="*/ 0 h 166"/>
                <a:gd name="T12" fmla="*/ 0 w 80"/>
                <a:gd name="T13" fmla="*/ 40 h 166"/>
              </a:gdLst>
              <a:ahLst/>
              <a:cxnLst>
                <a:cxn ang="0">
                  <a:pos x="T0" y="T1"/>
                </a:cxn>
                <a:cxn ang="0">
                  <a:pos x="T2" y="T3"/>
                </a:cxn>
                <a:cxn ang="0">
                  <a:pos x="T4" y="T5"/>
                </a:cxn>
                <a:cxn ang="0">
                  <a:pos x="T6" y="T7"/>
                </a:cxn>
                <a:cxn ang="0">
                  <a:pos x="T8" y="T9"/>
                </a:cxn>
                <a:cxn ang="0">
                  <a:pos x="T10" y="T11"/>
                </a:cxn>
                <a:cxn ang="0">
                  <a:pos x="T12" y="T13"/>
                </a:cxn>
              </a:cxnLst>
              <a:rect l="0" t="0" r="r" b="b"/>
              <a:pathLst>
                <a:path w="80" h="166">
                  <a:moveTo>
                    <a:pt x="0" y="40"/>
                  </a:moveTo>
                  <a:cubicBezTo>
                    <a:pt x="0" y="126"/>
                    <a:pt x="0" y="126"/>
                    <a:pt x="0" y="126"/>
                  </a:cubicBezTo>
                  <a:cubicBezTo>
                    <a:pt x="0" y="149"/>
                    <a:pt x="18" y="166"/>
                    <a:pt x="40" y="166"/>
                  </a:cubicBezTo>
                  <a:cubicBezTo>
                    <a:pt x="62" y="166"/>
                    <a:pt x="80" y="149"/>
                    <a:pt x="80" y="126"/>
                  </a:cubicBezTo>
                  <a:cubicBezTo>
                    <a:pt x="80" y="40"/>
                    <a:pt x="80" y="40"/>
                    <a:pt x="80" y="40"/>
                  </a:cubicBezTo>
                  <a:cubicBezTo>
                    <a:pt x="80" y="18"/>
                    <a:pt x="62" y="0"/>
                    <a:pt x="40" y="0"/>
                  </a:cubicBezTo>
                  <a:cubicBezTo>
                    <a:pt x="18" y="0"/>
                    <a:pt x="0" y="18"/>
                    <a:pt x="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p:cNvSpPr>
              <a:spLocks/>
            </p:cNvSpPr>
            <p:nvPr/>
          </p:nvSpPr>
          <p:spPr bwMode="auto">
            <a:xfrm>
              <a:off x="6479" y="4766"/>
              <a:ext cx="316" cy="152"/>
            </a:xfrm>
            <a:custGeom>
              <a:avLst/>
              <a:gdLst>
                <a:gd name="T0" fmla="*/ 127 w 167"/>
                <a:gd name="T1" fmla="*/ 0 h 80"/>
                <a:gd name="T2" fmla="*/ 40 w 167"/>
                <a:gd name="T3" fmla="*/ 0 h 80"/>
                <a:gd name="T4" fmla="*/ 0 w 167"/>
                <a:gd name="T5" fmla="*/ 40 h 80"/>
                <a:gd name="T6" fmla="*/ 40 w 167"/>
                <a:gd name="T7" fmla="*/ 80 h 80"/>
                <a:gd name="T8" fmla="*/ 127 w 167"/>
                <a:gd name="T9" fmla="*/ 80 h 80"/>
                <a:gd name="T10" fmla="*/ 167 w 167"/>
                <a:gd name="T11" fmla="*/ 40 h 80"/>
                <a:gd name="T12" fmla="*/ 127 w 167"/>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7" h="80">
                  <a:moveTo>
                    <a:pt x="127" y="0"/>
                  </a:moveTo>
                  <a:cubicBezTo>
                    <a:pt x="40" y="0"/>
                    <a:pt x="40" y="0"/>
                    <a:pt x="40" y="0"/>
                  </a:cubicBezTo>
                  <a:cubicBezTo>
                    <a:pt x="18" y="0"/>
                    <a:pt x="0" y="18"/>
                    <a:pt x="0" y="40"/>
                  </a:cubicBezTo>
                  <a:cubicBezTo>
                    <a:pt x="0" y="62"/>
                    <a:pt x="18" y="80"/>
                    <a:pt x="40" y="80"/>
                  </a:cubicBezTo>
                  <a:cubicBezTo>
                    <a:pt x="127" y="80"/>
                    <a:pt x="127" y="80"/>
                    <a:pt x="127" y="80"/>
                  </a:cubicBezTo>
                  <a:cubicBezTo>
                    <a:pt x="149" y="80"/>
                    <a:pt x="167" y="62"/>
                    <a:pt x="167" y="40"/>
                  </a:cubicBezTo>
                  <a:cubicBezTo>
                    <a:pt x="167" y="18"/>
                    <a:pt x="149" y="0"/>
                    <a:pt x="1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p:cNvSpPr>
              <a:spLocks noEditPoints="1"/>
            </p:cNvSpPr>
            <p:nvPr/>
          </p:nvSpPr>
          <p:spPr bwMode="auto">
            <a:xfrm>
              <a:off x="4818" y="4024"/>
              <a:ext cx="1406" cy="1121"/>
            </a:xfrm>
            <a:custGeom>
              <a:avLst/>
              <a:gdLst>
                <a:gd name="T0" fmla="*/ 229 w 743"/>
                <a:gd name="T1" fmla="*/ 562 h 592"/>
                <a:gd name="T2" fmla="*/ 268 w 743"/>
                <a:gd name="T3" fmla="*/ 592 h 592"/>
                <a:gd name="T4" fmla="*/ 662 w 743"/>
                <a:gd name="T5" fmla="*/ 592 h 592"/>
                <a:gd name="T6" fmla="*/ 702 w 743"/>
                <a:gd name="T7" fmla="*/ 552 h 592"/>
                <a:gd name="T8" fmla="*/ 662 w 743"/>
                <a:gd name="T9" fmla="*/ 512 h 592"/>
                <a:gd name="T10" fmla="*/ 299 w 743"/>
                <a:gd name="T11" fmla="*/ 512 h 592"/>
                <a:gd name="T12" fmla="*/ 286 w 743"/>
                <a:gd name="T13" fmla="*/ 458 h 592"/>
                <a:gd name="T14" fmla="*/ 645 w 743"/>
                <a:gd name="T15" fmla="*/ 458 h 592"/>
                <a:gd name="T16" fmla="*/ 684 w 743"/>
                <a:gd name="T17" fmla="*/ 426 h 592"/>
                <a:gd name="T18" fmla="*/ 741 w 743"/>
                <a:gd name="T19" fmla="*/ 148 h 592"/>
                <a:gd name="T20" fmla="*/ 732 w 743"/>
                <a:gd name="T21" fmla="*/ 115 h 592"/>
                <a:gd name="T22" fmla="*/ 701 w 743"/>
                <a:gd name="T23" fmla="*/ 100 h 592"/>
                <a:gd name="T24" fmla="*/ 197 w 743"/>
                <a:gd name="T25" fmla="*/ 100 h 592"/>
                <a:gd name="T26" fmla="*/ 180 w 743"/>
                <a:gd name="T27" fmla="*/ 30 h 592"/>
                <a:gd name="T28" fmla="*/ 141 w 743"/>
                <a:gd name="T29" fmla="*/ 0 h 592"/>
                <a:gd name="T30" fmla="*/ 40 w 743"/>
                <a:gd name="T31" fmla="*/ 0 h 592"/>
                <a:gd name="T32" fmla="*/ 0 w 743"/>
                <a:gd name="T33" fmla="*/ 40 h 592"/>
                <a:gd name="T34" fmla="*/ 40 w 743"/>
                <a:gd name="T35" fmla="*/ 80 h 592"/>
                <a:gd name="T36" fmla="*/ 109 w 743"/>
                <a:gd name="T37" fmla="*/ 80 h 592"/>
                <a:gd name="T38" fmla="*/ 229 w 743"/>
                <a:gd name="T39" fmla="*/ 562 h 592"/>
                <a:gd name="T40" fmla="*/ 652 w 743"/>
                <a:gd name="T41" fmla="*/ 180 h 592"/>
                <a:gd name="T42" fmla="*/ 612 w 743"/>
                <a:gd name="T43" fmla="*/ 378 h 592"/>
                <a:gd name="T44" fmla="*/ 266 w 743"/>
                <a:gd name="T45" fmla="*/ 378 h 592"/>
                <a:gd name="T46" fmla="*/ 217 w 743"/>
                <a:gd name="T47" fmla="*/ 180 h 592"/>
                <a:gd name="T48" fmla="*/ 652 w 743"/>
                <a:gd name="T49" fmla="*/ 18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3" h="592">
                  <a:moveTo>
                    <a:pt x="229" y="562"/>
                  </a:moveTo>
                  <a:cubicBezTo>
                    <a:pt x="234" y="579"/>
                    <a:pt x="250" y="592"/>
                    <a:pt x="268" y="592"/>
                  </a:cubicBezTo>
                  <a:cubicBezTo>
                    <a:pt x="662" y="592"/>
                    <a:pt x="662" y="592"/>
                    <a:pt x="662" y="592"/>
                  </a:cubicBezTo>
                  <a:cubicBezTo>
                    <a:pt x="684" y="592"/>
                    <a:pt x="702" y="574"/>
                    <a:pt x="702" y="552"/>
                  </a:cubicBezTo>
                  <a:cubicBezTo>
                    <a:pt x="702" y="530"/>
                    <a:pt x="684" y="512"/>
                    <a:pt x="662" y="512"/>
                  </a:cubicBezTo>
                  <a:cubicBezTo>
                    <a:pt x="299" y="512"/>
                    <a:pt x="299" y="512"/>
                    <a:pt x="299" y="512"/>
                  </a:cubicBezTo>
                  <a:cubicBezTo>
                    <a:pt x="286" y="458"/>
                    <a:pt x="286" y="458"/>
                    <a:pt x="286" y="458"/>
                  </a:cubicBezTo>
                  <a:cubicBezTo>
                    <a:pt x="645" y="458"/>
                    <a:pt x="645" y="458"/>
                    <a:pt x="645" y="458"/>
                  </a:cubicBezTo>
                  <a:cubicBezTo>
                    <a:pt x="664" y="458"/>
                    <a:pt x="680" y="445"/>
                    <a:pt x="684" y="426"/>
                  </a:cubicBezTo>
                  <a:cubicBezTo>
                    <a:pt x="741" y="148"/>
                    <a:pt x="741" y="148"/>
                    <a:pt x="741" y="148"/>
                  </a:cubicBezTo>
                  <a:cubicBezTo>
                    <a:pt x="743" y="136"/>
                    <a:pt x="740" y="124"/>
                    <a:pt x="732" y="115"/>
                  </a:cubicBezTo>
                  <a:cubicBezTo>
                    <a:pt x="725" y="105"/>
                    <a:pt x="713" y="100"/>
                    <a:pt x="701" y="100"/>
                  </a:cubicBezTo>
                  <a:cubicBezTo>
                    <a:pt x="197" y="100"/>
                    <a:pt x="197" y="100"/>
                    <a:pt x="197" y="100"/>
                  </a:cubicBezTo>
                  <a:cubicBezTo>
                    <a:pt x="180" y="30"/>
                    <a:pt x="180" y="30"/>
                    <a:pt x="180" y="30"/>
                  </a:cubicBezTo>
                  <a:cubicBezTo>
                    <a:pt x="175" y="13"/>
                    <a:pt x="159" y="0"/>
                    <a:pt x="141" y="0"/>
                  </a:cubicBezTo>
                  <a:cubicBezTo>
                    <a:pt x="40" y="0"/>
                    <a:pt x="40" y="0"/>
                    <a:pt x="40" y="0"/>
                  </a:cubicBezTo>
                  <a:cubicBezTo>
                    <a:pt x="18" y="0"/>
                    <a:pt x="0" y="18"/>
                    <a:pt x="0" y="40"/>
                  </a:cubicBezTo>
                  <a:cubicBezTo>
                    <a:pt x="0" y="62"/>
                    <a:pt x="18" y="80"/>
                    <a:pt x="40" y="80"/>
                  </a:cubicBezTo>
                  <a:cubicBezTo>
                    <a:pt x="109" y="80"/>
                    <a:pt x="109" y="80"/>
                    <a:pt x="109" y="80"/>
                  </a:cubicBezTo>
                  <a:lnTo>
                    <a:pt x="229" y="562"/>
                  </a:lnTo>
                  <a:close/>
                  <a:moveTo>
                    <a:pt x="652" y="180"/>
                  </a:moveTo>
                  <a:cubicBezTo>
                    <a:pt x="612" y="378"/>
                    <a:pt x="612" y="378"/>
                    <a:pt x="612" y="378"/>
                  </a:cubicBezTo>
                  <a:cubicBezTo>
                    <a:pt x="266" y="378"/>
                    <a:pt x="266" y="378"/>
                    <a:pt x="266" y="378"/>
                  </a:cubicBezTo>
                  <a:cubicBezTo>
                    <a:pt x="217" y="180"/>
                    <a:pt x="217" y="180"/>
                    <a:pt x="217" y="180"/>
                  </a:cubicBezTo>
                  <a:lnTo>
                    <a:pt x="65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p:cNvSpPr>
              <a:spLocks/>
            </p:cNvSpPr>
            <p:nvPr/>
          </p:nvSpPr>
          <p:spPr bwMode="auto">
            <a:xfrm>
              <a:off x="5310" y="5160"/>
              <a:ext cx="151" cy="151"/>
            </a:xfrm>
            <a:custGeom>
              <a:avLst/>
              <a:gdLst>
                <a:gd name="T0" fmla="*/ 12 w 80"/>
                <a:gd name="T1" fmla="*/ 12 h 80"/>
                <a:gd name="T2" fmla="*/ 0 w 80"/>
                <a:gd name="T3" fmla="*/ 40 h 80"/>
                <a:gd name="T4" fmla="*/ 12 w 80"/>
                <a:gd name="T5" fmla="*/ 69 h 80"/>
                <a:gd name="T6" fmla="*/ 40 w 80"/>
                <a:gd name="T7" fmla="*/ 80 h 80"/>
                <a:gd name="T8" fmla="*/ 68 w 80"/>
                <a:gd name="T9" fmla="*/ 69 h 80"/>
                <a:gd name="T10" fmla="*/ 80 w 80"/>
                <a:gd name="T11" fmla="*/ 40 h 80"/>
                <a:gd name="T12" fmla="*/ 68 w 80"/>
                <a:gd name="T13" fmla="*/ 12 h 80"/>
                <a:gd name="T14" fmla="*/ 40 w 80"/>
                <a:gd name="T15" fmla="*/ 0 h 80"/>
                <a:gd name="T16" fmla="*/ 12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12" y="12"/>
                  </a:moveTo>
                  <a:cubicBezTo>
                    <a:pt x="4" y="19"/>
                    <a:pt x="0" y="30"/>
                    <a:pt x="0" y="40"/>
                  </a:cubicBezTo>
                  <a:cubicBezTo>
                    <a:pt x="0" y="51"/>
                    <a:pt x="4" y="61"/>
                    <a:pt x="12" y="69"/>
                  </a:cubicBezTo>
                  <a:cubicBezTo>
                    <a:pt x="19" y="76"/>
                    <a:pt x="29" y="80"/>
                    <a:pt x="40" y="80"/>
                  </a:cubicBezTo>
                  <a:cubicBezTo>
                    <a:pt x="51" y="80"/>
                    <a:pt x="61" y="76"/>
                    <a:pt x="68" y="69"/>
                  </a:cubicBezTo>
                  <a:cubicBezTo>
                    <a:pt x="76" y="61"/>
                    <a:pt x="80" y="51"/>
                    <a:pt x="80" y="40"/>
                  </a:cubicBezTo>
                  <a:cubicBezTo>
                    <a:pt x="80" y="30"/>
                    <a:pt x="76" y="19"/>
                    <a:pt x="68" y="12"/>
                  </a:cubicBezTo>
                  <a:cubicBezTo>
                    <a:pt x="61" y="5"/>
                    <a:pt x="51" y="0"/>
                    <a:pt x="40" y="0"/>
                  </a:cubicBezTo>
                  <a:cubicBezTo>
                    <a:pt x="29" y="0"/>
                    <a:pt x="19" y="5"/>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2"/>
            <p:cNvSpPr>
              <a:spLocks/>
            </p:cNvSpPr>
            <p:nvPr/>
          </p:nvSpPr>
          <p:spPr bwMode="auto">
            <a:xfrm>
              <a:off x="5870" y="5160"/>
              <a:ext cx="151" cy="151"/>
            </a:xfrm>
            <a:custGeom>
              <a:avLst/>
              <a:gdLst>
                <a:gd name="T0" fmla="*/ 12 w 80"/>
                <a:gd name="T1" fmla="*/ 12 h 80"/>
                <a:gd name="T2" fmla="*/ 0 w 80"/>
                <a:gd name="T3" fmla="*/ 40 h 80"/>
                <a:gd name="T4" fmla="*/ 12 w 80"/>
                <a:gd name="T5" fmla="*/ 69 h 80"/>
                <a:gd name="T6" fmla="*/ 40 w 80"/>
                <a:gd name="T7" fmla="*/ 80 h 80"/>
                <a:gd name="T8" fmla="*/ 68 w 80"/>
                <a:gd name="T9" fmla="*/ 69 h 80"/>
                <a:gd name="T10" fmla="*/ 80 w 80"/>
                <a:gd name="T11" fmla="*/ 40 h 80"/>
                <a:gd name="T12" fmla="*/ 68 w 80"/>
                <a:gd name="T13" fmla="*/ 12 h 80"/>
                <a:gd name="T14" fmla="*/ 40 w 80"/>
                <a:gd name="T15" fmla="*/ 0 h 80"/>
                <a:gd name="T16" fmla="*/ 12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12" y="12"/>
                  </a:moveTo>
                  <a:cubicBezTo>
                    <a:pt x="4" y="19"/>
                    <a:pt x="0" y="30"/>
                    <a:pt x="0" y="40"/>
                  </a:cubicBezTo>
                  <a:cubicBezTo>
                    <a:pt x="0" y="51"/>
                    <a:pt x="4" y="61"/>
                    <a:pt x="12" y="69"/>
                  </a:cubicBezTo>
                  <a:cubicBezTo>
                    <a:pt x="19" y="76"/>
                    <a:pt x="29" y="80"/>
                    <a:pt x="40" y="80"/>
                  </a:cubicBezTo>
                  <a:cubicBezTo>
                    <a:pt x="51" y="80"/>
                    <a:pt x="61" y="76"/>
                    <a:pt x="68" y="69"/>
                  </a:cubicBezTo>
                  <a:cubicBezTo>
                    <a:pt x="76" y="61"/>
                    <a:pt x="80" y="51"/>
                    <a:pt x="80" y="40"/>
                  </a:cubicBezTo>
                  <a:cubicBezTo>
                    <a:pt x="80" y="30"/>
                    <a:pt x="76" y="19"/>
                    <a:pt x="68" y="12"/>
                  </a:cubicBezTo>
                  <a:cubicBezTo>
                    <a:pt x="61" y="5"/>
                    <a:pt x="51" y="0"/>
                    <a:pt x="40" y="0"/>
                  </a:cubicBezTo>
                  <a:cubicBezTo>
                    <a:pt x="29" y="0"/>
                    <a:pt x="19" y="5"/>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p:cNvSpPr>
              <a:spLocks/>
            </p:cNvSpPr>
            <p:nvPr/>
          </p:nvSpPr>
          <p:spPr bwMode="auto">
            <a:xfrm>
              <a:off x="5120" y="5478"/>
              <a:ext cx="1100" cy="151"/>
            </a:xfrm>
            <a:custGeom>
              <a:avLst/>
              <a:gdLst>
                <a:gd name="T0" fmla="*/ 40 w 581"/>
                <a:gd name="T1" fmla="*/ 80 h 80"/>
                <a:gd name="T2" fmla="*/ 541 w 581"/>
                <a:gd name="T3" fmla="*/ 80 h 80"/>
                <a:gd name="T4" fmla="*/ 581 w 581"/>
                <a:gd name="T5" fmla="*/ 40 h 80"/>
                <a:gd name="T6" fmla="*/ 541 w 581"/>
                <a:gd name="T7" fmla="*/ 0 h 80"/>
                <a:gd name="T8" fmla="*/ 40 w 581"/>
                <a:gd name="T9" fmla="*/ 0 h 80"/>
                <a:gd name="T10" fmla="*/ 0 w 581"/>
                <a:gd name="T11" fmla="*/ 40 h 80"/>
                <a:gd name="T12" fmla="*/ 40 w 581"/>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581" h="80">
                  <a:moveTo>
                    <a:pt x="40" y="80"/>
                  </a:moveTo>
                  <a:cubicBezTo>
                    <a:pt x="541" y="80"/>
                    <a:pt x="541" y="80"/>
                    <a:pt x="541" y="80"/>
                  </a:cubicBezTo>
                  <a:cubicBezTo>
                    <a:pt x="564" y="80"/>
                    <a:pt x="581" y="62"/>
                    <a:pt x="581" y="40"/>
                  </a:cubicBezTo>
                  <a:cubicBezTo>
                    <a:pt x="581" y="18"/>
                    <a:pt x="564" y="0"/>
                    <a:pt x="541" y="0"/>
                  </a:cubicBezTo>
                  <a:cubicBezTo>
                    <a:pt x="40" y="0"/>
                    <a:pt x="40" y="0"/>
                    <a:pt x="40" y="0"/>
                  </a:cubicBezTo>
                  <a:cubicBezTo>
                    <a:pt x="18" y="0"/>
                    <a:pt x="0" y="18"/>
                    <a:pt x="0" y="40"/>
                  </a:cubicBezTo>
                  <a:cubicBezTo>
                    <a:pt x="0" y="62"/>
                    <a:pt x="18"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p:cNvSpPr>
              <a:spLocks/>
            </p:cNvSpPr>
            <p:nvPr/>
          </p:nvSpPr>
          <p:spPr bwMode="auto">
            <a:xfrm>
              <a:off x="4812" y="5478"/>
              <a:ext cx="151" cy="151"/>
            </a:xfrm>
            <a:custGeom>
              <a:avLst/>
              <a:gdLst>
                <a:gd name="T0" fmla="*/ 11 w 80"/>
                <a:gd name="T1" fmla="*/ 12 h 80"/>
                <a:gd name="T2" fmla="*/ 0 w 80"/>
                <a:gd name="T3" fmla="*/ 40 h 80"/>
                <a:gd name="T4" fmla="*/ 11 w 80"/>
                <a:gd name="T5" fmla="*/ 68 h 80"/>
                <a:gd name="T6" fmla="*/ 40 w 80"/>
                <a:gd name="T7" fmla="*/ 80 h 80"/>
                <a:gd name="T8" fmla="*/ 68 w 80"/>
                <a:gd name="T9" fmla="*/ 68 h 80"/>
                <a:gd name="T10" fmla="*/ 80 w 80"/>
                <a:gd name="T11" fmla="*/ 40 h 80"/>
                <a:gd name="T12" fmla="*/ 68 w 80"/>
                <a:gd name="T13" fmla="*/ 12 h 80"/>
                <a:gd name="T14" fmla="*/ 40 w 80"/>
                <a:gd name="T15" fmla="*/ 0 h 80"/>
                <a:gd name="T16" fmla="*/ 11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11" y="12"/>
                  </a:moveTo>
                  <a:cubicBezTo>
                    <a:pt x="4" y="19"/>
                    <a:pt x="0" y="29"/>
                    <a:pt x="0" y="40"/>
                  </a:cubicBezTo>
                  <a:cubicBezTo>
                    <a:pt x="0" y="51"/>
                    <a:pt x="4" y="61"/>
                    <a:pt x="11" y="68"/>
                  </a:cubicBezTo>
                  <a:cubicBezTo>
                    <a:pt x="19" y="76"/>
                    <a:pt x="29" y="80"/>
                    <a:pt x="40" y="80"/>
                  </a:cubicBezTo>
                  <a:cubicBezTo>
                    <a:pt x="50" y="80"/>
                    <a:pt x="61" y="76"/>
                    <a:pt x="68" y="68"/>
                  </a:cubicBezTo>
                  <a:cubicBezTo>
                    <a:pt x="75" y="61"/>
                    <a:pt x="80" y="51"/>
                    <a:pt x="80" y="40"/>
                  </a:cubicBezTo>
                  <a:cubicBezTo>
                    <a:pt x="80" y="29"/>
                    <a:pt x="75" y="19"/>
                    <a:pt x="68" y="12"/>
                  </a:cubicBezTo>
                  <a:cubicBezTo>
                    <a:pt x="61" y="4"/>
                    <a:pt x="50" y="0"/>
                    <a:pt x="40" y="0"/>
                  </a:cubicBezTo>
                  <a:cubicBezTo>
                    <a:pt x="29" y="0"/>
                    <a:pt x="19" y="4"/>
                    <a:pt x="1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 name="Group 37"/>
          <p:cNvGrpSpPr>
            <a:grpSpLocks noChangeAspect="1"/>
          </p:cNvGrpSpPr>
          <p:nvPr/>
        </p:nvGrpSpPr>
        <p:grpSpPr bwMode="auto">
          <a:xfrm>
            <a:off x="10725130" y="4107973"/>
            <a:ext cx="457200" cy="457200"/>
            <a:chOff x="4223" y="1150"/>
            <a:chExt cx="3101" cy="3101"/>
          </a:xfrm>
          <a:solidFill>
            <a:schemeClr val="accent1"/>
          </a:solidFill>
        </p:grpSpPr>
        <p:sp>
          <p:nvSpPr>
            <p:cNvPr id="43" name="Freeform 38"/>
            <p:cNvSpPr>
              <a:spLocks noEditPoints="1"/>
            </p:cNvSpPr>
            <p:nvPr/>
          </p:nvSpPr>
          <p:spPr bwMode="auto">
            <a:xfrm>
              <a:off x="4223" y="1150"/>
              <a:ext cx="606" cy="60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56 h 320"/>
                <a:gd name="T12" fmla="*/ 64 w 320"/>
                <a:gd name="T13" fmla="*/ 160 h 320"/>
                <a:gd name="T14" fmla="*/ 160 w 320"/>
                <a:gd name="T15" fmla="*/ 64 h 320"/>
                <a:gd name="T16" fmla="*/ 256 w 320"/>
                <a:gd name="T17" fmla="*/ 160 h 320"/>
                <a:gd name="T18" fmla="*/ 160 w 320"/>
                <a:gd name="T19" fmla="*/ 256 h 320"/>
                <a:gd name="T20" fmla="*/ 160 w 320"/>
                <a:gd name="T21" fmla="*/ 256 h 320"/>
                <a:gd name="T22" fmla="*/ 160 w 320"/>
                <a:gd name="T2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 h="320">
                  <a:moveTo>
                    <a:pt x="160" y="0"/>
                  </a:moveTo>
                  <a:cubicBezTo>
                    <a:pt x="72" y="0"/>
                    <a:pt x="0" y="72"/>
                    <a:pt x="0" y="160"/>
                  </a:cubicBezTo>
                  <a:cubicBezTo>
                    <a:pt x="0" y="248"/>
                    <a:pt x="72" y="320"/>
                    <a:pt x="160" y="320"/>
                  </a:cubicBezTo>
                  <a:cubicBezTo>
                    <a:pt x="248" y="320"/>
                    <a:pt x="320" y="248"/>
                    <a:pt x="320" y="160"/>
                  </a:cubicBezTo>
                  <a:cubicBezTo>
                    <a:pt x="320" y="72"/>
                    <a:pt x="248" y="0"/>
                    <a:pt x="160" y="0"/>
                  </a:cubicBezTo>
                  <a:close/>
                  <a:moveTo>
                    <a:pt x="160" y="256"/>
                  </a:moveTo>
                  <a:cubicBezTo>
                    <a:pt x="107" y="256"/>
                    <a:pt x="64" y="213"/>
                    <a:pt x="64" y="160"/>
                  </a:cubicBezTo>
                  <a:cubicBezTo>
                    <a:pt x="64" y="107"/>
                    <a:pt x="107" y="64"/>
                    <a:pt x="160" y="64"/>
                  </a:cubicBezTo>
                  <a:cubicBezTo>
                    <a:pt x="213" y="64"/>
                    <a:pt x="256" y="107"/>
                    <a:pt x="256" y="160"/>
                  </a:cubicBezTo>
                  <a:cubicBezTo>
                    <a:pt x="256" y="213"/>
                    <a:pt x="213" y="256"/>
                    <a:pt x="160" y="256"/>
                  </a:cubicBezTo>
                  <a:close/>
                  <a:moveTo>
                    <a:pt x="160" y="256"/>
                  </a:moveTo>
                  <a:cubicBezTo>
                    <a:pt x="160" y="256"/>
                    <a:pt x="160" y="256"/>
                    <a:pt x="160" y="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9"/>
            <p:cNvSpPr>
              <a:spLocks noEditPoints="1"/>
            </p:cNvSpPr>
            <p:nvPr/>
          </p:nvSpPr>
          <p:spPr bwMode="auto">
            <a:xfrm>
              <a:off x="6718" y="1150"/>
              <a:ext cx="606" cy="60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56 h 320"/>
                <a:gd name="T12" fmla="*/ 64 w 320"/>
                <a:gd name="T13" fmla="*/ 160 h 320"/>
                <a:gd name="T14" fmla="*/ 160 w 320"/>
                <a:gd name="T15" fmla="*/ 64 h 320"/>
                <a:gd name="T16" fmla="*/ 256 w 320"/>
                <a:gd name="T17" fmla="*/ 160 h 320"/>
                <a:gd name="T18" fmla="*/ 160 w 320"/>
                <a:gd name="T19" fmla="*/ 256 h 320"/>
                <a:gd name="T20" fmla="*/ 160 w 320"/>
                <a:gd name="T21" fmla="*/ 256 h 320"/>
                <a:gd name="T22" fmla="*/ 160 w 320"/>
                <a:gd name="T2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 h="320">
                  <a:moveTo>
                    <a:pt x="160" y="0"/>
                  </a:moveTo>
                  <a:cubicBezTo>
                    <a:pt x="72" y="0"/>
                    <a:pt x="0" y="72"/>
                    <a:pt x="0" y="160"/>
                  </a:cubicBezTo>
                  <a:cubicBezTo>
                    <a:pt x="0" y="248"/>
                    <a:pt x="72" y="320"/>
                    <a:pt x="160" y="320"/>
                  </a:cubicBezTo>
                  <a:cubicBezTo>
                    <a:pt x="249" y="320"/>
                    <a:pt x="320" y="248"/>
                    <a:pt x="320" y="160"/>
                  </a:cubicBezTo>
                  <a:cubicBezTo>
                    <a:pt x="320" y="72"/>
                    <a:pt x="249" y="0"/>
                    <a:pt x="160" y="0"/>
                  </a:cubicBezTo>
                  <a:close/>
                  <a:moveTo>
                    <a:pt x="160" y="256"/>
                  </a:moveTo>
                  <a:cubicBezTo>
                    <a:pt x="107" y="256"/>
                    <a:pt x="64" y="213"/>
                    <a:pt x="64" y="160"/>
                  </a:cubicBezTo>
                  <a:cubicBezTo>
                    <a:pt x="64" y="107"/>
                    <a:pt x="107" y="64"/>
                    <a:pt x="160" y="64"/>
                  </a:cubicBezTo>
                  <a:cubicBezTo>
                    <a:pt x="213" y="64"/>
                    <a:pt x="256" y="107"/>
                    <a:pt x="256" y="160"/>
                  </a:cubicBezTo>
                  <a:cubicBezTo>
                    <a:pt x="256" y="213"/>
                    <a:pt x="213" y="256"/>
                    <a:pt x="160" y="256"/>
                  </a:cubicBezTo>
                  <a:close/>
                  <a:moveTo>
                    <a:pt x="160" y="256"/>
                  </a:moveTo>
                  <a:cubicBezTo>
                    <a:pt x="160" y="256"/>
                    <a:pt x="160" y="256"/>
                    <a:pt x="160" y="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0"/>
            <p:cNvSpPr>
              <a:spLocks noEditPoints="1"/>
            </p:cNvSpPr>
            <p:nvPr/>
          </p:nvSpPr>
          <p:spPr bwMode="auto">
            <a:xfrm>
              <a:off x="6718" y="3645"/>
              <a:ext cx="606" cy="60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56 h 320"/>
                <a:gd name="T12" fmla="*/ 64 w 320"/>
                <a:gd name="T13" fmla="*/ 160 h 320"/>
                <a:gd name="T14" fmla="*/ 160 w 320"/>
                <a:gd name="T15" fmla="*/ 64 h 320"/>
                <a:gd name="T16" fmla="*/ 256 w 320"/>
                <a:gd name="T17" fmla="*/ 160 h 320"/>
                <a:gd name="T18" fmla="*/ 160 w 320"/>
                <a:gd name="T19" fmla="*/ 256 h 320"/>
                <a:gd name="T20" fmla="*/ 160 w 320"/>
                <a:gd name="T21" fmla="*/ 256 h 320"/>
                <a:gd name="T22" fmla="*/ 160 w 320"/>
                <a:gd name="T2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 h="320">
                  <a:moveTo>
                    <a:pt x="160" y="0"/>
                  </a:moveTo>
                  <a:cubicBezTo>
                    <a:pt x="72" y="0"/>
                    <a:pt x="0" y="72"/>
                    <a:pt x="0" y="160"/>
                  </a:cubicBezTo>
                  <a:cubicBezTo>
                    <a:pt x="0" y="249"/>
                    <a:pt x="72" y="320"/>
                    <a:pt x="160" y="320"/>
                  </a:cubicBezTo>
                  <a:cubicBezTo>
                    <a:pt x="249" y="320"/>
                    <a:pt x="320" y="249"/>
                    <a:pt x="320" y="160"/>
                  </a:cubicBezTo>
                  <a:cubicBezTo>
                    <a:pt x="320" y="72"/>
                    <a:pt x="249" y="0"/>
                    <a:pt x="160" y="0"/>
                  </a:cubicBezTo>
                  <a:close/>
                  <a:moveTo>
                    <a:pt x="160" y="256"/>
                  </a:moveTo>
                  <a:cubicBezTo>
                    <a:pt x="107" y="256"/>
                    <a:pt x="64" y="213"/>
                    <a:pt x="64" y="160"/>
                  </a:cubicBezTo>
                  <a:cubicBezTo>
                    <a:pt x="64" y="107"/>
                    <a:pt x="107" y="64"/>
                    <a:pt x="160" y="64"/>
                  </a:cubicBezTo>
                  <a:cubicBezTo>
                    <a:pt x="213" y="64"/>
                    <a:pt x="256" y="107"/>
                    <a:pt x="256" y="160"/>
                  </a:cubicBezTo>
                  <a:cubicBezTo>
                    <a:pt x="256" y="213"/>
                    <a:pt x="213" y="256"/>
                    <a:pt x="160" y="256"/>
                  </a:cubicBezTo>
                  <a:close/>
                  <a:moveTo>
                    <a:pt x="160" y="256"/>
                  </a:moveTo>
                  <a:cubicBezTo>
                    <a:pt x="160" y="256"/>
                    <a:pt x="160" y="256"/>
                    <a:pt x="160" y="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1"/>
            <p:cNvSpPr>
              <a:spLocks noEditPoints="1"/>
            </p:cNvSpPr>
            <p:nvPr/>
          </p:nvSpPr>
          <p:spPr bwMode="auto">
            <a:xfrm>
              <a:off x="4804" y="1731"/>
              <a:ext cx="1941" cy="1939"/>
            </a:xfrm>
            <a:custGeom>
              <a:avLst/>
              <a:gdLst>
                <a:gd name="T0" fmla="*/ 956 w 1025"/>
                <a:gd name="T1" fmla="*/ 765 h 1024"/>
                <a:gd name="T2" fmla="*/ 917 w 1025"/>
                <a:gd name="T3" fmla="*/ 781 h 1024"/>
                <a:gd name="T4" fmla="*/ 805 w 1025"/>
                <a:gd name="T5" fmla="*/ 715 h 1024"/>
                <a:gd name="T6" fmla="*/ 894 w 1025"/>
                <a:gd name="T7" fmla="*/ 849 h 1024"/>
                <a:gd name="T8" fmla="*/ 949 w 1025"/>
                <a:gd name="T9" fmla="*/ 949 h 1024"/>
                <a:gd name="T10" fmla="*/ 849 w 1025"/>
                <a:gd name="T11" fmla="*/ 894 h 1024"/>
                <a:gd name="T12" fmla="*/ 794 w 1025"/>
                <a:gd name="T13" fmla="*/ 513 h 1024"/>
                <a:gd name="T14" fmla="*/ 917 w 1025"/>
                <a:gd name="T15" fmla="*/ 244 h 1024"/>
                <a:gd name="T16" fmla="*/ 956 w 1025"/>
                <a:gd name="T17" fmla="*/ 260 h 1024"/>
                <a:gd name="T18" fmla="*/ 1023 w 1025"/>
                <a:gd name="T19" fmla="*/ 41 h 1024"/>
                <a:gd name="T20" fmla="*/ 985 w 1025"/>
                <a:gd name="T21" fmla="*/ 2 h 1024"/>
                <a:gd name="T22" fmla="*/ 765 w 1025"/>
                <a:gd name="T23" fmla="*/ 70 h 1024"/>
                <a:gd name="T24" fmla="*/ 781 w 1025"/>
                <a:gd name="T25" fmla="*/ 109 h 1024"/>
                <a:gd name="T26" fmla="*/ 715 w 1025"/>
                <a:gd name="T27" fmla="*/ 219 h 1024"/>
                <a:gd name="T28" fmla="*/ 849 w 1025"/>
                <a:gd name="T29" fmla="*/ 131 h 1024"/>
                <a:gd name="T30" fmla="*/ 949 w 1025"/>
                <a:gd name="T31" fmla="*/ 76 h 1024"/>
                <a:gd name="T32" fmla="*/ 894 w 1025"/>
                <a:gd name="T33" fmla="*/ 176 h 1024"/>
                <a:gd name="T34" fmla="*/ 513 w 1025"/>
                <a:gd name="T35" fmla="*/ 231 h 1024"/>
                <a:gd name="T36" fmla="*/ 244 w 1025"/>
                <a:gd name="T37" fmla="*/ 109 h 1024"/>
                <a:gd name="T38" fmla="*/ 260 w 1025"/>
                <a:gd name="T39" fmla="*/ 70 h 1024"/>
                <a:gd name="T40" fmla="*/ 41 w 1025"/>
                <a:gd name="T41" fmla="*/ 2 h 1024"/>
                <a:gd name="T42" fmla="*/ 2 w 1025"/>
                <a:gd name="T43" fmla="*/ 41 h 1024"/>
                <a:gd name="T44" fmla="*/ 70 w 1025"/>
                <a:gd name="T45" fmla="*/ 260 h 1024"/>
                <a:gd name="T46" fmla="*/ 109 w 1025"/>
                <a:gd name="T47" fmla="*/ 244 h 1024"/>
                <a:gd name="T48" fmla="*/ 219 w 1025"/>
                <a:gd name="T49" fmla="*/ 309 h 1024"/>
                <a:gd name="T50" fmla="*/ 131 w 1025"/>
                <a:gd name="T51" fmla="*/ 176 h 1024"/>
                <a:gd name="T52" fmla="*/ 76 w 1025"/>
                <a:gd name="T53" fmla="*/ 76 h 1024"/>
                <a:gd name="T54" fmla="*/ 176 w 1025"/>
                <a:gd name="T55" fmla="*/ 131 h 1024"/>
                <a:gd name="T56" fmla="*/ 231 w 1025"/>
                <a:gd name="T57" fmla="*/ 513 h 1024"/>
                <a:gd name="T58" fmla="*/ 109 w 1025"/>
                <a:gd name="T59" fmla="*/ 781 h 1024"/>
                <a:gd name="T60" fmla="*/ 70 w 1025"/>
                <a:gd name="T61" fmla="*/ 765 h 1024"/>
                <a:gd name="T62" fmla="*/ 2 w 1025"/>
                <a:gd name="T63" fmla="*/ 985 h 1024"/>
                <a:gd name="T64" fmla="*/ 33 w 1025"/>
                <a:gd name="T65" fmla="*/ 1024 h 1024"/>
                <a:gd name="T66" fmla="*/ 236 w 1025"/>
                <a:gd name="T67" fmla="*/ 978 h 1024"/>
                <a:gd name="T68" fmla="*/ 252 w 1025"/>
                <a:gd name="T69" fmla="*/ 924 h 1024"/>
                <a:gd name="T70" fmla="*/ 310 w 1025"/>
                <a:gd name="T71" fmla="*/ 851 h 1024"/>
                <a:gd name="T72" fmla="*/ 265 w 1025"/>
                <a:gd name="T73" fmla="*/ 806 h 1024"/>
                <a:gd name="T74" fmla="*/ 169 w 1025"/>
                <a:gd name="T75" fmla="*/ 928 h 1024"/>
                <a:gd name="T76" fmla="*/ 97 w 1025"/>
                <a:gd name="T77" fmla="*/ 856 h 1024"/>
                <a:gd name="T78" fmla="*/ 292 w 1025"/>
                <a:gd name="T79" fmla="*/ 688 h 1024"/>
                <a:gd name="T80" fmla="*/ 632 w 1025"/>
                <a:gd name="T81" fmla="*/ 768 h 1024"/>
                <a:gd name="T82" fmla="*/ 773 w 1025"/>
                <a:gd name="T83" fmla="*/ 924 h 1024"/>
                <a:gd name="T84" fmla="*/ 789 w 1025"/>
                <a:gd name="T85" fmla="*/ 978 h 1024"/>
                <a:gd name="T86" fmla="*/ 992 w 1025"/>
                <a:gd name="T87" fmla="*/ 1024 h 1024"/>
                <a:gd name="T88" fmla="*/ 1023 w 1025"/>
                <a:gd name="T89" fmla="*/ 985 h 1024"/>
                <a:gd name="T90" fmla="*/ 513 w 1025"/>
                <a:gd name="T91" fmla="*/ 730 h 1024"/>
                <a:gd name="T92" fmla="*/ 513 w 1025"/>
                <a:gd name="T93" fmla="*/ 295 h 1024"/>
                <a:gd name="T94" fmla="*/ 513 w 1025"/>
                <a:gd name="T95" fmla="*/ 730 h 1024"/>
                <a:gd name="T96" fmla="*/ 513 w 1025"/>
                <a:gd name="T97" fmla="*/ 730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25" h="1024">
                  <a:moveTo>
                    <a:pt x="978" y="789"/>
                  </a:moveTo>
                  <a:cubicBezTo>
                    <a:pt x="975" y="778"/>
                    <a:pt x="967" y="769"/>
                    <a:pt x="956" y="765"/>
                  </a:cubicBezTo>
                  <a:cubicBezTo>
                    <a:pt x="944" y="762"/>
                    <a:pt x="932" y="765"/>
                    <a:pt x="924" y="773"/>
                  </a:cubicBezTo>
                  <a:cubicBezTo>
                    <a:pt x="917" y="781"/>
                    <a:pt x="917" y="781"/>
                    <a:pt x="917" y="781"/>
                  </a:cubicBezTo>
                  <a:cubicBezTo>
                    <a:pt x="851" y="715"/>
                    <a:pt x="851" y="715"/>
                    <a:pt x="851" y="715"/>
                  </a:cubicBezTo>
                  <a:cubicBezTo>
                    <a:pt x="838" y="702"/>
                    <a:pt x="818" y="702"/>
                    <a:pt x="805" y="715"/>
                  </a:cubicBezTo>
                  <a:cubicBezTo>
                    <a:pt x="793" y="727"/>
                    <a:pt x="793" y="748"/>
                    <a:pt x="805" y="760"/>
                  </a:cubicBezTo>
                  <a:cubicBezTo>
                    <a:pt x="894" y="849"/>
                    <a:pt x="894" y="849"/>
                    <a:pt x="894" y="849"/>
                  </a:cubicBezTo>
                  <a:cubicBezTo>
                    <a:pt x="903" y="858"/>
                    <a:pt x="916" y="860"/>
                    <a:pt x="928" y="856"/>
                  </a:cubicBezTo>
                  <a:cubicBezTo>
                    <a:pt x="949" y="949"/>
                    <a:pt x="949" y="949"/>
                    <a:pt x="949" y="949"/>
                  </a:cubicBezTo>
                  <a:cubicBezTo>
                    <a:pt x="856" y="928"/>
                    <a:pt x="856" y="928"/>
                    <a:pt x="856" y="928"/>
                  </a:cubicBezTo>
                  <a:cubicBezTo>
                    <a:pt x="860" y="916"/>
                    <a:pt x="858" y="903"/>
                    <a:pt x="849" y="894"/>
                  </a:cubicBezTo>
                  <a:cubicBezTo>
                    <a:pt x="688" y="733"/>
                    <a:pt x="688" y="733"/>
                    <a:pt x="688" y="733"/>
                  </a:cubicBezTo>
                  <a:cubicBezTo>
                    <a:pt x="753" y="681"/>
                    <a:pt x="794" y="602"/>
                    <a:pt x="794" y="513"/>
                  </a:cubicBezTo>
                  <a:cubicBezTo>
                    <a:pt x="794" y="470"/>
                    <a:pt x="785" y="430"/>
                    <a:pt x="768" y="393"/>
                  </a:cubicBezTo>
                  <a:cubicBezTo>
                    <a:pt x="917" y="244"/>
                    <a:pt x="917" y="244"/>
                    <a:pt x="917" y="244"/>
                  </a:cubicBezTo>
                  <a:cubicBezTo>
                    <a:pt x="924" y="252"/>
                    <a:pt x="924" y="252"/>
                    <a:pt x="924" y="252"/>
                  </a:cubicBezTo>
                  <a:cubicBezTo>
                    <a:pt x="932" y="260"/>
                    <a:pt x="944" y="263"/>
                    <a:pt x="956" y="260"/>
                  </a:cubicBezTo>
                  <a:cubicBezTo>
                    <a:pt x="967" y="257"/>
                    <a:pt x="975" y="248"/>
                    <a:pt x="978" y="236"/>
                  </a:cubicBezTo>
                  <a:cubicBezTo>
                    <a:pt x="1023" y="41"/>
                    <a:pt x="1023" y="41"/>
                    <a:pt x="1023" y="41"/>
                  </a:cubicBezTo>
                  <a:cubicBezTo>
                    <a:pt x="1025" y="30"/>
                    <a:pt x="1022" y="19"/>
                    <a:pt x="1014" y="11"/>
                  </a:cubicBezTo>
                  <a:cubicBezTo>
                    <a:pt x="1007" y="3"/>
                    <a:pt x="995" y="0"/>
                    <a:pt x="985" y="2"/>
                  </a:cubicBezTo>
                  <a:cubicBezTo>
                    <a:pt x="789" y="47"/>
                    <a:pt x="789" y="47"/>
                    <a:pt x="789" y="47"/>
                  </a:cubicBezTo>
                  <a:cubicBezTo>
                    <a:pt x="778" y="50"/>
                    <a:pt x="769" y="58"/>
                    <a:pt x="765" y="70"/>
                  </a:cubicBezTo>
                  <a:cubicBezTo>
                    <a:pt x="762" y="81"/>
                    <a:pt x="765" y="93"/>
                    <a:pt x="773" y="101"/>
                  </a:cubicBezTo>
                  <a:cubicBezTo>
                    <a:pt x="781" y="109"/>
                    <a:pt x="781" y="109"/>
                    <a:pt x="781" y="109"/>
                  </a:cubicBezTo>
                  <a:cubicBezTo>
                    <a:pt x="715" y="174"/>
                    <a:pt x="715" y="174"/>
                    <a:pt x="715" y="174"/>
                  </a:cubicBezTo>
                  <a:cubicBezTo>
                    <a:pt x="703" y="187"/>
                    <a:pt x="703" y="207"/>
                    <a:pt x="715" y="219"/>
                  </a:cubicBezTo>
                  <a:cubicBezTo>
                    <a:pt x="728" y="232"/>
                    <a:pt x="748" y="232"/>
                    <a:pt x="761" y="219"/>
                  </a:cubicBezTo>
                  <a:cubicBezTo>
                    <a:pt x="849" y="131"/>
                    <a:pt x="849" y="131"/>
                    <a:pt x="849" y="131"/>
                  </a:cubicBezTo>
                  <a:cubicBezTo>
                    <a:pt x="858" y="122"/>
                    <a:pt x="860" y="109"/>
                    <a:pt x="856" y="97"/>
                  </a:cubicBezTo>
                  <a:cubicBezTo>
                    <a:pt x="949" y="76"/>
                    <a:pt x="949" y="76"/>
                    <a:pt x="949" y="76"/>
                  </a:cubicBezTo>
                  <a:cubicBezTo>
                    <a:pt x="928" y="169"/>
                    <a:pt x="928" y="169"/>
                    <a:pt x="928" y="169"/>
                  </a:cubicBezTo>
                  <a:cubicBezTo>
                    <a:pt x="916" y="165"/>
                    <a:pt x="903" y="167"/>
                    <a:pt x="894" y="176"/>
                  </a:cubicBezTo>
                  <a:cubicBezTo>
                    <a:pt x="733" y="337"/>
                    <a:pt x="733" y="337"/>
                    <a:pt x="733" y="337"/>
                  </a:cubicBezTo>
                  <a:cubicBezTo>
                    <a:pt x="681" y="273"/>
                    <a:pt x="602" y="231"/>
                    <a:pt x="513" y="231"/>
                  </a:cubicBezTo>
                  <a:cubicBezTo>
                    <a:pt x="470" y="231"/>
                    <a:pt x="430" y="241"/>
                    <a:pt x="393" y="258"/>
                  </a:cubicBezTo>
                  <a:cubicBezTo>
                    <a:pt x="244" y="109"/>
                    <a:pt x="244" y="109"/>
                    <a:pt x="244" y="109"/>
                  </a:cubicBezTo>
                  <a:cubicBezTo>
                    <a:pt x="252" y="101"/>
                    <a:pt x="252" y="101"/>
                    <a:pt x="252" y="101"/>
                  </a:cubicBezTo>
                  <a:cubicBezTo>
                    <a:pt x="260" y="93"/>
                    <a:pt x="263" y="81"/>
                    <a:pt x="260" y="70"/>
                  </a:cubicBezTo>
                  <a:cubicBezTo>
                    <a:pt x="257" y="58"/>
                    <a:pt x="248" y="50"/>
                    <a:pt x="236" y="47"/>
                  </a:cubicBezTo>
                  <a:cubicBezTo>
                    <a:pt x="41" y="2"/>
                    <a:pt x="41" y="2"/>
                    <a:pt x="41" y="2"/>
                  </a:cubicBezTo>
                  <a:cubicBezTo>
                    <a:pt x="30" y="0"/>
                    <a:pt x="19" y="3"/>
                    <a:pt x="11" y="11"/>
                  </a:cubicBezTo>
                  <a:cubicBezTo>
                    <a:pt x="3" y="19"/>
                    <a:pt x="0" y="30"/>
                    <a:pt x="2" y="41"/>
                  </a:cubicBezTo>
                  <a:cubicBezTo>
                    <a:pt x="47" y="236"/>
                    <a:pt x="47" y="236"/>
                    <a:pt x="47" y="236"/>
                  </a:cubicBezTo>
                  <a:cubicBezTo>
                    <a:pt x="50" y="248"/>
                    <a:pt x="58" y="257"/>
                    <a:pt x="70" y="260"/>
                  </a:cubicBezTo>
                  <a:cubicBezTo>
                    <a:pt x="81" y="263"/>
                    <a:pt x="93" y="260"/>
                    <a:pt x="101" y="252"/>
                  </a:cubicBezTo>
                  <a:cubicBezTo>
                    <a:pt x="109" y="244"/>
                    <a:pt x="109" y="244"/>
                    <a:pt x="109" y="244"/>
                  </a:cubicBezTo>
                  <a:cubicBezTo>
                    <a:pt x="173" y="309"/>
                    <a:pt x="173" y="309"/>
                    <a:pt x="173" y="309"/>
                  </a:cubicBezTo>
                  <a:cubicBezTo>
                    <a:pt x="186" y="322"/>
                    <a:pt x="206" y="322"/>
                    <a:pt x="219" y="309"/>
                  </a:cubicBezTo>
                  <a:cubicBezTo>
                    <a:pt x="231" y="297"/>
                    <a:pt x="231" y="276"/>
                    <a:pt x="219" y="264"/>
                  </a:cubicBezTo>
                  <a:cubicBezTo>
                    <a:pt x="131" y="176"/>
                    <a:pt x="131" y="176"/>
                    <a:pt x="131" y="176"/>
                  </a:cubicBezTo>
                  <a:cubicBezTo>
                    <a:pt x="122" y="167"/>
                    <a:pt x="109" y="165"/>
                    <a:pt x="97" y="169"/>
                  </a:cubicBezTo>
                  <a:cubicBezTo>
                    <a:pt x="76" y="76"/>
                    <a:pt x="76" y="76"/>
                    <a:pt x="76" y="76"/>
                  </a:cubicBezTo>
                  <a:cubicBezTo>
                    <a:pt x="169" y="97"/>
                    <a:pt x="169" y="97"/>
                    <a:pt x="169" y="97"/>
                  </a:cubicBezTo>
                  <a:cubicBezTo>
                    <a:pt x="165" y="109"/>
                    <a:pt x="167" y="122"/>
                    <a:pt x="176" y="131"/>
                  </a:cubicBezTo>
                  <a:cubicBezTo>
                    <a:pt x="337" y="292"/>
                    <a:pt x="337" y="292"/>
                    <a:pt x="337" y="292"/>
                  </a:cubicBezTo>
                  <a:cubicBezTo>
                    <a:pt x="273" y="344"/>
                    <a:pt x="231" y="423"/>
                    <a:pt x="231" y="513"/>
                  </a:cubicBezTo>
                  <a:cubicBezTo>
                    <a:pt x="231" y="555"/>
                    <a:pt x="241" y="596"/>
                    <a:pt x="258" y="632"/>
                  </a:cubicBezTo>
                  <a:cubicBezTo>
                    <a:pt x="109" y="781"/>
                    <a:pt x="109" y="781"/>
                    <a:pt x="109" y="781"/>
                  </a:cubicBezTo>
                  <a:cubicBezTo>
                    <a:pt x="101" y="773"/>
                    <a:pt x="101" y="773"/>
                    <a:pt x="101" y="773"/>
                  </a:cubicBezTo>
                  <a:cubicBezTo>
                    <a:pt x="93" y="765"/>
                    <a:pt x="81" y="762"/>
                    <a:pt x="70" y="765"/>
                  </a:cubicBezTo>
                  <a:cubicBezTo>
                    <a:pt x="58" y="769"/>
                    <a:pt x="50" y="778"/>
                    <a:pt x="47" y="789"/>
                  </a:cubicBezTo>
                  <a:cubicBezTo>
                    <a:pt x="2" y="985"/>
                    <a:pt x="2" y="985"/>
                    <a:pt x="2" y="985"/>
                  </a:cubicBezTo>
                  <a:cubicBezTo>
                    <a:pt x="0" y="995"/>
                    <a:pt x="3" y="1007"/>
                    <a:pt x="11" y="1014"/>
                  </a:cubicBezTo>
                  <a:cubicBezTo>
                    <a:pt x="17" y="1020"/>
                    <a:pt x="25" y="1024"/>
                    <a:pt x="33" y="1024"/>
                  </a:cubicBezTo>
                  <a:cubicBezTo>
                    <a:pt x="36" y="1024"/>
                    <a:pt x="38" y="1023"/>
                    <a:pt x="41" y="1023"/>
                  </a:cubicBezTo>
                  <a:cubicBezTo>
                    <a:pt x="236" y="978"/>
                    <a:pt x="236" y="978"/>
                    <a:pt x="236" y="978"/>
                  </a:cubicBezTo>
                  <a:cubicBezTo>
                    <a:pt x="248" y="975"/>
                    <a:pt x="257" y="967"/>
                    <a:pt x="260" y="956"/>
                  </a:cubicBezTo>
                  <a:cubicBezTo>
                    <a:pt x="263" y="944"/>
                    <a:pt x="260" y="932"/>
                    <a:pt x="252" y="924"/>
                  </a:cubicBezTo>
                  <a:cubicBezTo>
                    <a:pt x="244" y="917"/>
                    <a:pt x="244" y="917"/>
                    <a:pt x="244" y="917"/>
                  </a:cubicBezTo>
                  <a:cubicBezTo>
                    <a:pt x="310" y="851"/>
                    <a:pt x="310" y="851"/>
                    <a:pt x="310" y="851"/>
                  </a:cubicBezTo>
                  <a:cubicBezTo>
                    <a:pt x="322" y="839"/>
                    <a:pt x="322" y="818"/>
                    <a:pt x="310" y="806"/>
                  </a:cubicBezTo>
                  <a:cubicBezTo>
                    <a:pt x="297" y="793"/>
                    <a:pt x="277" y="793"/>
                    <a:pt x="265" y="806"/>
                  </a:cubicBezTo>
                  <a:cubicBezTo>
                    <a:pt x="176" y="894"/>
                    <a:pt x="176" y="894"/>
                    <a:pt x="176" y="894"/>
                  </a:cubicBezTo>
                  <a:cubicBezTo>
                    <a:pt x="167" y="903"/>
                    <a:pt x="165" y="916"/>
                    <a:pt x="169" y="928"/>
                  </a:cubicBezTo>
                  <a:cubicBezTo>
                    <a:pt x="76" y="949"/>
                    <a:pt x="76" y="949"/>
                    <a:pt x="76" y="949"/>
                  </a:cubicBezTo>
                  <a:cubicBezTo>
                    <a:pt x="97" y="856"/>
                    <a:pt x="97" y="856"/>
                    <a:pt x="97" y="856"/>
                  </a:cubicBezTo>
                  <a:cubicBezTo>
                    <a:pt x="109" y="860"/>
                    <a:pt x="122" y="858"/>
                    <a:pt x="131" y="849"/>
                  </a:cubicBezTo>
                  <a:cubicBezTo>
                    <a:pt x="292" y="688"/>
                    <a:pt x="292" y="688"/>
                    <a:pt x="292" y="688"/>
                  </a:cubicBezTo>
                  <a:cubicBezTo>
                    <a:pt x="344" y="753"/>
                    <a:pt x="423" y="794"/>
                    <a:pt x="513" y="794"/>
                  </a:cubicBezTo>
                  <a:cubicBezTo>
                    <a:pt x="555" y="794"/>
                    <a:pt x="596" y="785"/>
                    <a:pt x="632" y="768"/>
                  </a:cubicBezTo>
                  <a:cubicBezTo>
                    <a:pt x="781" y="917"/>
                    <a:pt x="781" y="917"/>
                    <a:pt x="781" y="917"/>
                  </a:cubicBezTo>
                  <a:cubicBezTo>
                    <a:pt x="773" y="924"/>
                    <a:pt x="773" y="924"/>
                    <a:pt x="773" y="924"/>
                  </a:cubicBezTo>
                  <a:cubicBezTo>
                    <a:pt x="765" y="932"/>
                    <a:pt x="762" y="944"/>
                    <a:pt x="765" y="956"/>
                  </a:cubicBezTo>
                  <a:cubicBezTo>
                    <a:pt x="769" y="967"/>
                    <a:pt x="778" y="975"/>
                    <a:pt x="789" y="978"/>
                  </a:cubicBezTo>
                  <a:cubicBezTo>
                    <a:pt x="985" y="1023"/>
                    <a:pt x="985" y="1023"/>
                    <a:pt x="985" y="1023"/>
                  </a:cubicBezTo>
                  <a:cubicBezTo>
                    <a:pt x="987" y="1023"/>
                    <a:pt x="989" y="1024"/>
                    <a:pt x="992" y="1024"/>
                  </a:cubicBezTo>
                  <a:cubicBezTo>
                    <a:pt x="1000" y="1024"/>
                    <a:pt x="1008" y="1020"/>
                    <a:pt x="1014" y="1014"/>
                  </a:cubicBezTo>
                  <a:cubicBezTo>
                    <a:pt x="1022" y="1007"/>
                    <a:pt x="1025" y="995"/>
                    <a:pt x="1023" y="985"/>
                  </a:cubicBezTo>
                  <a:lnTo>
                    <a:pt x="978" y="789"/>
                  </a:lnTo>
                  <a:close/>
                  <a:moveTo>
                    <a:pt x="513" y="730"/>
                  </a:moveTo>
                  <a:cubicBezTo>
                    <a:pt x="393" y="730"/>
                    <a:pt x="295" y="633"/>
                    <a:pt x="295" y="513"/>
                  </a:cubicBezTo>
                  <a:cubicBezTo>
                    <a:pt x="295" y="393"/>
                    <a:pt x="393" y="295"/>
                    <a:pt x="513" y="295"/>
                  </a:cubicBezTo>
                  <a:cubicBezTo>
                    <a:pt x="633" y="295"/>
                    <a:pt x="730" y="393"/>
                    <a:pt x="730" y="513"/>
                  </a:cubicBezTo>
                  <a:cubicBezTo>
                    <a:pt x="730" y="633"/>
                    <a:pt x="633" y="730"/>
                    <a:pt x="513" y="730"/>
                  </a:cubicBezTo>
                  <a:close/>
                  <a:moveTo>
                    <a:pt x="513" y="730"/>
                  </a:moveTo>
                  <a:cubicBezTo>
                    <a:pt x="513" y="730"/>
                    <a:pt x="513" y="730"/>
                    <a:pt x="513" y="7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2"/>
            <p:cNvSpPr>
              <a:spLocks noEditPoints="1"/>
            </p:cNvSpPr>
            <p:nvPr/>
          </p:nvSpPr>
          <p:spPr bwMode="auto">
            <a:xfrm>
              <a:off x="4223" y="3645"/>
              <a:ext cx="606" cy="60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56 h 320"/>
                <a:gd name="T12" fmla="*/ 64 w 320"/>
                <a:gd name="T13" fmla="*/ 160 h 320"/>
                <a:gd name="T14" fmla="*/ 160 w 320"/>
                <a:gd name="T15" fmla="*/ 64 h 320"/>
                <a:gd name="T16" fmla="*/ 256 w 320"/>
                <a:gd name="T17" fmla="*/ 160 h 320"/>
                <a:gd name="T18" fmla="*/ 160 w 320"/>
                <a:gd name="T19" fmla="*/ 256 h 320"/>
                <a:gd name="T20" fmla="*/ 160 w 320"/>
                <a:gd name="T21" fmla="*/ 256 h 320"/>
                <a:gd name="T22" fmla="*/ 160 w 320"/>
                <a:gd name="T2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 h="320">
                  <a:moveTo>
                    <a:pt x="160" y="0"/>
                  </a:moveTo>
                  <a:cubicBezTo>
                    <a:pt x="72" y="0"/>
                    <a:pt x="0" y="72"/>
                    <a:pt x="0" y="160"/>
                  </a:cubicBezTo>
                  <a:cubicBezTo>
                    <a:pt x="0" y="249"/>
                    <a:pt x="72" y="320"/>
                    <a:pt x="160" y="320"/>
                  </a:cubicBezTo>
                  <a:cubicBezTo>
                    <a:pt x="248" y="320"/>
                    <a:pt x="320" y="249"/>
                    <a:pt x="320" y="160"/>
                  </a:cubicBezTo>
                  <a:cubicBezTo>
                    <a:pt x="320" y="72"/>
                    <a:pt x="248" y="0"/>
                    <a:pt x="160" y="0"/>
                  </a:cubicBezTo>
                  <a:close/>
                  <a:moveTo>
                    <a:pt x="160" y="256"/>
                  </a:moveTo>
                  <a:cubicBezTo>
                    <a:pt x="107" y="256"/>
                    <a:pt x="64" y="213"/>
                    <a:pt x="64" y="160"/>
                  </a:cubicBezTo>
                  <a:cubicBezTo>
                    <a:pt x="64" y="107"/>
                    <a:pt x="107" y="64"/>
                    <a:pt x="160" y="64"/>
                  </a:cubicBezTo>
                  <a:cubicBezTo>
                    <a:pt x="213" y="64"/>
                    <a:pt x="256" y="107"/>
                    <a:pt x="256" y="160"/>
                  </a:cubicBezTo>
                  <a:cubicBezTo>
                    <a:pt x="256" y="213"/>
                    <a:pt x="213" y="256"/>
                    <a:pt x="160" y="256"/>
                  </a:cubicBezTo>
                  <a:close/>
                  <a:moveTo>
                    <a:pt x="160" y="256"/>
                  </a:moveTo>
                  <a:cubicBezTo>
                    <a:pt x="160" y="256"/>
                    <a:pt x="160" y="256"/>
                    <a:pt x="160" y="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3"/>
            <p:cNvSpPr>
              <a:spLocks noEditPoints="1"/>
            </p:cNvSpPr>
            <p:nvPr/>
          </p:nvSpPr>
          <p:spPr bwMode="auto">
            <a:xfrm>
              <a:off x="5715" y="2405"/>
              <a:ext cx="356" cy="358"/>
            </a:xfrm>
            <a:custGeom>
              <a:avLst/>
              <a:gdLst>
                <a:gd name="T0" fmla="*/ 32 w 188"/>
                <a:gd name="T1" fmla="*/ 0 h 189"/>
                <a:gd name="T2" fmla="*/ 0 w 188"/>
                <a:gd name="T3" fmla="*/ 32 h 189"/>
                <a:gd name="T4" fmla="*/ 32 w 188"/>
                <a:gd name="T5" fmla="*/ 64 h 189"/>
                <a:gd name="T6" fmla="*/ 124 w 188"/>
                <a:gd name="T7" fmla="*/ 157 h 189"/>
                <a:gd name="T8" fmla="*/ 156 w 188"/>
                <a:gd name="T9" fmla="*/ 189 h 189"/>
                <a:gd name="T10" fmla="*/ 188 w 188"/>
                <a:gd name="T11" fmla="*/ 157 h 189"/>
                <a:gd name="T12" fmla="*/ 32 w 188"/>
                <a:gd name="T13" fmla="*/ 0 h 189"/>
                <a:gd name="T14" fmla="*/ 32 w 188"/>
                <a:gd name="T15" fmla="*/ 0 h 189"/>
                <a:gd name="T16" fmla="*/ 32 w 188"/>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9">
                  <a:moveTo>
                    <a:pt x="32" y="0"/>
                  </a:moveTo>
                  <a:cubicBezTo>
                    <a:pt x="14" y="0"/>
                    <a:pt x="0" y="14"/>
                    <a:pt x="0" y="32"/>
                  </a:cubicBezTo>
                  <a:cubicBezTo>
                    <a:pt x="0" y="49"/>
                    <a:pt x="14" y="64"/>
                    <a:pt x="32" y="64"/>
                  </a:cubicBezTo>
                  <a:cubicBezTo>
                    <a:pt x="83" y="64"/>
                    <a:pt x="124" y="105"/>
                    <a:pt x="124" y="157"/>
                  </a:cubicBezTo>
                  <a:cubicBezTo>
                    <a:pt x="124" y="174"/>
                    <a:pt x="139" y="189"/>
                    <a:pt x="156" y="189"/>
                  </a:cubicBezTo>
                  <a:cubicBezTo>
                    <a:pt x="174" y="189"/>
                    <a:pt x="188" y="174"/>
                    <a:pt x="188" y="157"/>
                  </a:cubicBezTo>
                  <a:cubicBezTo>
                    <a:pt x="188" y="70"/>
                    <a:pt x="118"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4"/>
            <p:cNvSpPr>
              <a:spLocks noEditPoints="1"/>
            </p:cNvSpPr>
            <p:nvPr/>
          </p:nvSpPr>
          <p:spPr bwMode="auto">
            <a:xfrm>
              <a:off x="5537" y="2483"/>
              <a:ext cx="121" cy="121"/>
            </a:xfrm>
            <a:custGeom>
              <a:avLst/>
              <a:gdLst>
                <a:gd name="T0" fmla="*/ 32 w 64"/>
                <a:gd name="T1" fmla="*/ 0 h 64"/>
                <a:gd name="T2" fmla="*/ 0 w 64"/>
                <a:gd name="T3" fmla="*/ 32 h 64"/>
                <a:gd name="T4" fmla="*/ 0 w 64"/>
                <a:gd name="T5" fmla="*/ 32 h 64"/>
                <a:gd name="T6" fmla="*/ 32 w 64"/>
                <a:gd name="T7" fmla="*/ 64 h 64"/>
                <a:gd name="T8" fmla="*/ 64 w 64"/>
                <a:gd name="T9" fmla="*/ 32 h 64"/>
                <a:gd name="T10" fmla="*/ 64 w 64"/>
                <a:gd name="T11" fmla="*/ 31 h 64"/>
                <a:gd name="T12" fmla="*/ 32 w 64"/>
                <a:gd name="T13" fmla="*/ 0 h 64"/>
                <a:gd name="T14" fmla="*/ 32 w 64"/>
                <a:gd name="T15" fmla="*/ 0 h 64"/>
                <a:gd name="T16" fmla="*/ 32 w 64"/>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4">
                  <a:moveTo>
                    <a:pt x="32" y="0"/>
                  </a:moveTo>
                  <a:cubicBezTo>
                    <a:pt x="14" y="0"/>
                    <a:pt x="0" y="14"/>
                    <a:pt x="0" y="32"/>
                  </a:cubicBezTo>
                  <a:cubicBezTo>
                    <a:pt x="0" y="32"/>
                    <a:pt x="0" y="32"/>
                    <a:pt x="0" y="32"/>
                  </a:cubicBezTo>
                  <a:cubicBezTo>
                    <a:pt x="0" y="50"/>
                    <a:pt x="14" y="64"/>
                    <a:pt x="32" y="64"/>
                  </a:cubicBezTo>
                  <a:cubicBezTo>
                    <a:pt x="50" y="64"/>
                    <a:pt x="64" y="50"/>
                    <a:pt x="64" y="32"/>
                  </a:cubicBezTo>
                  <a:cubicBezTo>
                    <a:pt x="64" y="31"/>
                    <a:pt x="64" y="31"/>
                    <a:pt x="64" y="31"/>
                  </a:cubicBezTo>
                  <a:cubicBezTo>
                    <a:pt x="64" y="14"/>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3" name="Group 79"/>
          <p:cNvGrpSpPr>
            <a:grpSpLocks noChangeAspect="1"/>
          </p:cNvGrpSpPr>
          <p:nvPr/>
        </p:nvGrpSpPr>
        <p:grpSpPr bwMode="auto">
          <a:xfrm>
            <a:off x="3157015" y="4107973"/>
            <a:ext cx="457200" cy="457200"/>
            <a:chOff x="3818" y="797"/>
            <a:chExt cx="3116" cy="3116"/>
          </a:xfrm>
          <a:solidFill>
            <a:schemeClr val="accent1"/>
          </a:solidFill>
        </p:grpSpPr>
        <p:sp>
          <p:nvSpPr>
            <p:cNvPr id="85" name="Freeform 80"/>
            <p:cNvSpPr>
              <a:spLocks noEditPoints="1"/>
            </p:cNvSpPr>
            <p:nvPr/>
          </p:nvSpPr>
          <p:spPr bwMode="auto">
            <a:xfrm>
              <a:off x="4590" y="1910"/>
              <a:ext cx="135" cy="127"/>
            </a:xfrm>
            <a:custGeom>
              <a:avLst/>
              <a:gdLst>
                <a:gd name="T0" fmla="*/ 58 w 71"/>
                <a:gd name="T1" fmla="*/ 12 h 67"/>
                <a:gd name="T2" fmla="*/ 13 w 71"/>
                <a:gd name="T3" fmla="*/ 12 h 67"/>
                <a:gd name="T4" fmla="*/ 13 w 71"/>
                <a:gd name="T5" fmla="*/ 13 h 67"/>
                <a:gd name="T6" fmla="*/ 13 w 71"/>
                <a:gd name="T7" fmla="*/ 58 h 67"/>
                <a:gd name="T8" fmla="*/ 35 w 71"/>
                <a:gd name="T9" fmla="*/ 67 h 67"/>
                <a:gd name="T10" fmla="*/ 58 w 71"/>
                <a:gd name="T11" fmla="*/ 58 h 67"/>
                <a:gd name="T12" fmla="*/ 58 w 71"/>
                <a:gd name="T13" fmla="*/ 57 h 67"/>
                <a:gd name="T14" fmla="*/ 58 w 71"/>
                <a:gd name="T15" fmla="*/ 12 h 67"/>
                <a:gd name="T16" fmla="*/ 58 w 71"/>
                <a:gd name="T17" fmla="*/ 12 h 67"/>
                <a:gd name="T18" fmla="*/ 58 w 71"/>
                <a:gd name="T19" fmla="*/ 1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67">
                  <a:moveTo>
                    <a:pt x="58" y="12"/>
                  </a:moveTo>
                  <a:cubicBezTo>
                    <a:pt x="46" y="0"/>
                    <a:pt x="25" y="0"/>
                    <a:pt x="13" y="12"/>
                  </a:cubicBezTo>
                  <a:cubicBezTo>
                    <a:pt x="13" y="13"/>
                    <a:pt x="13" y="13"/>
                    <a:pt x="13" y="13"/>
                  </a:cubicBezTo>
                  <a:cubicBezTo>
                    <a:pt x="0" y="25"/>
                    <a:pt x="0" y="45"/>
                    <a:pt x="13" y="58"/>
                  </a:cubicBezTo>
                  <a:cubicBezTo>
                    <a:pt x="19" y="64"/>
                    <a:pt x="27" y="67"/>
                    <a:pt x="35" y="67"/>
                  </a:cubicBezTo>
                  <a:cubicBezTo>
                    <a:pt x="43" y="67"/>
                    <a:pt x="52" y="64"/>
                    <a:pt x="58" y="58"/>
                  </a:cubicBezTo>
                  <a:cubicBezTo>
                    <a:pt x="58" y="57"/>
                    <a:pt x="58" y="57"/>
                    <a:pt x="58" y="57"/>
                  </a:cubicBezTo>
                  <a:cubicBezTo>
                    <a:pt x="71" y="45"/>
                    <a:pt x="71" y="25"/>
                    <a:pt x="58" y="12"/>
                  </a:cubicBezTo>
                  <a:close/>
                  <a:moveTo>
                    <a:pt x="58" y="12"/>
                  </a:moveTo>
                  <a:cubicBezTo>
                    <a:pt x="58" y="12"/>
                    <a:pt x="58" y="12"/>
                    <a:pt x="5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1"/>
            <p:cNvSpPr>
              <a:spLocks noEditPoints="1"/>
            </p:cNvSpPr>
            <p:nvPr/>
          </p:nvSpPr>
          <p:spPr bwMode="auto">
            <a:xfrm>
              <a:off x="3818" y="1138"/>
              <a:ext cx="2774" cy="2775"/>
            </a:xfrm>
            <a:custGeom>
              <a:avLst/>
              <a:gdLst>
                <a:gd name="T0" fmla="*/ 1324 w 1465"/>
                <a:gd name="T1" fmla="*/ 575 h 1466"/>
                <a:gd name="T2" fmla="*/ 1267 w 1465"/>
                <a:gd name="T3" fmla="*/ 507 h 1466"/>
                <a:gd name="T4" fmla="*/ 1262 w 1465"/>
                <a:gd name="T5" fmla="*/ 594 h 1466"/>
                <a:gd name="T6" fmla="*/ 1401 w 1465"/>
                <a:gd name="T7" fmla="*/ 639 h 1466"/>
                <a:gd name="T8" fmla="*/ 1321 w 1465"/>
                <a:gd name="T9" fmla="*/ 826 h 1466"/>
                <a:gd name="T10" fmla="*/ 1205 w 1465"/>
                <a:gd name="T11" fmla="*/ 1009 h 1466"/>
                <a:gd name="T12" fmla="*/ 1272 w 1465"/>
                <a:gd name="T13" fmla="*/ 1140 h 1466"/>
                <a:gd name="T14" fmla="*/ 1082 w 1465"/>
                <a:gd name="T15" fmla="*/ 1214 h 1466"/>
                <a:gd name="T16" fmla="*/ 871 w 1465"/>
                <a:gd name="T17" fmla="*/ 1262 h 1466"/>
                <a:gd name="T18" fmla="*/ 826 w 1465"/>
                <a:gd name="T19" fmla="*/ 1402 h 1466"/>
                <a:gd name="T20" fmla="*/ 639 w 1465"/>
                <a:gd name="T21" fmla="*/ 1320 h 1466"/>
                <a:gd name="T22" fmla="*/ 457 w 1465"/>
                <a:gd name="T23" fmla="*/ 1204 h 1466"/>
                <a:gd name="T24" fmla="*/ 326 w 1465"/>
                <a:gd name="T25" fmla="*/ 1272 h 1466"/>
                <a:gd name="T26" fmla="*/ 252 w 1465"/>
                <a:gd name="T27" fmla="*/ 1082 h 1466"/>
                <a:gd name="T28" fmla="*/ 204 w 1465"/>
                <a:gd name="T29" fmla="*/ 871 h 1466"/>
                <a:gd name="T30" fmla="*/ 64 w 1465"/>
                <a:gd name="T31" fmla="*/ 826 h 1466"/>
                <a:gd name="T32" fmla="*/ 145 w 1465"/>
                <a:gd name="T33" fmla="*/ 639 h 1466"/>
                <a:gd name="T34" fmla="*/ 261 w 1465"/>
                <a:gd name="T35" fmla="*/ 457 h 1466"/>
                <a:gd name="T36" fmla="*/ 194 w 1465"/>
                <a:gd name="T37" fmla="*/ 326 h 1466"/>
                <a:gd name="T38" fmla="*/ 383 w 1465"/>
                <a:gd name="T39" fmla="*/ 251 h 1466"/>
                <a:gd name="T40" fmla="*/ 594 w 1465"/>
                <a:gd name="T41" fmla="*/ 203 h 1466"/>
                <a:gd name="T42" fmla="*/ 639 w 1465"/>
                <a:gd name="T43" fmla="*/ 64 h 1466"/>
                <a:gd name="T44" fmla="*/ 826 w 1465"/>
                <a:gd name="T45" fmla="*/ 145 h 1466"/>
                <a:gd name="T46" fmla="*/ 916 w 1465"/>
                <a:gd name="T47" fmla="*/ 217 h 1466"/>
                <a:gd name="T48" fmla="*/ 938 w 1465"/>
                <a:gd name="T49" fmla="*/ 157 h 1466"/>
                <a:gd name="T50" fmla="*/ 890 w 1465"/>
                <a:gd name="T51" fmla="*/ 61 h 1466"/>
                <a:gd name="T52" fmla="*/ 636 w 1465"/>
                <a:gd name="T53" fmla="*/ 0 h 1466"/>
                <a:gd name="T54" fmla="*/ 575 w 1465"/>
                <a:gd name="T55" fmla="*/ 142 h 1466"/>
                <a:gd name="T56" fmla="*/ 369 w 1465"/>
                <a:gd name="T57" fmla="*/ 146 h 1466"/>
                <a:gd name="T58" fmla="*/ 146 w 1465"/>
                <a:gd name="T59" fmla="*/ 283 h 1466"/>
                <a:gd name="T60" fmla="*/ 204 w 1465"/>
                <a:gd name="T61" fmla="*/ 427 h 1466"/>
                <a:gd name="T62" fmla="*/ 60 w 1465"/>
                <a:gd name="T63" fmla="*/ 575 h 1466"/>
                <a:gd name="T64" fmla="*/ 0 w 1465"/>
                <a:gd name="T65" fmla="*/ 830 h 1466"/>
                <a:gd name="T66" fmla="*/ 143 w 1465"/>
                <a:gd name="T67" fmla="*/ 890 h 1466"/>
                <a:gd name="T68" fmla="*/ 146 w 1465"/>
                <a:gd name="T69" fmla="*/ 1097 h 1466"/>
                <a:gd name="T70" fmla="*/ 283 w 1465"/>
                <a:gd name="T71" fmla="*/ 1319 h 1466"/>
                <a:gd name="T72" fmla="*/ 427 w 1465"/>
                <a:gd name="T73" fmla="*/ 1261 h 1466"/>
                <a:gd name="T74" fmla="*/ 575 w 1465"/>
                <a:gd name="T75" fmla="*/ 1405 h 1466"/>
                <a:gd name="T76" fmla="*/ 830 w 1465"/>
                <a:gd name="T77" fmla="*/ 1466 h 1466"/>
                <a:gd name="T78" fmla="*/ 890 w 1465"/>
                <a:gd name="T79" fmla="*/ 1323 h 1466"/>
                <a:gd name="T80" fmla="*/ 1097 w 1465"/>
                <a:gd name="T81" fmla="*/ 1319 h 1466"/>
                <a:gd name="T82" fmla="*/ 1319 w 1465"/>
                <a:gd name="T83" fmla="*/ 1182 h 1466"/>
                <a:gd name="T84" fmla="*/ 1262 w 1465"/>
                <a:gd name="T85" fmla="*/ 1039 h 1466"/>
                <a:gd name="T86" fmla="*/ 1405 w 1465"/>
                <a:gd name="T87" fmla="*/ 890 h 1466"/>
                <a:gd name="T88" fmla="*/ 1465 w 1465"/>
                <a:gd name="T89" fmla="*/ 636 h 1466"/>
                <a:gd name="T90" fmla="*/ 1405 w 1465"/>
                <a:gd name="T91" fmla="*/ 575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65" h="1466">
                  <a:moveTo>
                    <a:pt x="1405" y="575"/>
                  </a:moveTo>
                  <a:cubicBezTo>
                    <a:pt x="1324" y="575"/>
                    <a:pt x="1324" y="575"/>
                    <a:pt x="1324" y="575"/>
                  </a:cubicBezTo>
                  <a:cubicBezTo>
                    <a:pt x="1319" y="559"/>
                    <a:pt x="1314" y="543"/>
                    <a:pt x="1308" y="527"/>
                  </a:cubicBezTo>
                  <a:cubicBezTo>
                    <a:pt x="1302" y="510"/>
                    <a:pt x="1284" y="501"/>
                    <a:pt x="1267" y="507"/>
                  </a:cubicBezTo>
                  <a:cubicBezTo>
                    <a:pt x="1251" y="513"/>
                    <a:pt x="1242" y="531"/>
                    <a:pt x="1248" y="548"/>
                  </a:cubicBezTo>
                  <a:cubicBezTo>
                    <a:pt x="1253" y="563"/>
                    <a:pt x="1258" y="579"/>
                    <a:pt x="1262" y="594"/>
                  </a:cubicBezTo>
                  <a:cubicBezTo>
                    <a:pt x="1269" y="621"/>
                    <a:pt x="1293" y="639"/>
                    <a:pt x="1321" y="639"/>
                  </a:cubicBezTo>
                  <a:cubicBezTo>
                    <a:pt x="1401" y="639"/>
                    <a:pt x="1401" y="639"/>
                    <a:pt x="1401" y="639"/>
                  </a:cubicBezTo>
                  <a:cubicBezTo>
                    <a:pt x="1401" y="826"/>
                    <a:pt x="1401" y="826"/>
                    <a:pt x="1401" y="826"/>
                  </a:cubicBezTo>
                  <a:cubicBezTo>
                    <a:pt x="1321" y="826"/>
                    <a:pt x="1321" y="826"/>
                    <a:pt x="1321" y="826"/>
                  </a:cubicBezTo>
                  <a:cubicBezTo>
                    <a:pt x="1293" y="826"/>
                    <a:pt x="1269" y="845"/>
                    <a:pt x="1262" y="871"/>
                  </a:cubicBezTo>
                  <a:cubicBezTo>
                    <a:pt x="1250" y="920"/>
                    <a:pt x="1230" y="966"/>
                    <a:pt x="1205" y="1009"/>
                  </a:cubicBezTo>
                  <a:cubicBezTo>
                    <a:pt x="1191" y="1033"/>
                    <a:pt x="1195" y="1063"/>
                    <a:pt x="1214" y="1082"/>
                  </a:cubicBezTo>
                  <a:cubicBezTo>
                    <a:pt x="1272" y="1140"/>
                    <a:pt x="1272" y="1140"/>
                    <a:pt x="1272" y="1140"/>
                  </a:cubicBezTo>
                  <a:cubicBezTo>
                    <a:pt x="1140" y="1272"/>
                    <a:pt x="1140" y="1272"/>
                    <a:pt x="1140" y="1272"/>
                  </a:cubicBezTo>
                  <a:cubicBezTo>
                    <a:pt x="1082" y="1214"/>
                    <a:pt x="1082" y="1214"/>
                    <a:pt x="1082" y="1214"/>
                  </a:cubicBezTo>
                  <a:cubicBezTo>
                    <a:pt x="1063" y="1195"/>
                    <a:pt x="1033" y="1191"/>
                    <a:pt x="1009" y="1205"/>
                  </a:cubicBezTo>
                  <a:cubicBezTo>
                    <a:pt x="966" y="1230"/>
                    <a:pt x="919" y="1249"/>
                    <a:pt x="871" y="1262"/>
                  </a:cubicBezTo>
                  <a:cubicBezTo>
                    <a:pt x="845" y="1269"/>
                    <a:pt x="826" y="1293"/>
                    <a:pt x="826" y="1320"/>
                  </a:cubicBezTo>
                  <a:cubicBezTo>
                    <a:pt x="826" y="1402"/>
                    <a:pt x="826" y="1402"/>
                    <a:pt x="826" y="1402"/>
                  </a:cubicBezTo>
                  <a:cubicBezTo>
                    <a:pt x="639" y="1402"/>
                    <a:pt x="639" y="1402"/>
                    <a:pt x="639" y="1402"/>
                  </a:cubicBezTo>
                  <a:cubicBezTo>
                    <a:pt x="639" y="1320"/>
                    <a:pt x="639" y="1320"/>
                    <a:pt x="639" y="1320"/>
                  </a:cubicBezTo>
                  <a:cubicBezTo>
                    <a:pt x="639" y="1293"/>
                    <a:pt x="621" y="1268"/>
                    <a:pt x="594" y="1262"/>
                  </a:cubicBezTo>
                  <a:cubicBezTo>
                    <a:pt x="546" y="1249"/>
                    <a:pt x="500" y="1230"/>
                    <a:pt x="457" y="1204"/>
                  </a:cubicBezTo>
                  <a:cubicBezTo>
                    <a:pt x="433" y="1191"/>
                    <a:pt x="403" y="1194"/>
                    <a:pt x="384" y="1214"/>
                  </a:cubicBezTo>
                  <a:cubicBezTo>
                    <a:pt x="326" y="1272"/>
                    <a:pt x="326" y="1272"/>
                    <a:pt x="326" y="1272"/>
                  </a:cubicBezTo>
                  <a:cubicBezTo>
                    <a:pt x="194" y="1140"/>
                    <a:pt x="194" y="1140"/>
                    <a:pt x="194" y="1140"/>
                  </a:cubicBezTo>
                  <a:cubicBezTo>
                    <a:pt x="252" y="1082"/>
                    <a:pt x="252" y="1082"/>
                    <a:pt x="252" y="1082"/>
                  </a:cubicBezTo>
                  <a:cubicBezTo>
                    <a:pt x="271" y="1063"/>
                    <a:pt x="275" y="1032"/>
                    <a:pt x="261" y="1009"/>
                  </a:cubicBezTo>
                  <a:cubicBezTo>
                    <a:pt x="236" y="966"/>
                    <a:pt x="217" y="919"/>
                    <a:pt x="204" y="871"/>
                  </a:cubicBezTo>
                  <a:cubicBezTo>
                    <a:pt x="197" y="845"/>
                    <a:pt x="173" y="826"/>
                    <a:pt x="146" y="826"/>
                  </a:cubicBezTo>
                  <a:cubicBezTo>
                    <a:pt x="64" y="826"/>
                    <a:pt x="64" y="826"/>
                    <a:pt x="64" y="826"/>
                  </a:cubicBezTo>
                  <a:cubicBezTo>
                    <a:pt x="64" y="639"/>
                    <a:pt x="64" y="639"/>
                    <a:pt x="64" y="639"/>
                  </a:cubicBezTo>
                  <a:cubicBezTo>
                    <a:pt x="145" y="639"/>
                    <a:pt x="145" y="639"/>
                    <a:pt x="145" y="639"/>
                  </a:cubicBezTo>
                  <a:cubicBezTo>
                    <a:pt x="173" y="639"/>
                    <a:pt x="197" y="621"/>
                    <a:pt x="204" y="594"/>
                  </a:cubicBezTo>
                  <a:cubicBezTo>
                    <a:pt x="216" y="546"/>
                    <a:pt x="236" y="500"/>
                    <a:pt x="261" y="457"/>
                  </a:cubicBezTo>
                  <a:cubicBezTo>
                    <a:pt x="275" y="433"/>
                    <a:pt x="271" y="403"/>
                    <a:pt x="251" y="383"/>
                  </a:cubicBezTo>
                  <a:cubicBezTo>
                    <a:pt x="194" y="326"/>
                    <a:pt x="194" y="326"/>
                    <a:pt x="194" y="326"/>
                  </a:cubicBezTo>
                  <a:cubicBezTo>
                    <a:pt x="326" y="194"/>
                    <a:pt x="326" y="194"/>
                    <a:pt x="326" y="194"/>
                  </a:cubicBezTo>
                  <a:cubicBezTo>
                    <a:pt x="383" y="251"/>
                    <a:pt x="383" y="251"/>
                    <a:pt x="383" y="251"/>
                  </a:cubicBezTo>
                  <a:cubicBezTo>
                    <a:pt x="403" y="271"/>
                    <a:pt x="433" y="275"/>
                    <a:pt x="456" y="261"/>
                  </a:cubicBezTo>
                  <a:cubicBezTo>
                    <a:pt x="500" y="235"/>
                    <a:pt x="546" y="216"/>
                    <a:pt x="594" y="203"/>
                  </a:cubicBezTo>
                  <a:cubicBezTo>
                    <a:pt x="621" y="196"/>
                    <a:pt x="639" y="172"/>
                    <a:pt x="639" y="145"/>
                  </a:cubicBezTo>
                  <a:cubicBezTo>
                    <a:pt x="639" y="64"/>
                    <a:pt x="639" y="64"/>
                    <a:pt x="639" y="64"/>
                  </a:cubicBezTo>
                  <a:cubicBezTo>
                    <a:pt x="826" y="64"/>
                    <a:pt x="826" y="64"/>
                    <a:pt x="826" y="64"/>
                  </a:cubicBezTo>
                  <a:cubicBezTo>
                    <a:pt x="826" y="145"/>
                    <a:pt x="826" y="145"/>
                    <a:pt x="826" y="145"/>
                  </a:cubicBezTo>
                  <a:cubicBezTo>
                    <a:pt x="826" y="172"/>
                    <a:pt x="845" y="196"/>
                    <a:pt x="871" y="203"/>
                  </a:cubicBezTo>
                  <a:cubicBezTo>
                    <a:pt x="886" y="207"/>
                    <a:pt x="902" y="212"/>
                    <a:pt x="916" y="217"/>
                  </a:cubicBezTo>
                  <a:cubicBezTo>
                    <a:pt x="933" y="223"/>
                    <a:pt x="951" y="214"/>
                    <a:pt x="957" y="198"/>
                  </a:cubicBezTo>
                  <a:cubicBezTo>
                    <a:pt x="963" y="181"/>
                    <a:pt x="954" y="163"/>
                    <a:pt x="938" y="157"/>
                  </a:cubicBezTo>
                  <a:cubicBezTo>
                    <a:pt x="922" y="151"/>
                    <a:pt x="906" y="146"/>
                    <a:pt x="890" y="142"/>
                  </a:cubicBezTo>
                  <a:cubicBezTo>
                    <a:pt x="890" y="61"/>
                    <a:pt x="890" y="61"/>
                    <a:pt x="890" y="61"/>
                  </a:cubicBezTo>
                  <a:cubicBezTo>
                    <a:pt x="890" y="27"/>
                    <a:pt x="863" y="0"/>
                    <a:pt x="830" y="0"/>
                  </a:cubicBezTo>
                  <a:cubicBezTo>
                    <a:pt x="636" y="0"/>
                    <a:pt x="636" y="0"/>
                    <a:pt x="636" y="0"/>
                  </a:cubicBezTo>
                  <a:cubicBezTo>
                    <a:pt x="603" y="0"/>
                    <a:pt x="575" y="27"/>
                    <a:pt x="575" y="61"/>
                  </a:cubicBezTo>
                  <a:cubicBezTo>
                    <a:pt x="575" y="142"/>
                    <a:pt x="575" y="142"/>
                    <a:pt x="575" y="142"/>
                  </a:cubicBezTo>
                  <a:cubicBezTo>
                    <a:pt x="523" y="156"/>
                    <a:pt x="473" y="177"/>
                    <a:pt x="426" y="204"/>
                  </a:cubicBezTo>
                  <a:cubicBezTo>
                    <a:pt x="369" y="146"/>
                    <a:pt x="369" y="146"/>
                    <a:pt x="369" y="146"/>
                  </a:cubicBezTo>
                  <a:cubicBezTo>
                    <a:pt x="345" y="123"/>
                    <a:pt x="307" y="123"/>
                    <a:pt x="283" y="146"/>
                  </a:cubicBezTo>
                  <a:cubicBezTo>
                    <a:pt x="146" y="283"/>
                    <a:pt x="146" y="283"/>
                    <a:pt x="146" y="283"/>
                  </a:cubicBezTo>
                  <a:cubicBezTo>
                    <a:pt x="123" y="307"/>
                    <a:pt x="123" y="345"/>
                    <a:pt x="146" y="369"/>
                  </a:cubicBezTo>
                  <a:cubicBezTo>
                    <a:pt x="204" y="427"/>
                    <a:pt x="204" y="427"/>
                    <a:pt x="204" y="427"/>
                  </a:cubicBezTo>
                  <a:cubicBezTo>
                    <a:pt x="177" y="473"/>
                    <a:pt x="156" y="523"/>
                    <a:pt x="143" y="575"/>
                  </a:cubicBezTo>
                  <a:cubicBezTo>
                    <a:pt x="60" y="575"/>
                    <a:pt x="60" y="575"/>
                    <a:pt x="60" y="575"/>
                  </a:cubicBezTo>
                  <a:cubicBezTo>
                    <a:pt x="27" y="575"/>
                    <a:pt x="0" y="603"/>
                    <a:pt x="0" y="636"/>
                  </a:cubicBezTo>
                  <a:cubicBezTo>
                    <a:pt x="0" y="830"/>
                    <a:pt x="0" y="830"/>
                    <a:pt x="0" y="830"/>
                  </a:cubicBezTo>
                  <a:cubicBezTo>
                    <a:pt x="0" y="863"/>
                    <a:pt x="27" y="890"/>
                    <a:pt x="60" y="890"/>
                  </a:cubicBezTo>
                  <a:cubicBezTo>
                    <a:pt x="143" y="890"/>
                    <a:pt x="143" y="890"/>
                    <a:pt x="143" y="890"/>
                  </a:cubicBezTo>
                  <a:cubicBezTo>
                    <a:pt x="157" y="942"/>
                    <a:pt x="177" y="992"/>
                    <a:pt x="204" y="1039"/>
                  </a:cubicBezTo>
                  <a:cubicBezTo>
                    <a:pt x="146" y="1097"/>
                    <a:pt x="146" y="1097"/>
                    <a:pt x="146" y="1097"/>
                  </a:cubicBezTo>
                  <a:cubicBezTo>
                    <a:pt x="123" y="1120"/>
                    <a:pt x="123" y="1159"/>
                    <a:pt x="146" y="1182"/>
                  </a:cubicBezTo>
                  <a:cubicBezTo>
                    <a:pt x="283" y="1319"/>
                    <a:pt x="283" y="1319"/>
                    <a:pt x="283" y="1319"/>
                  </a:cubicBezTo>
                  <a:cubicBezTo>
                    <a:pt x="307" y="1343"/>
                    <a:pt x="345" y="1343"/>
                    <a:pt x="369" y="1319"/>
                  </a:cubicBezTo>
                  <a:cubicBezTo>
                    <a:pt x="427" y="1261"/>
                    <a:pt x="427" y="1261"/>
                    <a:pt x="427" y="1261"/>
                  </a:cubicBezTo>
                  <a:cubicBezTo>
                    <a:pt x="473" y="1288"/>
                    <a:pt x="523" y="1309"/>
                    <a:pt x="575" y="1323"/>
                  </a:cubicBezTo>
                  <a:cubicBezTo>
                    <a:pt x="575" y="1405"/>
                    <a:pt x="575" y="1405"/>
                    <a:pt x="575" y="1405"/>
                  </a:cubicBezTo>
                  <a:cubicBezTo>
                    <a:pt x="575" y="1438"/>
                    <a:pt x="603" y="1466"/>
                    <a:pt x="636" y="1466"/>
                  </a:cubicBezTo>
                  <a:cubicBezTo>
                    <a:pt x="830" y="1466"/>
                    <a:pt x="830" y="1466"/>
                    <a:pt x="830" y="1466"/>
                  </a:cubicBezTo>
                  <a:cubicBezTo>
                    <a:pt x="863" y="1466"/>
                    <a:pt x="890" y="1438"/>
                    <a:pt x="890" y="1405"/>
                  </a:cubicBezTo>
                  <a:cubicBezTo>
                    <a:pt x="890" y="1323"/>
                    <a:pt x="890" y="1323"/>
                    <a:pt x="890" y="1323"/>
                  </a:cubicBezTo>
                  <a:cubicBezTo>
                    <a:pt x="942" y="1309"/>
                    <a:pt x="992" y="1288"/>
                    <a:pt x="1039" y="1261"/>
                  </a:cubicBezTo>
                  <a:cubicBezTo>
                    <a:pt x="1097" y="1319"/>
                    <a:pt x="1097" y="1319"/>
                    <a:pt x="1097" y="1319"/>
                  </a:cubicBezTo>
                  <a:cubicBezTo>
                    <a:pt x="1120" y="1343"/>
                    <a:pt x="1159" y="1343"/>
                    <a:pt x="1182" y="1319"/>
                  </a:cubicBezTo>
                  <a:cubicBezTo>
                    <a:pt x="1319" y="1182"/>
                    <a:pt x="1319" y="1182"/>
                    <a:pt x="1319" y="1182"/>
                  </a:cubicBezTo>
                  <a:cubicBezTo>
                    <a:pt x="1343" y="1159"/>
                    <a:pt x="1343" y="1120"/>
                    <a:pt x="1319" y="1097"/>
                  </a:cubicBezTo>
                  <a:cubicBezTo>
                    <a:pt x="1262" y="1039"/>
                    <a:pt x="1262" y="1039"/>
                    <a:pt x="1262" y="1039"/>
                  </a:cubicBezTo>
                  <a:cubicBezTo>
                    <a:pt x="1289" y="992"/>
                    <a:pt x="1309" y="942"/>
                    <a:pt x="1323" y="890"/>
                  </a:cubicBezTo>
                  <a:cubicBezTo>
                    <a:pt x="1405" y="890"/>
                    <a:pt x="1405" y="890"/>
                    <a:pt x="1405" y="890"/>
                  </a:cubicBezTo>
                  <a:cubicBezTo>
                    <a:pt x="1438" y="890"/>
                    <a:pt x="1465" y="863"/>
                    <a:pt x="1465" y="830"/>
                  </a:cubicBezTo>
                  <a:cubicBezTo>
                    <a:pt x="1465" y="636"/>
                    <a:pt x="1465" y="636"/>
                    <a:pt x="1465" y="636"/>
                  </a:cubicBezTo>
                  <a:cubicBezTo>
                    <a:pt x="1465" y="603"/>
                    <a:pt x="1438" y="575"/>
                    <a:pt x="1405" y="575"/>
                  </a:cubicBezTo>
                  <a:close/>
                  <a:moveTo>
                    <a:pt x="1405" y="575"/>
                  </a:moveTo>
                  <a:cubicBezTo>
                    <a:pt x="1405" y="575"/>
                    <a:pt x="1405" y="575"/>
                    <a:pt x="1405" y="5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2"/>
            <p:cNvSpPr>
              <a:spLocks noEditPoints="1"/>
            </p:cNvSpPr>
            <p:nvPr/>
          </p:nvSpPr>
          <p:spPr bwMode="auto">
            <a:xfrm>
              <a:off x="4240" y="797"/>
              <a:ext cx="2694" cy="2694"/>
            </a:xfrm>
            <a:custGeom>
              <a:avLst/>
              <a:gdLst>
                <a:gd name="T0" fmla="*/ 1316 w 1423"/>
                <a:gd name="T1" fmla="*/ 197 h 1423"/>
                <a:gd name="T2" fmla="*/ 1226 w 1423"/>
                <a:gd name="T3" fmla="*/ 107 h 1423"/>
                <a:gd name="T4" fmla="*/ 1056 w 1423"/>
                <a:gd name="T5" fmla="*/ 37 h 1423"/>
                <a:gd name="T6" fmla="*/ 833 w 1423"/>
                <a:gd name="T7" fmla="*/ 273 h 1423"/>
                <a:gd name="T8" fmla="*/ 799 w 1423"/>
                <a:gd name="T9" fmla="*/ 579 h 1423"/>
                <a:gd name="T10" fmla="*/ 542 w 1423"/>
                <a:gd name="T11" fmla="*/ 435 h 1423"/>
                <a:gd name="T12" fmla="*/ 478 w 1423"/>
                <a:gd name="T13" fmla="*/ 435 h 1423"/>
                <a:gd name="T14" fmla="*/ 314 w 1423"/>
                <a:gd name="T15" fmla="*/ 517 h 1423"/>
                <a:gd name="T16" fmla="*/ 343 w 1423"/>
                <a:gd name="T17" fmla="*/ 574 h 1423"/>
                <a:gd name="T18" fmla="*/ 478 w 1423"/>
                <a:gd name="T19" fmla="*/ 565 h 1423"/>
                <a:gd name="T20" fmla="*/ 542 w 1423"/>
                <a:gd name="T21" fmla="*/ 565 h 1423"/>
                <a:gd name="T22" fmla="*/ 753 w 1423"/>
                <a:gd name="T23" fmla="*/ 624 h 1423"/>
                <a:gd name="T24" fmla="*/ 510 w 1423"/>
                <a:gd name="T25" fmla="*/ 663 h 1423"/>
                <a:gd name="T26" fmla="*/ 510 w 1423"/>
                <a:gd name="T27" fmla="*/ 1162 h 1423"/>
                <a:gd name="T28" fmla="*/ 707 w 1423"/>
                <a:gd name="T29" fmla="*/ 761 h 1423"/>
                <a:gd name="T30" fmla="*/ 886 w 1423"/>
                <a:gd name="T31" fmla="*/ 881 h 1423"/>
                <a:gd name="T32" fmla="*/ 825 w 1423"/>
                <a:gd name="T33" fmla="*/ 913 h 1423"/>
                <a:gd name="T34" fmla="*/ 886 w 1423"/>
                <a:gd name="T35" fmla="*/ 945 h 1423"/>
                <a:gd name="T36" fmla="*/ 542 w 1423"/>
                <a:gd name="T37" fmla="*/ 1289 h 1423"/>
                <a:gd name="T38" fmla="*/ 510 w 1423"/>
                <a:gd name="T39" fmla="*/ 1229 h 1423"/>
                <a:gd name="T40" fmla="*/ 478 w 1423"/>
                <a:gd name="T41" fmla="*/ 1289 h 1423"/>
                <a:gd name="T42" fmla="*/ 134 w 1423"/>
                <a:gd name="T43" fmla="*/ 945 h 1423"/>
                <a:gd name="T44" fmla="*/ 194 w 1423"/>
                <a:gd name="T45" fmla="*/ 913 h 1423"/>
                <a:gd name="T46" fmla="*/ 134 w 1423"/>
                <a:gd name="T47" fmla="*/ 881 h 1423"/>
                <a:gd name="T48" fmla="*/ 153 w 1423"/>
                <a:gd name="T49" fmla="*/ 708 h 1423"/>
                <a:gd name="T50" fmla="*/ 69 w 1423"/>
                <a:gd name="T51" fmla="*/ 881 h 1423"/>
                <a:gd name="T52" fmla="*/ 0 w 1423"/>
                <a:gd name="T53" fmla="*/ 913 h 1423"/>
                <a:gd name="T54" fmla="*/ 70 w 1423"/>
                <a:gd name="T55" fmla="*/ 945 h 1423"/>
                <a:gd name="T56" fmla="*/ 478 w 1423"/>
                <a:gd name="T57" fmla="*/ 1353 h 1423"/>
                <a:gd name="T58" fmla="*/ 510 w 1423"/>
                <a:gd name="T59" fmla="*/ 1423 h 1423"/>
                <a:gd name="T60" fmla="*/ 542 w 1423"/>
                <a:gd name="T61" fmla="*/ 1353 h 1423"/>
                <a:gd name="T62" fmla="*/ 950 w 1423"/>
                <a:gd name="T63" fmla="*/ 945 h 1423"/>
                <a:gd name="T64" fmla="*/ 1020 w 1423"/>
                <a:gd name="T65" fmla="*/ 913 h 1423"/>
                <a:gd name="T66" fmla="*/ 950 w 1423"/>
                <a:gd name="T67" fmla="*/ 881 h 1423"/>
                <a:gd name="T68" fmla="*/ 878 w 1423"/>
                <a:gd name="T69" fmla="*/ 590 h 1423"/>
                <a:gd name="T70" fmla="*/ 1173 w 1423"/>
                <a:gd name="T71" fmla="*/ 580 h 1423"/>
                <a:gd name="T72" fmla="*/ 1408 w 1423"/>
                <a:gd name="T73" fmla="*/ 258 h 1423"/>
                <a:gd name="T74" fmla="*/ 324 w 1423"/>
                <a:gd name="T75" fmla="*/ 913 h 1423"/>
                <a:gd name="T76" fmla="*/ 616 w 1423"/>
                <a:gd name="T77" fmla="*/ 761 h 1423"/>
                <a:gd name="T78" fmla="*/ 560 w 1423"/>
                <a:gd name="T79" fmla="*/ 863 h 1423"/>
                <a:gd name="T80" fmla="*/ 605 w 1423"/>
                <a:gd name="T81" fmla="*/ 863 h 1423"/>
                <a:gd name="T82" fmla="*/ 695 w 1423"/>
                <a:gd name="T83" fmla="*/ 913 h 1423"/>
                <a:gd name="T84" fmla="*/ 897 w 1423"/>
                <a:gd name="T85" fmla="*/ 286 h 1423"/>
                <a:gd name="T86" fmla="*/ 1140 w 1423"/>
                <a:gd name="T87" fmla="*/ 74 h 1423"/>
                <a:gd name="T88" fmla="*/ 1163 w 1423"/>
                <a:gd name="T89" fmla="*/ 215 h 1423"/>
                <a:gd name="T90" fmla="*/ 897 w 1423"/>
                <a:gd name="T91" fmla="*/ 480 h 1423"/>
                <a:gd name="T92" fmla="*/ 1341 w 1423"/>
                <a:gd name="T93" fmla="*/ 321 h 1423"/>
                <a:gd name="T94" fmla="*/ 942 w 1423"/>
                <a:gd name="T95" fmla="*/ 526 h 1423"/>
                <a:gd name="T96" fmla="*/ 1208 w 1423"/>
                <a:gd name="T97" fmla="*/ 260 h 1423"/>
                <a:gd name="T98" fmla="*/ 1348 w 1423"/>
                <a:gd name="T99" fmla="*/ 283 h 1423"/>
                <a:gd name="T100" fmla="*/ 1341 w 1423"/>
                <a:gd name="T101" fmla="*/ 321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23" h="1423">
                  <a:moveTo>
                    <a:pt x="1408" y="258"/>
                  </a:moveTo>
                  <a:cubicBezTo>
                    <a:pt x="1392" y="220"/>
                    <a:pt x="1357" y="197"/>
                    <a:pt x="1316" y="197"/>
                  </a:cubicBezTo>
                  <a:cubicBezTo>
                    <a:pt x="1226" y="196"/>
                    <a:pt x="1226" y="196"/>
                    <a:pt x="1226" y="196"/>
                  </a:cubicBezTo>
                  <a:cubicBezTo>
                    <a:pt x="1226" y="107"/>
                    <a:pt x="1226" y="107"/>
                    <a:pt x="1226" y="107"/>
                  </a:cubicBezTo>
                  <a:cubicBezTo>
                    <a:pt x="1226" y="66"/>
                    <a:pt x="1203" y="31"/>
                    <a:pt x="1165" y="15"/>
                  </a:cubicBezTo>
                  <a:cubicBezTo>
                    <a:pt x="1127" y="0"/>
                    <a:pt x="1085" y="8"/>
                    <a:pt x="1056" y="37"/>
                  </a:cubicBezTo>
                  <a:cubicBezTo>
                    <a:pt x="843" y="250"/>
                    <a:pt x="843" y="250"/>
                    <a:pt x="843" y="250"/>
                  </a:cubicBezTo>
                  <a:cubicBezTo>
                    <a:pt x="837" y="256"/>
                    <a:pt x="833" y="264"/>
                    <a:pt x="833" y="273"/>
                  </a:cubicBezTo>
                  <a:cubicBezTo>
                    <a:pt x="833" y="544"/>
                    <a:pt x="833" y="544"/>
                    <a:pt x="833" y="544"/>
                  </a:cubicBezTo>
                  <a:cubicBezTo>
                    <a:pt x="799" y="579"/>
                    <a:pt x="799" y="579"/>
                    <a:pt x="799" y="579"/>
                  </a:cubicBezTo>
                  <a:cubicBezTo>
                    <a:pt x="725" y="515"/>
                    <a:pt x="635" y="479"/>
                    <a:pt x="542" y="472"/>
                  </a:cubicBezTo>
                  <a:cubicBezTo>
                    <a:pt x="542" y="435"/>
                    <a:pt x="542" y="435"/>
                    <a:pt x="542" y="435"/>
                  </a:cubicBezTo>
                  <a:cubicBezTo>
                    <a:pt x="542" y="417"/>
                    <a:pt x="527" y="403"/>
                    <a:pt x="510" y="403"/>
                  </a:cubicBezTo>
                  <a:cubicBezTo>
                    <a:pt x="492" y="403"/>
                    <a:pt x="478" y="417"/>
                    <a:pt x="478" y="435"/>
                  </a:cubicBezTo>
                  <a:cubicBezTo>
                    <a:pt x="478" y="472"/>
                    <a:pt x="478" y="472"/>
                    <a:pt x="478" y="472"/>
                  </a:cubicBezTo>
                  <a:cubicBezTo>
                    <a:pt x="422" y="476"/>
                    <a:pt x="367" y="491"/>
                    <a:pt x="314" y="517"/>
                  </a:cubicBezTo>
                  <a:cubicBezTo>
                    <a:pt x="299" y="525"/>
                    <a:pt x="292" y="544"/>
                    <a:pt x="300" y="560"/>
                  </a:cubicBezTo>
                  <a:cubicBezTo>
                    <a:pt x="308" y="575"/>
                    <a:pt x="327" y="582"/>
                    <a:pt x="343" y="574"/>
                  </a:cubicBezTo>
                  <a:cubicBezTo>
                    <a:pt x="386" y="553"/>
                    <a:pt x="432" y="540"/>
                    <a:pt x="478" y="537"/>
                  </a:cubicBezTo>
                  <a:cubicBezTo>
                    <a:pt x="478" y="565"/>
                    <a:pt x="478" y="565"/>
                    <a:pt x="478" y="565"/>
                  </a:cubicBezTo>
                  <a:cubicBezTo>
                    <a:pt x="478" y="583"/>
                    <a:pt x="492" y="597"/>
                    <a:pt x="510" y="597"/>
                  </a:cubicBezTo>
                  <a:cubicBezTo>
                    <a:pt x="527" y="597"/>
                    <a:pt x="542" y="583"/>
                    <a:pt x="542" y="565"/>
                  </a:cubicBezTo>
                  <a:cubicBezTo>
                    <a:pt x="542" y="537"/>
                    <a:pt x="542" y="537"/>
                    <a:pt x="542" y="537"/>
                  </a:cubicBezTo>
                  <a:cubicBezTo>
                    <a:pt x="618" y="543"/>
                    <a:pt x="692" y="573"/>
                    <a:pt x="753" y="624"/>
                  </a:cubicBezTo>
                  <a:cubicBezTo>
                    <a:pt x="662" y="715"/>
                    <a:pt x="662" y="715"/>
                    <a:pt x="662" y="715"/>
                  </a:cubicBezTo>
                  <a:cubicBezTo>
                    <a:pt x="620" y="683"/>
                    <a:pt x="567" y="663"/>
                    <a:pt x="510" y="663"/>
                  </a:cubicBezTo>
                  <a:cubicBezTo>
                    <a:pt x="372" y="663"/>
                    <a:pt x="260" y="775"/>
                    <a:pt x="260" y="913"/>
                  </a:cubicBezTo>
                  <a:cubicBezTo>
                    <a:pt x="260" y="1050"/>
                    <a:pt x="372" y="1162"/>
                    <a:pt x="510" y="1162"/>
                  </a:cubicBezTo>
                  <a:cubicBezTo>
                    <a:pt x="647" y="1162"/>
                    <a:pt x="759" y="1050"/>
                    <a:pt x="759" y="913"/>
                  </a:cubicBezTo>
                  <a:cubicBezTo>
                    <a:pt x="759" y="856"/>
                    <a:pt x="740" y="803"/>
                    <a:pt x="707" y="761"/>
                  </a:cubicBezTo>
                  <a:cubicBezTo>
                    <a:pt x="798" y="670"/>
                    <a:pt x="798" y="670"/>
                    <a:pt x="798" y="670"/>
                  </a:cubicBezTo>
                  <a:cubicBezTo>
                    <a:pt x="850" y="731"/>
                    <a:pt x="879" y="805"/>
                    <a:pt x="886" y="881"/>
                  </a:cubicBezTo>
                  <a:cubicBezTo>
                    <a:pt x="857" y="881"/>
                    <a:pt x="857" y="881"/>
                    <a:pt x="857" y="881"/>
                  </a:cubicBezTo>
                  <a:cubicBezTo>
                    <a:pt x="840" y="881"/>
                    <a:pt x="825" y="895"/>
                    <a:pt x="825" y="913"/>
                  </a:cubicBezTo>
                  <a:cubicBezTo>
                    <a:pt x="825" y="930"/>
                    <a:pt x="840" y="945"/>
                    <a:pt x="857" y="945"/>
                  </a:cubicBezTo>
                  <a:cubicBezTo>
                    <a:pt x="886" y="945"/>
                    <a:pt x="886" y="945"/>
                    <a:pt x="886" y="945"/>
                  </a:cubicBezTo>
                  <a:cubicBezTo>
                    <a:pt x="879" y="1031"/>
                    <a:pt x="842" y="1114"/>
                    <a:pt x="777" y="1180"/>
                  </a:cubicBezTo>
                  <a:cubicBezTo>
                    <a:pt x="711" y="1245"/>
                    <a:pt x="627" y="1282"/>
                    <a:pt x="542" y="1289"/>
                  </a:cubicBezTo>
                  <a:cubicBezTo>
                    <a:pt x="542" y="1261"/>
                    <a:pt x="542" y="1261"/>
                    <a:pt x="542" y="1261"/>
                  </a:cubicBezTo>
                  <a:cubicBezTo>
                    <a:pt x="542" y="1243"/>
                    <a:pt x="527" y="1229"/>
                    <a:pt x="510" y="1229"/>
                  </a:cubicBezTo>
                  <a:cubicBezTo>
                    <a:pt x="492" y="1229"/>
                    <a:pt x="478" y="1243"/>
                    <a:pt x="478" y="1261"/>
                  </a:cubicBezTo>
                  <a:cubicBezTo>
                    <a:pt x="478" y="1289"/>
                    <a:pt x="478" y="1289"/>
                    <a:pt x="478" y="1289"/>
                  </a:cubicBezTo>
                  <a:cubicBezTo>
                    <a:pt x="392" y="1282"/>
                    <a:pt x="308" y="1245"/>
                    <a:pt x="243" y="1180"/>
                  </a:cubicBezTo>
                  <a:cubicBezTo>
                    <a:pt x="178" y="1115"/>
                    <a:pt x="141" y="1032"/>
                    <a:pt x="134" y="945"/>
                  </a:cubicBezTo>
                  <a:cubicBezTo>
                    <a:pt x="162" y="945"/>
                    <a:pt x="162" y="945"/>
                    <a:pt x="162" y="945"/>
                  </a:cubicBezTo>
                  <a:cubicBezTo>
                    <a:pt x="180" y="945"/>
                    <a:pt x="194" y="930"/>
                    <a:pt x="194" y="913"/>
                  </a:cubicBezTo>
                  <a:cubicBezTo>
                    <a:pt x="194" y="895"/>
                    <a:pt x="180" y="881"/>
                    <a:pt x="162" y="881"/>
                  </a:cubicBezTo>
                  <a:cubicBezTo>
                    <a:pt x="134" y="881"/>
                    <a:pt x="134" y="881"/>
                    <a:pt x="134" y="881"/>
                  </a:cubicBezTo>
                  <a:cubicBezTo>
                    <a:pt x="137" y="837"/>
                    <a:pt x="149" y="792"/>
                    <a:pt x="169" y="751"/>
                  </a:cubicBezTo>
                  <a:cubicBezTo>
                    <a:pt x="176" y="735"/>
                    <a:pt x="169" y="716"/>
                    <a:pt x="153" y="708"/>
                  </a:cubicBezTo>
                  <a:cubicBezTo>
                    <a:pt x="137" y="701"/>
                    <a:pt x="118" y="707"/>
                    <a:pt x="111" y="723"/>
                  </a:cubicBezTo>
                  <a:cubicBezTo>
                    <a:pt x="87" y="774"/>
                    <a:pt x="73" y="827"/>
                    <a:pt x="69" y="881"/>
                  </a:cubicBezTo>
                  <a:cubicBezTo>
                    <a:pt x="32" y="881"/>
                    <a:pt x="32" y="881"/>
                    <a:pt x="32" y="881"/>
                  </a:cubicBezTo>
                  <a:cubicBezTo>
                    <a:pt x="14" y="881"/>
                    <a:pt x="0" y="895"/>
                    <a:pt x="0" y="913"/>
                  </a:cubicBezTo>
                  <a:cubicBezTo>
                    <a:pt x="0" y="930"/>
                    <a:pt x="14" y="945"/>
                    <a:pt x="32" y="945"/>
                  </a:cubicBezTo>
                  <a:cubicBezTo>
                    <a:pt x="70" y="945"/>
                    <a:pt x="70" y="945"/>
                    <a:pt x="70" y="945"/>
                  </a:cubicBezTo>
                  <a:cubicBezTo>
                    <a:pt x="77" y="1048"/>
                    <a:pt x="121" y="1148"/>
                    <a:pt x="198" y="1225"/>
                  </a:cubicBezTo>
                  <a:cubicBezTo>
                    <a:pt x="273" y="1301"/>
                    <a:pt x="372" y="1346"/>
                    <a:pt x="478" y="1353"/>
                  </a:cubicBezTo>
                  <a:cubicBezTo>
                    <a:pt x="478" y="1391"/>
                    <a:pt x="478" y="1391"/>
                    <a:pt x="478" y="1391"/>
                  </a:cubicBezTo>
                  <a:cubicBezTo>
                    <a:pt x="478" y="1408"/>
                    <a:pt x="492" y="1423"/>
                    <a:pt x="510" y="1423"/>
                  </a:cubicBezTo>
                  <a:cubicBezTo>
                    <a:pt x="527" y="1423"/>
                    <a:pt x="542" y="1408"/>
                    <a:pt x="542" y="1391"/>
                  </a:cubicBezTo>
                  <a:cubicBezTo>
                    <a:pt x="542" y="1353"/>
                    <a:pt x="542" y="1353"/>
                    <a:pt x="542" y="1353"/>
                  </a:cubicBezTo>
                  <a:cubicBezTo>
                    <a:pt x="648" y="1346"/>
                    <a:pt x="746" y="1301"/>
                    <a:pt x="822" y="1225"/>
                  </a:cubicBezTo>
                  <a:cubicBezTo>
                    <a:pt x="898" y="1149"/>
                    <a:pt x="943" y="1051"/>
                    <a:pt x="950" y="945"/>
                  </a:cubicBezTo>
                  <a:cubicBezTo>
                    <a:pt x="988" y="945"/>
                    <a:pt x="988" y="945"/>
                    <a:pt x="988" y="945"/>
                  </a:cubicBezTo>
                  <a:cubicBezTo>
                    <a:pt x="1005" y="945"/>
                    <a:pt x="1020" y="930"/>
                    <a:pt x="1020" y="913"/>
                  </a:cubicBezTo>
                  <a:cubicBezTo>
                    <a:pt x="1020" y="895"/>
                    <a:pt x="1005" y="881"/>
                    <a:pt x="988" y="881"/>
                  </a:cubicBezTo>
                  <a:cubicBezTo>
                    <a:pt x="950" y="881"/>
                    <a:pt x="950" y="881"/>
                    <a:pt x="950" y="881"/>
                  </a:cubicBezTo>
                  <a:cubicBezTo>
                    <a:pt x="943" y="786"/>
                    <a:pt x="906" y="696"/>
                    <a:pt x="844" y="624"/>
                  </a:cubicBezTo>
                  <a:cubicBezTo>
                    <a:pt x="878" y="590"/>
                    <a:pt x="878" y="590"/>
                    <a:pt x="878" y="590"/>
                  </a:cubicBezTo>
                  <a:cubicBezTo>
                    <a:pt x="1150" y="590"/>
                    <a:pt x="1150" y="590"/>
                    <a:pt x="1150" y="590"/>
                  </a:cubicBezTo>
                  <a:cubicBezTo>
                    <a:pt x="1159" y="590"/>
                    <a:pt x="1167" y="586"/>
                    <a:pt x="1173" y="580"/>
                  </a:cubicBezTo>
                  <a:cubicBezTo>
                    <a:pt x="1386" y="367"/>
                    <a:pt x="1386" y="367"/>
                    <a:pt x="1386" y="367"/>
                  </a:cubicBezTo>
                  <a:cubicBezTo>
                    <a:pt x="1415" y="338"/>
                    <a:pt x="1423" y="296"/>
                    <a:pt x="1408" y="258"/>
                  </a:cubicBezTo>
                  <a:close/>
                  <a:moveTo>
                    <a:pt x="510" y="1098"/>
                  </a:moveTo>
                  <a:cubicBezTo>
                    <a:pt x="407" y="1098"/>
                    <a:pt x="324" y="1015"/>
                    <a:pt x="324" y="913"/>
                  </a:cubicBezTo>
                  <a:cubicBezTo>
                    <a:pt x="324" y="810"/>
                    <a:pt x="407" y="727"/>
                    <a:pt x="510" y="727"/>
                  </a:cubicBezTo>
                  <a:cubicBezTo>
                    <a:pt x="549" y="727"/>
                    <a:pt x="586" y="740"/>
                    <a:pt x="616" y="761"/>
                  </a:cubicBezTo>
                  <a:cubicBezTo>
                    <a:pt x="560" y="818"/>
                    <a:pt x="560" y="818"/>
                    <a:pt x="560" y="818"/>
                  </a:cubicBezTo>
                  <a:cubicBezTo>
                    <a:pt x="547" y="830"/>
                    <a:pt x="547" y="851"/>
                    <a:pt x="560" y="863"/>
                  </a:cubicBezTo>
                  <a:cubicBezTo>
                    <a:pt x="566" y="869"/>
                    <a:pt x="574" y="872"/>
                    <a:pt x="582" y="872"/>
                  </a:cubicBezTo>
                  <a:cubicBezTo>
                    <a:pt x="591" y="872"/>
                    <a:pt x="599" y="869"/>
                    <a:pt x="605" y="863"/>
                  </a:cubicBezTo>
                  <a:cubicBezTo>
                    <a:pt x="662" y="806"/>
                    <a:pt x="662" y="806"/>
                    <a:pt x="662" y="806"/>
                  </a:cubicBezTo>
                  <a:cubicBezTo>
                    <a:pt x="683" y="837"/>
                    <a:pt x="695" y="873"/>
                    <a:pt x="695" y="913"/>
                  </a:cubicBezTo>
                  <a:cubicBezTo>
                    <a:pt x="695" y="1015"/>
                    <a:pt x="612" y="1098"/>
                    <a:pt x="510" y="1098"/>
                  </a:cubicBezTo>
                  <a:close/>
                  <a:moveTo>
                    <a:pt x="897" y="286"/>
                  </a:moveTo>
                  <a:cubicBezTo>
                    <a:pt x="1102" y="82"/>
                    <a:pt x="1102" y="82"/>
                    <a:pt x="1102" y="82"/>
                  </a:cubicBezTo>
                  <a:cubicBezTo>
                    <a:pt x="1117" y="67"/>
                    <a:pt x="1135" y="72"/>
                    <a:pt x="1140" y="74"/>
                  </a:cubicBezTo>
                  <a:cubicBezTo>
                    <a:pt x="1145" y="76"/>
                    <a:pt x="1162" y="85"/>
                    <a:pt x="1162" y="107"/>
                  </a:cubicBezTo>
                  <a:cubicBezTo>
                    <a:pt x="1163" y="215"/>
                    <a:pt x="1163" y="215"/>
                    <a:pt x="1163" y="215"/>
                  </a:cubicBezTo>
                  <a:cubicBezTo>
                    <a:pt x="988" y="390"/>
                    <a:pt x="988" y="390"/>
                    <a:pt x="988" y="390"/>
                  </a:cubicBezTo>
                  <a:cubicBezTo>
                    <a:pt x="897" y="480"/>
                    <a:pt x="897" y="480"/>
                    <a:pt x="897" y="480"/>
                  </a:cubicBezTo>
                  <a:lnTo>
                    <a:pt x="897" y="286"/>
                  </a:lnTo>
                  <a:close/>
                  <a:moveTo>
                    <a:pt x="1341" y="321"/>
                  </a:moveTo>
                  <a:cubicBezTo>
                    <a:pt x="1137" y="526"/>
                    <a:pt x="1137" y="526"/>
                    <a:pt x="1137" y="526"/>
                  </a:cubicBezTo>
                  <a:cubicBezTo>
                    <a:pt x="942" y="526"/>
                    <a:pt x="942" y="526"/>
                    <a:pt x="942" y="526"/>
                  </a:cubicBezTo>
                  <a:cubicBezTo>
                    <a:pt x="1033" y="435"/>
                    <a:pt x="1033" y="435"/>
                    <a:pt x="1033" y="435"/>
                  </a:cubicBezTo>
                  <a:cubicBezTo>
                    <a:pt x="1208" y="260"/>
                    <a:pt x="1208" y="260"/>
                    <a:pt x="1208" y="260"/>
                  </a:cubicBezTo>
                  <a:cubicBezTo>
                    <a:pt x="1316" y="261"/>
                    <a:pt x="1316" y="261"/>
                    <a:pt x="1316" y="261"/>
                  </a:cubicBezTo>
                  <a:cubicBezTo>
                    <a:pt x="1338" y="261"/>
                    <a:pt x="1346" y="277"/>
                    <a:pt x="1348" y="283"/>
                  </a:cubicBezTo>
                  <a:cubicBezTo>
                    <a:pt x="1351" y="288"/>
                    <a:pt x="1356" y="306"/>
                    <a:pt x="1341" y="321"/>
                  </a:cubicBezTo>
                  <a:close/>
                  <a:moveTo>
                    <a:pt x="1341" y="321"/>
                  </a:moveTo>
                  <a:cubicBezTo>
                    <a:pt x="1341" y="321"/>
                    <a:pt x="1341" y="321"/>
                    <a:pt x="1341" y="3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3"/>
            <p:cNvSpPr>
              <a:spLocks noEditPoints="1"/>
            </p:cNvSpPr>
            <p:nvPr/>
          </p:nvSpPr>
          <p:spPr bwMode="auto">
            <a:xfrm>
              <a:off x="5138" y="2472"/>
              <a:ext cx="121" cy="122"/>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4"/>
                    <a:pt x="0" y="32"/>
                  </a:cubicBezTo>
                  <a:cubicBezTo>
                    <a:pt x="0" y="41"/>
                    <a:pt x="3" y="49"/>
                    <a:pt x="9" y="55"/>
                  </a:cubicBezTo>
                  <a:cubicBezTo>
                    <a:pt x="15" y="61"/>
                    <a:pt x="23" y="64"/>
                    <a:pt x="32" y="64"/>
                  </a:cubicBezTo>
                  <a:cubicBezTo>
                    <a:pt x="40" y="64"/>
                    <a:pt x="48"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3" name="Group 139"/>
          <p:cNvGrpSpPr>
            <a:grpSpLocks noChangeAspect="1"/>
          </p:cNvGrpSpPr>
          <p:nvPr/>
        </p:nvGrpSpPr>
        <p:grpSpPr bwMode="auto">
          <a:xfrm>
            <a:off x="4570759" y="4107973"/>
            <a:ext cx="497353" cy="457200"/>
            <a:chOff x="3984" y="1130"/>
            <a:chExt cx="3109" cy="2858"/>
          </a:xfrm>
          <a:solidFill>
            <a:schemeClr val="accent1"/>
          </a:solidFill>
        </p:grpSpPr>
        <p:sp>
          <p:nvSpPr>
            <p:cNvPr id="145" name="Freeform 140"/>
            <p:cNvSpPr>
              <a:spLocks noEditPoints="1"/>
            </p:cNvSpPr>
            <p:nvPr/>
          </p:nvSpPr>
          <p:spPr bwMode="auto">
            <a:xfrm>
              <a:off x="5771" y="2953"/>
              <a:ext cx="122" cy="121"/>
            </a:xfrm>
            <a:custGeom>
              <a:avLst/>
              <a:gdLst>
                <a:gd name="T0" fmla="*/ 32 w 64"/>
                <a:gd name="T1" fmla="*/ 0 h 64"/>
                <a:gd name="T2" fmla="*/ 32 w 64"/>
                <a:gd name="T3" fmla="*/ 0 h 64"/>
                <a:gd name="T4" fmla="*/ 0 w 64"/>
                <a:gd name="T5" fmla="*/ 32 h 64"/>
                <a:gd name="T6" fmla="*/ 32 w 64"/>
                <a:gd name="T7" fmla="*/ 64 h 64"/>
                <a:gd name="T8" fmla="*/ 32 w 64"/>
                <a:gd name="T9" fmla="*/ 64 h 64"/>
                <a:gd name="T10" fmla="*/ 64 w 64"/>
                <a:gd name="T11" fmla="*/ 32 h 64"/>
                <a:gd name="T12" fmla="*/ 32 w 64"/>
                <a:gd name="T13" fmla="*/ 0 h 64"/>
                <a:gd name="T14" fmla="*/ 32 w 64"/>
                <a:gd name="T15" fmla="*/ 0 h 64"/>
                <a:gd name="T16" fmla="*/ 32 w 64"/>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4">
                  <a:moveTo>
                    <a:pt x="32" y="0"/>
                  </a:moveTo>
                  <a:cubicBezTo>
                    <a:pt x="32" y="0"/>
                    <a:pt x="32" y="0"/>
                    <a:pt x="32" y="0"/>
                  </a:cubicBezTo>
                  <a:cubicBezTo>
                    <a:pt x="14" y="0"/>
                    <a:pt x="0" y="14"/>
                    <a:pt x="0" y="32"/>
                  </a:cubicBezTo>
                  <a:cubicBezTo>
                    <a:pt x="0" y="50"/>
                    <a:pt x="14" y="64"/>
                    <a:pt x="32" y="64"/>
                  </a:cubicBezTo>
                  <a:cubicBezTo>
                    <a:pt x="32" y="64"/>
                    <a:pt x="32" y="64"/>
                    <a:pt x="32" y="64"/>
                  </a:cubicBezTo>
                  <a:cubicBezTo>
                    <a:pt x="50" y="64"/>
                    <a:pt x="64" y="50"/>
                    <a:pt x="64" y="32"/>
                  </a:cubicBezTo>
                  <a:cubicBezTo>
                    <a:pt x="64" y="14"/>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41"/>
            <p:cNvSpPr>
              <a:spLocks noEditPoints="1"/>
            </p:cNvSpPr>
            <p:nvPr/>
          </p:nvSpPr>
          <p:spPr bwMode="auto">
            <a:xfrm>
              <a:off x="3986" y="1130"/>
              <a:ext cx="3107" cy="2858"/>
            </a:xfrm>
            <a:custGeom>
              <a:avLst/>
              <a:gdLst>
                <a:gd name="T0" fmla="*/ 1636 w 1641"/>
                <a:gd name="T1" fmla="*/ 1463 h 1510"/>
                <a:gd name="T2" fmla="*/ 848 w 1641"/>
                <a:gd name="T3" fmla="*/ 16 h 1510"/>
                <a:gd name="T4" fmla="*/ 820 w 1641"/>
                <a:gd name="T5" fmla="*/ 0 h 1510"/>
                <a:gd name="T6" fmla="*/ 792 w 1641"/>
                <a:gd name="T7" fmla="*/ 16 h 1510"/>
                <a:gd name="T8" fmla="*/ 5 w 1641"/>
                <a:gd name="T9" fmla="*/ 1463 h 1510"/>
                <a:gd name="T10" fmla="*/ 6 w 1641"/>
                <a:gd name="T11" fmla="*/ 1494 h 1510"/>
                <a:gd name="T12" fmla="*/ 33 w 1641"/>
                <a:gd name="T13" fmla="*/ 1510 h 1510"/>
                <a:gd name="T14" fmla="*/ 1607 w 1641"/>
                <a:gd name="T15" fmla="*/ 1510 h 1510"/>
                <a:gd name="T16" fmla="*/ 1635 w 1641"/>
                <a:gd name="T17" fmla="*/ 1494 h 1510"/>
                <a:gd name="T18" fmla="*/ 1636 w 1641"/>
                <a:gd name="T19" fmla="*/ 1463 h 1510"/>
                <a:gd name="T20" fmla="*/ 820 w 1641"/>
                <a:gd name="T21" fmla="*/ 99 h 1510"/>
                <a:gd name="T22" fmla="*/ 1031 w 1641"/>
                <a:gd name="T23" fmla="*/ 486 h 1510"/>
                <a:gd name="T24" fmla="*/ 609 w 1641"/>
                <a:gd name="T25" fmla="*/ 486 h 1510"/>
                <a:gd name="T26" fmla="*/ 820 w 1641"/>
                <a:gd name="T27" fmla="*/ 99 h 1510"/>
                <a:gd name="T28" fmla="*/ 87 w 1641"/>
                <a:gd name="T29" fmla="*/ 1446 h 1510"/>
                <a:gd name="T30" fmla="*/ 315 w 1641"/>
                <a:gd name="T31" fmla="*/ 1027 h 1510"/>
                <a:gd name="T32" fmla="*/ 855 w 1641"/>
                <a:gd name="T33" fmla="*/ 1027 h 1510"/>
                <a:gd name="T34" fmla="*/ 887 w 1641"/>
                <a:gd name="T35" fmla="*/ 995 h 1510"/>
                <a:gd name="T36" fmla="*/ 855 w 1641"/>
                <a:gd name="T37" fmla="*/ 963 h 1510"/>
                <a:gd name="T38" fmla="*/ 350 w 1641"/>
                <a:gd name="T39" fmla="*/ 963 h 1510"/>
                <a:gd name="T40" fmla="*/ 574 w 1641"/>
                <a:gd name="T41" fmla="*/ 550 h 1510"/>
                <a:gd name="T42" fmla="*/ 1066 w 1641"/>
                <a:gd name="T43" fmla="*/ 550 h 1510"/>
                <a:gd name="T44" fmla="*/ 1291 w 1641"/>
                <a:gd name="T45" fmla="*/ 963 h 1510"/>
                <a:gd name="T46" fmla="*/ 1101 w 1641"/>
                <a:gd name="T47" fmla="*/ 963 h 1510"/>
                <a:gd name="T48" fmla="*/ 1069 w 1641"/>
                <a:gd name="T49" fmla="*/ 995 h 1510"/>
                <a:gd name="T50" fmla="*/ 1101 w 1641"/>
                <a:gd name="T51" fmla="*/ 1027 h 1510"/>
                <a:gd name="T52" fmla="*/ 1325 w 1641"/>
                <a:gd name="T53" fmla="*/ 1027 h 1510"/>
                <a:gd name="T54" fmla="*/ 1554 w 1641"/>
                <a:gd name="T55" fmla="*/ 1446 h 1510"/>
                <a:gd name="T56" fmla="*/ 87 w 1641"/>
                <a:gd name="T57" fmla="*/ 1446 h 1510"/>
                <a:gd name="T58" fmla="*/ 87 w 1641"/>
                <a:gd name="T59" fmla="*/ 1446 h 1510"/>
                <a:gd name="T60" fmla="*/ 87 w 1641"/>
                <a:gd name="T61" fmla="*/ 1446 h 1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1" h="1510">
                  <a:moveTo>
                    <a:pt x="1636" y="1463"/>
                  </a:moveTo>
                  <a:cubicBezTo>
                    <a:pt x="848" y="16"/>
                    <a:pt x="848" y="16"/>
                    <a:pt x="848" y="16"/>
                  </a:cubicBezTo>
                  <a:cubicBezTo>
                    <a:pt x="843" y="6"/>
                    <a:pt x="832" y="0"/>
                    <a:pt x="820" y="0"/>
                  </a:cubicBezTo>
                  <a:cubicBezTo>
                    <a:pt x="808" y="0"/>
                    <a:pt x="798" y="6"/>
                    <a:pt x="792" y="16"/>
                  </a:cubicBezTo>
                  <a:cubicBezTo>
                    <a:pt x="5" y="1463"/>
                    <a:pt x="5" y="1463"/>
                    <a:pt x="5" y="1463"/>
                  </a:cubicBezTo>
                  <a:cubicBezTo>
                    <a:pt x="0" y="1473"/>
                    <a:pt x="0" y="1485"/>
                    <a:pt x="6" y="1494"/>
                  </a:cubicBezTo>
                  <a:cubicBezTo>
                    <a:pt x="11" y="1504"/>
                    <a:pt x="22" y="1510"/>
                    <a:pt x="33" y="1510"/>
                  </a:cubicBezTo>
                  <a:cubicBezTo>
                    <a:pt x="1607" y="1510"/>
                    <a:pt x="1607" y="1510"/>
                    <a:pt x="1607" y="1510"/>
                  </a:cubicBezTo>
                  <a:cubicBezTo>
                    <a:pt x="1619" y="1510"/>
                    <a:pt x="1629" y="1504"/>
                    <a:pt x="1635" y="1494"/>
                  </a:cubicBezTo>
                  <a:cubicBezTo>
                    <a:pt x="1641" y="1485"/>
                    <a:pt x="1641" y="1473"/>
                    <a:pt x="1636" y="1463"/>
                  </a:cubicBezTo>
                  <a:close/>
                  <a:moveTo>
                    <a:pt x="820" y="99"/>
                  </a:moveTo>
                  <a:cubicBezTo>
                    <a:pt x="1031" y="486"/>
                    <a:pt x="1031" y="486"/>
                    <a:pt x="1031" y="486"/>
                  </a:cubicBezTo>
                  <a:cubicBezTo>
                    <a:pt x="609" y="486"/>
                    <a:pt x="609" y="486"/>
                    <a:pt x="609" y="486"/>
                  </a:cubicBezTo>
                  <a:lnTo>
                    <a:pt x="820" y="99"/>
                  </a:lnTo>
                  <a:close/>
                  <a:moveTo>
                    <a:pt x="87" y="1446"/>
                  </a:moveTo>
                  <a:cubicBezTo>
                    <a:pt x="315" y="1027"/>
                    <a:pt x="315" y="1027"/>
                    <a:pt x="315" y="1027"/>
                  </a:cubicBezTo>
                  <a:cubicBezTo>
                    <a:pt x="855" y="1027"/>
                    <a:pt x="855" y="1027"/>
                    <a:pt x="855" y="1027"/>
                  </a:cubicBezTo>
                  <a:cubicBezTo>
                    <a:pt x="873" y="1027"/>
                    <a:pt x="887" y="1013"/>
                    <a:pt x="887" y="995"/>
                  </a:cubicBezTo>
                  <a:cubicBezTo>
                    <a:pt x="887" y="977"/>
                    <a:pt x="873" y="963"/>
                    <a:pt x="855" y="963"/>
                  </a:cubicBezTo>
                  <a:cubicBezTo>
                    <a:pt x="350" y="963"/>
                    <a:pt x="350" y="963"/>
                    <a:pt x="350" y="963"/>
                  </a:cubicBezTo>
                  <a:cubicBezTo>
                    <a:pt x="574" y="550"/>
                    <a:pt x="574" y="550"/>
                    <a:pt x="574" y="550"/>
                  </a:cubicBezTo>
                  <a:cubicBezTo>
                    <a:pt x="1066" y="550"/>
                    <a:pt x="1066" y="550"/>
                    <a:pt x="1066" y="550"/>
                  </a:cubicBezTo>
                  <a:cubicBezTo>
                    <a:pt x="1291" y="963"/>
                    <a:pt x="1291" y="963"/>
                    <a:pt x="1291" y="963"/>
                  </a:cubicBezTo>
                  <a:cubicBezTo>
                    <a:pt x="1101" y="963"/>
                    <a:pt x="1101" y="963"/>
                    <a:pt x="1101" y="963"/>
                  </a:cubicBezTo>
                  <a:cubicBezTo>
                    <a:pt x="1083" y="963"/>
                    <a:pt x="1069" y="977"/>
                    <a:pt x="1069" y="995"/>
                  </a:cubicBezTo>
                  <a:cubicBezTo>
                    <a:pt x="1069" y="1013"/>
                    <a:pt x="1083" y="1027"/>
                    <a:pt x="1101" y="1027"/>
                  </a:cubicBezTo>
                  <a:cubicBezTo>
                    <a:pt x="1325" y="1027"/>
                    <a:pt x="1325" y="1027"/>
                    <a:pt x="1325" y="1027"/>
                  </a:cubicBezTo>
                  <a:cubicBezTo>
                    <a:pt x="1554" y="1446"/>
                    <a:pt x="1554" y="1446"/>
                    <a:pt x="1554" y="1446"/>
                  </a:cubicBezTo>
                  <a:lnTo>
                    <a:pt x="87" y="1446"/>
                  </a:lnTo>
                  <a:close/>
                  <a:moveTo>
                    <a:pt x="87" y="1446"/>
                  </a:moveTo>
                  <a:cubicBezTo>
                    <a:pt x="87" y="1446"/>
                    <a:pt x="87" y="1446"/>
                    <a:pt x="87" y="14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2"/>
            <p:cNvSpPr>
              <a:spLocks noEditPoints="1"/>
            </p:cNvSpPr>
            <p:nvPr/>
          </p:nvSpPr>
          <p:spPr bwMode="auto">
            <a:xfrm>
              <a:off x="6563" y="1130"/>
              <a:ext cx="530" cy="1741"/>
            </a:xfrm>
            <a:custGeom>
              <a:avLst/>
              <a:gdLst>
                <a:gd name="T0" fmla="*/ 274 w 280"/>
                <a:gd name="T1" fmla="*/ 185 h 920"/>
                <a:gd name="T2" fmla="*/ 167 w 280"/>
                <a:gd name="T3" fmla="*/ 15 h 920"/>
                <a:gd name="T4" fmla="*/ 140 w 280"/>
                <a:gd name="T5" fmla="*/ 0 h 920"/>
                <a:gd name="T6" fmla="*/ 113 w 280"/>
                <a:gd name="T7" fmla="*/ 15 h 920"/>
                <a:gd name="T8" fmla="*/ 6 w 280"/>
                <a:gd name="T9" fmla="*/ 185 h 920"/>
                <a:gd name="T10" fmla="*/ 5 w 280"/>
                <a:gd name="T11" fmla="*/ 217 h 920"/>
                <a:gd name="T12" fmla="*/ 33 w 280"/>
                <a:gd name="T13" fmla="*/ 234 h 920"/>
                <a:gd name="T14" fmla="*/ 44 w 280"/>
                <a:gd name="T15" fmla="*/ 234 h 920"/>
                <a:gd name="T16" fmla="*/ 44 w 280"/>
                <a:gd name="T17" fmla="*/ 888 h 920"/>
                <a:gd name="T18" fmla="*/ 76 w 280"/>
                <a:gd name="T19" fmla="*/ 920 h 920"/>
                <a:gd name="T20" fmla="*/ 108 w 280"/>
                <a:gd name="T21" fmla="*/ 888 h 920"/>
                <a:gd name="T22" fmla="*/ 108 w 280"/>
                <a:gd name="T23" fmla="*/ 202 h 920"/>
                <a:gd name="T24" fmla="*/ 89 w 280"/>
                <a:gd name="T25" fmla="*/ 173 h 920"/>
                <a:gd name="T26" fmla="*/ 140 w 280"/>
                <a:gd name="T27" fmla="*/ 92 h 920"/>
                <a:gd name="T28" fmla="*/ 190 w 280"/>
                <a:gd name="T29" fmla="*/ 173 h 920"/>
                <a:gd name="T30" fmla="*/ 172 w 280"/>
                <a:gd name="T31" fmla="*/ 202 h 920"/>
                <a:gd name="T32" fmla="*/ 172 w 280"/>
                <a:gd name="T33" fmla="*/ 888 h 920"/>
                <a:gd name="T34" fmla="*/ 204 w 280"/>
                <a:gd name="T35" fmla="*/ 920 h 920"/>
                <a:gd name="T36" fmla="*/ 236 w 280"/>
                <a:gd name="T37" fmla="*/ 888 h 920"/>
                <a:gd name="T38" fmla="*/ 236 w 280"/>
                <a:gd name="T39" fmla="*/ 234 h 920"/>
                <a:gd name="T40" fmla="*/ 246 w 280"/>
                <a:gd name="T41" fmla="*/ 234 h 920"/>
                <a:gd name="T42" fmla="*/ 274 w 280"/>
                <a:gd name="T43" fmla="*/ 217 h 920"/>
                <a:gd name="T44" fmla="*/ 274 w 280"/>
                <a:gd name="T45" fmla="*/ 185 h 920"/>
                <a:gd name="T46" fmla="*/ 274 w 280"/>
                <a:gd name="T47" fmla="*/ 185 h 920"/>
                <a:gd name="T48" fmla="*/ 274 w 280"/>
                <a:gd name="T49" fmla="*/ 185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0" h="920">
                  <a:moveTo>
                    <a:pt x="274" y="185"/>
                  </a:moveTo>
                  <a:cubicBezTo>
                    <a:pt x="167" y="15"/>
                    <a:pt x="167" y="15"/>
                    <a:pt x="167" y="15"/>
                  </a:cubicBezTo>
                  <a:cubicBezTo>
                    <a:pt x="161" y="5"/>
                    <a:pt x="151" y="0"/>
                    <a:pt x="140" y="0"/>
                  </a:cubicBezTo>
                  <a:cubicBezTo>
                    <a:pt x="129" y="0"/>
                    <a:pt x="119" y="5"/>
                    <a:pt x="113" y="15"/>
                  </a:cubicBezTo>
                  <a:cubicBezTo>
                    <a:pt x="6" y="185"/>
                    <a:pt x="6" y="185"/>
                    <a:pt x="6" y="185"/>
                  </a:cubicBezTo>
                  <a:cubicBezTo>
                    <a:pt x="0" y="195"/>
                    <a:pt x="0" y="207"/>
                    <a:pt x="5" y="217"/>
                  </a:cubicBezTo>
                  <a:cubicBezTo>
                    <a:pt x="11" y="228"/>
                    <a:pt x="22" y="234"/>
                    <a:pt x="33" y="234"/>
                  </a:cubicBezTo>
                  <a:cubicBezTo>
                    <a:pt x="44" y="234"/>
                    <a:pt x="44" y="234"/>
                    <a:pt x="44" y="234"/>
                  </a:cubicBezTo>
                  <a:cubicBezTo>
                    <a:pt x="44" y="888"/>
                    <a:pt x="44" y="888"/>
                    <a:pt x="44" y="888"/>
                  </a:cubicBezTo>
                  <a:cubicBezTo>
                    <a:pt x="44" y="905"/>
                    <a:pt x="58" y="920"/>
                    <a:pt x="76" y="920"/>
                  </a:cubicBezTo>
                  <a:cubicBezTo>
                    <a:pt x="94" y="920"/>
                    <a:pt x="108" y="905"/>
                    <a:pt x="108" y="888"/>
                  </a:cubicBezTo>
                  <a:cubicBezTo>
                    <a:pt x="108" y="202"/>
                    <a:pt x="108" y="202"/>
                    <a:pt x="108" y="202"/>
                  </a:cubicBezTo>
                  <a:cubicBezTo>
                    <a:pt x="108" y="189"/>
                    <a:pt x="100" y="178"/>
                    <a:pt x="89" y="173"/>
                  </a:cubicBezTo>
                  <a:cubicBezTo>
                    <a:pt x="140" y="92"/>
                    <a:pt x="140" y="92"/>
                    <a:pt x="140" y="92"/>
                  </a:cubicBezTo>
                  <a:cubicBezTo>
                    <a:pt x="190" y="173"/>
                    <a:pt x="190" y="173"/>
                    <a:pt x="190" y="173"/>
                  </a:cubicBezTo>
                  <a:cubicBezTo>
                    <a:pt x="179" y="178"/>
                    <a:pt x="172" y="189"/>
                    <a:pt x="172" y="202"/>
                  </a:cubicBezTo>
                  <a:cubicBezTo>
                    <a:pt x="172" y="888"/>
                    <a:pt x="172" y="888"/>
                    <a:pt x="172" y="888"/>
                  </a:cubicBezTo>
                  <a:cubicBezTo>
                    <a:pt x="172" y="905"/>
                    <a:pt x="186" y="920"/>
                    <a:pt x="204" y="920"/>
                  </a:cubicBezTo>
                  <a:cubicBezTo>
                    <a:pt x="222" y="920"/>
                    <a:pt x="236" y="905"/>
                    <a:pt x="236" y="888"/>
                  </a:cubicBezTo>
                  <a:cubicBezTo>
                    <a:pt x="236" y="234"/>
                    <a:pt x="236" y="234"/>
                    <a:pt x="236" y="234"/>
                  </a:cubicBezTo>
                  <a:cubicBezTo>
                    <a:pt x="246" y="234"/>
                    <a:pt x="246" y="234"/>
                    <a:pt x="246" y="234"/>
                  </a:cubicBezTo>
                  <a:cubicBezTo>
                    <a:pt x="258" y="234"/>
                    <a:pt x="269" y="228"/>
                    <a:pt x="274" y="217"/>
                  </a:cubicBezTo>
                  <a:cubicBezTo>
                    <a:pt x="280" y="207"/>
                    <a:pt x="280" y="195"/>
                    <a:pt x="274" y="185"/>
                  </a:cubicBezTo>
                  <a:close/>
                  <a:moveTo>
                    <a:pt x="274" y="185"/>
                  </a:moveTo>
                  <a:cubicBezTo>
                    <a:pt x="274" y="185"/>
                    <a:pt x="274" y="185"/>
                    <a:pt x="274" y="1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3"/>
            <p:cNvSpPr>
              <a:spLocks noEditPoints="1"/>
            </p:cNvSpPr>
            <p:nvPr/>
          </p:nvSpPr>
          <p:spPr bwMode="auto">
            <a:xfrm>
              <a:off x="4312" y="2750"/>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4"/>
            <p:cNvSpPr>
              <a:spLocks noEditPoints="1"/>
            </p:cNvSpPr>
            <p:nvPr/>
          </p:nvSpPr>
          <p:spPr bwMode="auto">
            <a:xfrm>
              <a:off x="3984" y="1130"/>
              <a:ext cx="532" cy="1741"/>
            </a:xfrm>
            <a:custGeom>
              <a:avLst/>
              <a:gdLst>
                <a:gd name="T0" fmla="*/ 274 w 281"/>
                <a:gd name="T1" fmla="*/ 185 h 920"/>
                <a:gd name="T2" fmla="*/ 168 w 281"/>
                <a:gd name="T3" fmla="*/ 15 h 920"/>
                <a:gd name="T4" fmla="*/ 141 w 281"/>
                <a:gd name="T5" fmla="*/ 0 h 920"/>
                <a:gd name="T6" fmla="*/ 113 w 281"/>
                <a:gd name="T7" fmla="*/ 15 h 920"/>
                <a:gd name="T8" fmla="*/ 7 w 281"/>
                <a:gd name="T9" fmla="*/ 185 h 920"/>
                <a:gd name="T10" fmla="*/ 6 w 281"/>
                <a:gd name="T11" fmla="*/ 217 h 920"/>
                <a:gd name="T12" fmla="*/ 34 w 281"/>
                <a:gd name="T13" fmla="*/ 234 h 920"/>
                <a:gd name="T14" fmla="*/ 45 w 281"/>
                <a:gd name="T15" fmla="*/ 234 h 920"/>
                <a:gd name="T16" fmla="*/ 45 w 281"/>
                <a:gd name="T17" fmla="*/ 888 h 920"/>
                <a:gd name="T18" fmla="*/ 77 w 281"/>
                <a:gd name="T19" fmla="*/ 920 h 920"/>
                <a:gd name="T20" fmla="*/ 109 w 281"/>
                <a:gd name="T21" fmla="*/ 888 h 920"/>
                <a:gd name="T22" fmla="*/ 109 w 281"/>
                <a:gd name="T23" fmla="*/ 202 h 920"/>
                <a:gd name="T24" fmla="*/ 90 w 281"/>
                <a:gd name="T25" fmla="*/ 173 h 920"/>
                <a:gd name="T26" fmla="*/ 141 w 281"/>
                <a:gd name="T27" fmla="*/ 92 h 920"/>
                <a:gd name="T28" fmla="*/ 191 w 281"/>
                <a:gd name="T29" fmla="*/ 173 h 920"/>
                <a:gd name="T30" fmla="*/ 173 w 281"/>
                <a:gd name="T31" fmla="*/ 202 h 920"/>
                <a:gd name="T32" fmla="*/ 173 w 281"/>
                <a:gd name="T33" fmla="*/ 761 h 920"/>
                <a:gd name="T34" fmla="*/ 205 w 281"/>
                <a:gd name="T35" fmla="*/ 793 h 920"/>
                <a:gd name="T36" fmla="*/ 237 w 281"/>
                <a:gd name="T37" fmla="*/ 761 h 920"/>
                <a:gd name="T38" fmla="*/ 237 w 281"/>
                <a:gd name="T39" fmla="*/ 234 h 920"/>
                <a:gd name="T40" fmla="*/ 247 w 281"/>
                <a:gd name="T41" fmla="*/ 234 h 920"/>
                <a:gd name="T42" fmla="*/ 275 w 281"/>
                <a:gd name="T43" fmla="*/ 217 h 920"/>
                <a:gd name="T44" fmla="*/ 274 w 281"/>
                <a:gd name="T45" fmla="*/ 185 h 920"/>
                <a:gd name="T46" fmla="*/ 274 w 281"/>
                <a:gd name="T47" fmla="*/ 185 h 920"/>
                <a:gd name="T48" fmla="*/ 274 w 281"/>
                <a:gd name="T49" fmla="*/ 185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1" h="920">
                  <a:moveTo>
                    <a:pt x="274" y="185"/>
                  </a:moveTo>
                  <a:cubicBezTo>
                    <a:pt x="168" y="15"/>
                    <a:pt x="168" y="15"/>
                    <a:pt x="168" y="15"/>
                  </a:cubicBezTo>
                  <a:cubicBezTo>
                    <a:pt x="162" y="5"/>
                    <a:pt x="152" y="0"/>
                    <a:pt x="141" y="0"/>
                  </a:cubicBezTo>
                  <a:cubicBezTo>
                    <a:pt x="130" y="0"/>
                    <a:pt x="119" y="5"/>
                    <a:pt x="113" y="15"/>
                  </a:cubicBezTo>
                  <a:cubicBezTo>
                    <a:pt x="7" y="185"/>
                    <a:pt x="7" y="185"/>
                    <a:pt x="7" y="185"/>
                  </a:cubicBezTo>
                  <a:cubicBezTo>
                    <a:pt x="1" y="195"/>
                    <a:pt x="0" y="207"/>
                    <a:pt x="6" y="217"/>
                  </a:cubicBezTo>
                  <a:cubicBezTo>
                    <a:pt x="12" y="228"/>
                    <a:pt x="22" y="234"/>
                    <a:pt x="34" y="234"/>
                  </a:cubicBezTo>
                  <a:cubicBezTo>
                    <a:pt x="45" y="234"/>
                    <a:pt x="45" y="234"/>
                    <a:pt x="45" y="234"/>
                  </a:cubicBezTo>
                  <a:cubicBezTo>
                    <a:pt x="45" y="888"/>
                    <a:pt x="45" y="888"/>
                    <a:pt x="45" y="888"/>
                  </a:cubicBezTo>
                  <a:cubicBezTo>
                    <a:pt x="45" y="905"/>
                    <a:pt x="59" y="920"/>
                    <a:pt x="77" y="920"/>
                  </a:cubicBezTo>
                  <a:cubicBezTo>
                    <a:pt x="94" y="920"/>
                    <a:pt x="109" y="905"/>
                    <a:pt x="109" y="888"/>
                  </a:cubicBezTo>
                  <a:cubicBezTo>
                    <a:pt x="109" y="202"/>
                    <a:pt x="109" y="202"/>
                    <a:pt x="109" y="202"/>
                  </a:cubicBezTo>
                  <a:cubicBezTo>
                    <a:pt x="109" y="189"/>
                    <a:pt x="101" y="178"/>
                    <a:pt x="90" y="173"/>
                  </a:cubicBezTo>
                  <a:cubicBezTo>
                    <a:pt x="141" y="92"/>
                    <a:pt x="141" y="92"/>
                    <a:pt x="141" y="92"/>
                  </a:cubicBezTo>
                  <a:cubicBezTo>
                    <a:pt x="191" y="173"/>
                    <a:pt x="191" y="173"/>
                    <a:pt x="191" y="173"/>
                  </a:cubicBezTo>
                  <a:cubicBezTo>
                    <a:pt x="180" y="178"/>
                    <a:pt x="173" y="189"/>
                    <a:pt x="173" y="202"/>
                  </a:cubicBezTo>
                  <a:cubicBezTo>
                    <a:pt x="173" y="761"/>
                    <a:pt x="173" y="761"/>
                    <a:pt x="173" y="761"/>
                  </a:cubicBezTo>
                  <a:cubicBezTo>
                    <a:pt x="173" y="779"/>
                    <a:pt x="187" y="793"/>
                    <a:pt x="205" y="793"/>
                  </a:cubicBezTo>
                  <a:cubicBezTo>
                    <a:pt x="222" y="793"/>
                    <a:pt x="237" y="779"/>
                    <a:pt x="237" y="761"/>
                  </a:cubicBezTo>
                  <a:cubicBezTo>
                    <a:pt x="237" y="234"/>
                    <a:pt x="237" y="234"/>
                    <a:pt x="237" y="234"/>
                  </a:cubicBezTo>
                  <a:cubicBezTo>
                    <a:pt x="247" y="234"/>
                    <a:pt x="247" y="234"/>
                    <a:pt x="247" y="234"/>
                  </a:cubicBezTo>
                  <a:cubicBezTo>
                    <a:pt x="259" y="234"/>
                    <a:pt x="269" y="228"/>
                    <a:pt x="275" y="217"/>
                  </a:cubicBezTo>
                  <a:cubicBezTo>
                    <a:pt x="281" y="207"/>
                    <a:pt x="280" y="195"/>
                    <a:pt x="274" y="185"/>
                  </a:cubicBezTo>
                  <a:close/>
                  <a:moveTo>
                    <a:pt x="274" y="185"/>
                  </a:moveTo>
                  <a:cubicBezTo>
                    <a:pt x="274" y="185"/>
                    <a:pt x="274" y="185"/>
                    <a:pt x="274" y="1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5" name="Group 300"/>
          <p:cNvGrpSpPr>
            <a:grpSpLocks noChangeAspect="1"/>
          </p:cNvGrpSpPr>
          <p:nvPr/>
        </p:nvGrpSpPr>
        <p:grpSpPr bwMode="auto">
          <a:xfrm>
            <a:off x="2450142" y="4107973"/>
            <a:ext cx="457201" cy="457200"/>
            <a:chOff x="3619" y="577"/>
            <a:chExt cx="3102" cy="3102"/>
          </a:xfrm>
          <a:solidFill>
            <a:schemeClr val="accent1"/>
          </a:solidFill>
        </p:grpSpPr>
        <p:sp>
          <p:nvSpPr>
            <p:cNvPr id="307" name="Freeform 301"/>
            <p:cNvSpPr>
              <a:spLocks noEditPoints="1"/>
            </p:cNvSpPr>
            <p:nvPr/>
          </p:nvSpPr>
          <p:spPr bwMode="auto">
            <a:xfrm>
              <a:off x="4638" y="577"/>
              <a:ext cx="1066" cy="2388"/>
            </a:xfrm>
            <a:custGeom>
              <a:avLst/>
              <a:gdLst>
                <a:gd name="T0" fmla="*/ 390 w 563"/>
                <a:gd name="T1" fmla="*/ 239 h 1261"/>
                <a:gd name="T2" fmla="*/ 416 w 563"/>
                <a:gd name="T3" fmla="*/ 160 h 1261"/>
                <a:gd name="T4" fmla="*/ 416 w 563"/>
                <a:gd name="T5" fmla="*/ 134 h 1261"/>
                <a:gd name="T6" fmla="*/ 281 w 563"/>
                <a:gd name="T7" fmla="*/ 0 h 1261"/>
                <a:gd name="T8" fmla="*/ 147 w 563"/>
                <a:gd name="T9" fmla="*/ 134 h 1261"/>
                <a:gd name="T10" fmla="*/ 147 w 563"/>
                <a:gd name="T11" fmla="*/ 160 h 1261"/>
                <a:gd name="T12" fmla="*/ 173 w 563"/>
                <a:gd name="T13" fmla="*/ 239 h 1261"/>
                <a:gd name="T14" fmla="*/ 0 w 563"/>
                <a:gd name="T15" fmla="*/ 467 h 1261"/>
                <a:gd name="T16" fmla="*/ 0 w 563"/>
                <a:gd name="T17" fmla="*/ 710 h 1261"/>
                <a:gd name="T18" fmla="*/ 96 w 563"/>
                <a:gd name="T19" fmla="*/ 806 h 1261"/>
                <a:gd name="T20" fmla="*/ 121 w 563"/>
                <a:gd name="T21" fmla="*/ 806 h 1261"/>
                <a:gd name="T22" fmla="*/ 121 w 563"/>
                <a:gd name="T23" fmla="*/ 1229 h 1261"/>
                <a:gd name="T24" fmla="*/ 153 w 563"/>
                <a:gd name="T25" fmla="*/ 1261 h 1261"/>
                <a:gd name="T26" fmla="*/ 409 w 563"/>
                <a:gd name="T27" fmla="*/ 1261 h 1261"/>
                <a:gd name="T28" fmla="*/ 441 w 563"/>
                <a:gd name="T29" fmla="*/ 1229 h 1261"/>
                <a:gd name="T30" fmla="*/ 441 w 563"/>
                <a:gd name="T31" fmla="*/ 806 h 1261"/>
                <a:gd name="T32" fmla="*/ 467 w 563"/>
                <a:gd name="T33" fmla="*/ 806 h 1261"/>
                <a:gd name="T34" fmla="*/ 563 w 563"/>
                <a:gd name="T35" fmla="*/ 710 h 1261"/>
                <a:gd name="T36" fmla="*/ 563 w 563"/>
                <a:gd name="T37" fmla="*/ 467 h 1261"/>
                <a:gd name="T38" fmla="*/ 390 w 563"/>
                <a:gd name="T39" fmla="*/ 239 h 1261"/>
                <a:gd name="T40" fmla="*/ 211 w 563"/>
                <a:gd name="T41" fmla="*/ 134 h 1261"/>
                <a:gd name="T42" fmla="*/ 281 w 563"/>
                <a:gd name="T43" fmla="*/ 64 h 1261"/>
                <a:gd name="T44" fmla="*/ 352 w 563"/>
                <a:gd name="T45" fmla="*/ 134 h 1261"/>
                <a:gd name="T46" fmla="*/ 352 w 563"/>
                <a:gd name="T47" fmla="*/ 160 h 1261"/>
                <a:gd name="T48" fmla="*/ 281 w 563"/>
                <a:gd name="T49" fmla="*/ 230 h 1261"/>
                <a:gd name="T50" fmla="*/ 211 w 563"/>
                <a:gd name="T51" fmla="*/ 160 h 1261"/>
                <a:gd name="T52" fmla="*/ 211 w 563"/>
                <a:gd name="T53" fmla="*/ 134 h 1261"/>
                <a:gd name="T54" fmla="*/ 377 w 563"/>
                <a:gd name="T55" fmla="*/ 1197 h 1261"/>
                <a:gd name="T56" fmla="*/ 314 w 563"/>
                <a:gd name="T57" fmla="*/ 1197 h 1261"/>
                <a:gd name="T58" fmla="*/ 314 w 563"/>
                <a:gd name="T59" fmla="*/ 853 h 1261"/>
                <a:gd name="T60" fmla="*/ 313 w 563"/>
                <a:gd name="T61" fmla="*/ 848 h 1261"/>
                <a:gd name="T62" fmla="*/ 313 w 563"/>
                <a:gd name="T63" fmla="*/ 755 h 1261"/>
                <a:gd name="T64" fmla="*/ 281 w 563"/>
                <a:gd name="T65" fmla="*/ 723 h 1261"/>
                <a:gd name="T66" fmla="*/ 249 w 563"/>
                <a:gd name="T67" fmla="*/ 755 h 1261"/>
                <a:gd name="T68" fmla="*/ 249 w 563"/>
                <a:gd name="T69" fmla="*/ 1197 h 1261"/>
                <a:gd name="T70" fmla="*/ 185 w 563"/>
                <a:gd name="T71" fmla="*/ 1197 h 1261"/>
                <a:gd name="T72" fmla="*/ 185 w 563"/>
                <a:gd name="T73" fmla="*/ 670 h 1261"/>
                <a:gd name="T74" fmla="*/ 377 w 563"/>
                <a:gd name="T75" fmla="*/ 670 h 1261"/>
                <a:gd name="T76" fmla="*/ 377 w 563"/>
                <a:gd name="T77" fmla="*/ 1197 h 1261"/>
                <a:gd name="T78" fmla="*/ 499 w 563"/>
                <a:gd name="T79" fmla="*/ 710 h 1261"/>
                <a:gd name="T80" fmla="*/ 467 w 563"/>
                <a:gd name="T81" fmla="*/ 742 h 1261"/>
                <a:gd name="T82" fmla="*/ 441 w 563"/>
                <a:gd name="T83" fmla="*/ 742 h 1261"/>
                <a:gd name="T84" fmla="*/ 441 w 563"/>
                <a:gd name="T85" fmla="*/ 600 h 1261"/>
                <a:gd name="T86" fmla="*/ 409 w 563"/>
                <a:gd name="T87" fmla="*/ 568 h 1261"/>
                <a:gd name="T88" fmla="*/ 377 w 563"/>
                <a:gd name="T89" fmla="*/ 600 h 1261"/>
                <a:gd name="T90" fmla="*/ 377 w 563"/>
                <a:gd name="T91" fmla="*/ 606 h 1261"/>
                <a:gd name="T92" fmla="*/ 185 w 563"/>
                <a:gd name="T93" fmla="*/ 606 h 1261"/>
                <a:gd name="T94" fmla="*/ 185 w 563"/>
                <a:gd name="T95" fmla="*/ 480 h 1261"/>
                <a:gd name="T96" fmla="*/ 153 w 563"/>
                <a:gd name="T97" fmla="*/ 448 h 1261"/>
                <a:gd name="T98" fmla="*/ 121 w 563"/>
                <a:gd name="T99" fmla="*/ 480 h 1261"/>
                <a:gd name="T100" fmla="*/ 121 w 563"/>
                <a:gd name="T101" fmla="*/ 742 h 1261"/>
                <a:gd name="T102" fmla="*/ 96 w 563"/>
                <a:gd name="T103" fmla="*/ 742 h 1261"/>
                <a:gd name="T104" fmla="*/ 64 w 563"/>
                <a:gd name="T105" fmla="*/ 710 h 1261"/>
                <a:gd name="T106" fmla="*/ 64 w 563"/>
                <a:gd name="T107" fmla="*/ 467 h 1261"/>
                <a:gd name="T108" fmla="*/ 236 w 563"/>
                <a:gd name="T109" fmla="*/ 294 h 1261"/>
                <a:gd name="T110" fmla="*/ 326 w 563"/>
                <a:gd name="T111" fmla="*/ 294 h 1261"/>
                <a:gd name="T112" fmla="*/ 499 w 563"/>
                <a:gd name="T113" fmla="*/ 467 h 1261"/>
                <a:gd name="T114" fmla="*/ 499 w 563"/>
                <a:gd name="T115" fmla="*/ 710 h 1261"/>
                <a:gd name="T116" fmla="*/ 499 w 563"/>
                <a:gd name="T117" fmla="*/ 710 h 1261"/>
                <a:gd name="T118" fmla="*/ 499 w 563"/>
                <a:gd name="T119" fmla="*/ 710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3" h="1261">
                  <a:moveTo>
                    <a:pt x="390" y="239"/>
                  </a:moveTo>
                  <a:cubicBezTo>
                    <a:pt x="406" y="217"/>
                    <a:pt x="416" y="190"/>
                    <a:pt x="416" y="160"/>
                  </a:cubicBezTo>
                  <a:cubicBezTo>
                    <a:pt x="416" y="134"/>
                    <a:pt x="416" y="134"/>
                    <a:pt x="416" y="134"/>
                  </a:cubicBezTo>
                  <a:cubicBezTo>
                    <a:pt x="416" y="60"/>
                    <a:pt x="355" y="0"/>
                    <a:pt x="281" y="0"/>
                  </a:cubicBezTo>
                  <a:cubicBezTo>
                    <a:pt x="207" y="0"/>
                    <a:pt x="147" y="60"/>
                    <a:pt x="147" y="134"/>
                  </a:cubicBezTo>
                  <a:cubicBezTo>
                    <a:pt x="147" y="160"/>
                    <a:pt x="147" y="160"/>
                    <a:pt x="147" y="160"/>
                  </a:cubicBezTo>
                  <a:cubicBezTo>
                    <a:pt x="147" y="190"/>
                    <a:pt x="156" y="217"/>
                    <a:pt x="173" y="239"/>
                  </a:cubicBezTo>
                  <a:cubicBezTo>
                    <a:pt x="73" y="267"/>
                    <a:pt x="0" y="359"/>
                    <a:pt x="0" y="467"/>
                  </a:cubicBezTo>
                  <a:cubicBezTo>
                    <a:pt x="0" y="710"/>
                    <a:pt x="0" y="710"/>
                    <a:pt x="0" y="710"/>
                  </a:cubicBezTo>
                  <a:cubicBezTo>
                    <a:pt x="0" y="763"/>
                    <a:pt x="43" y="806"/>
                    <a:pt x="96" y="806"/>
                  </a:cubicBezTo>
                  <a:cubicBezTo>
                    <a:pt x="121" y="806"/>
                    <a:pt x="121" y="806"/>
                    <a:pt x="121" y="806"/>
                  </a:cubicBezTo>
                  <a:cubicBezTo>
                    <a:pt x="121" y="1229"/>
                    <a:pt x="121" y="1229"/>
                    <a:pt x="121" y="1229"/>
                  </a:cubicBezTo>
                  <a:cubicBezTo>
                    <a:pt x="121" y="1246"/>
                    <a:pt x="136" y="1261"/>
                    <a:pt x="153" y="1261"/>
                  </a:cubicBezTo>
                  <a:cubicBezTo>
                    <a:pt x="409" y="1261"/>
                    <a:pt x="409" y="1261"/>
                    <a:pt x="409" y="1261"/>
                  </a:cubicBezTo>
                  <a:cubicBezTo>
                    <a:pt x="427" y="1261"/>
                    <a:pt x="441" y="1246"/>
                    <a:pt x="441" y="1229"/>
                  </a:cubicBezTo>
                  <a:cubicBezTo>
                    <a:pt x="441" y="806"/>
                    <a:pt x="441" y="806"/>
                    <a:pt x="441" y="806"/>
                  </a:cubicBezTo>
                  <a:cubicBezTo>
                    <a:pt x="467" y="806"/>
                    <a:pt x="467" y="806"/>
                    <a:pt x="467" y="806"/>
                  </a:cubicBezTo>
                  <a:cubicBezTo>
                    <a:pt x="520" y="806"/>
                    <a:pt x="563" y="763"/>
                    <a:pt x="563" y="710"/>
                  </a:cubicBezTo>
                  <a:cubicBezTo>
                    <a:pt x="563" y="467"/>
                    <a:pt x="563" y="467"/>
                    <a:pt x="563" y="467"/>
                  </a:cubicBezTo>
                  <a:cubicBezTo>
                    <a:pt x="563" y="359"/>
                    <a:pt x="489" y="267"/>
                    <a:pt x="390" y="239"/>
                  </a:cubicBezTo>
                  <a:close/>
                  <a:moveTo>
                    <a:pt x="211" y="134"/>
                  </a:moveTo>
                  <a:cubicBezTo>
                    <a:pt x="211" y="96"/>
                    <a:pt x="242" y="64"/>
                    <a:pt x="281" y="64"/>
                  </a:cubicBezTo>
                  <a:cubicBezTo>
                    <a:pt x="320" y="64"/>
                    <a:pt x="352" y="96"/>
                    <a:pt x="352" y="134"/>
                  </a:cubicBezTo>
                  <a:cubicBezTo>
                    <a:pt x="352" y="160"/>
                    <a:pt x="352" y="160"/>
                    <a:pt x="352" y="160"/>
                  </a:cubicBezTo>
                  <a:cubicBezTo>
                    <a:pt x="352" y="199"/>
                    <a:pt x="320" y="230"/>
                    <a:pt x="281" y="230"/>
                  </a:cubicBezTo>
                  <a:cubicBezTo>
                    <a:pt x="242" y="230"/>
                    <a:pt x="211" y="199"/>
                    <a:pt x="211" y="160"/>
                  </a:cubicBezTo>
                  <a:lnTo>
                    <a:pt x="211" y="134"/>
                  </a:lnTo>
                  <a:close/>
                  <a:moveTo>
                    <a:pt x="377" y="1197"/>
                  </a:moveTo>
                  <a:cubicBezTo>
                    <a:pt x="314" y="1197"/>
                    <a:pt x="314" y="1197"/>
                    <a:pt x="314" y="1197"/>
                  </a:cubicBezTo>
                  <a:cubicBezTo>
                    <a:pt x="314" y="853"/>
                    <a:pt x="314" y="853"/>
                    <a:pt x="314" y="853"/>
                  </a:cubicBezTo>
                  <a:cubicBezTo>
                    <a:pt x="314" y="851"/>
                    <a:pt x="313" y="850"/>
                    <a:pt x="313" y="848"/>
                  </a:cubicBezTo>
                  <a:cubicBezTo>
                    <a:pt x="313" y="755"/>
                    <a:pt x="313" y="755"/>
                    <a:pt x="313" y="755"/>
                  </a:cubicBezTo>
                  <a:cubicBezTo>
                    <a:pt x="313" y="738"/>
                    <a:pt x="299" y="723"/>
                    <a:pt x="281" y="723"/>
                  </a:cubicBezTo>
                  <a:cubicBezTo>
                    <a:pt x="264" y="723"/>
                    <a:pt x="249" y="738"/>
                    <a:pt x="249" y="755"/>
                  </a:cubicBezTo>
                  <a:cubicBezTo>
                    <a:pt x="249" y="1197"/>
                    <a:pt x="249" y="1197"/>
                    <a:pt x="249" y="1197"/>
                  </a:cubicBezTo>
                  <a:cubicBezTo>
                    <a:pt x="185" y="1197"/>
                    <a:pt x="185" y="1197"/>
                    <a:pt x="185" y="1197"/>
                  </a:cubicBezTo>
                  <a:cubicBezTo>
                    <a:pt x="185" y="670"/>
                    <a:pt x="185" y="670"/>
                    <a:pt x="185" y="670"/>
                  </a:cubicBezTo>
                  <a:cubicBezTo>
                    <a:pt x="377" y="670"/>
                    <a:pt x="377" y="670"/>
                    <a:pt x="377" y="670"/>
                  </a:cubicBezTo>
                  <a:lnTo>
                    <a:pt x="377" y="1197"/>
                  </a:lnTo>
                  <a:close/>
                  <a:moveTo>
                    <a:pt x="499" y="710"/>
                  </a:moveTo>
                  <a:cubicBezTo>
                    <a:pt x="499" y="728"/>
                    <a:pt x="484" y="742"/>
                    <a:pt x="467" y="742"/>
                  </a:cubicBezTo>
                  <a:cubicBezTo>
                    <a:pt x="441" y="742"/>
                    <a:pt x="441" y="742"/>
                    <a:pt x="441" y="742"/>
                  </a:cubicBezTo>
                  <a:cubicBezTo>
                    <a:pt x="441" y="600"/>
                    <a:pt x="441" y="600"/>
                    <a:pt x="441" y="600"/>
                  </a:cubicBezTo>
                  <a:cubicBezTo>
                    <a:pt x="441" y="582"/>
                    <a:pt x="427" y="568"/>
                    <a:pt x="409" y="568"/>
                  </a:cubicBezTo>
                  <a:cubicBezTo>
                    <a:pt x="392" y="568"/>
                    <a:pt x="377" y="582"/>
                    <a:pt x="377" y="600"/>
                  </a:cubicBezTo>
                  <a:cubicBezTo>
                    <a:pt x="377" y="606"/>
                    <a:pt x="377" y="606"/>
                    <a:pt x="377" y="606"/>
                  </a:cubicBezTo>
                  <a:cubicBezTo>
                    <a:pt x="185" y="606"/>
                    <a:pt x="185" y="606"/>
                    <a:pt x="185" y="606"/>
                  </a:cubicBezTo>
                  <a:cubicBezTo>
                    <a:pt x="185" y="480"/>
                    <a:pt x="185" y="480"/>
                    <a:pt x="185" y="480"/>
                  </a:cubicBezTo>
                  <a:cubicBezTo>
                    <a:pt x="185" y="462"/>
                    <a:pt x="171" y="448"/>
                    <a:pt x="153" y="448"/>
                  </a:cubicBezTo>
                  <a:cubicBezTo>
                    <a:pt x="136" y="448"/>
                    <a:pt x="121" y="462"/>
                    <a:pt x="121" y="480"/>
                  </a:cubicBezTo>
                  <a:cubicBezTo>
                    <a:pt x="121" y="742"/>
                    <a:pt x="121" y="742"/>
                    <a:pt x="121" y="742"/>
                  </a:cubicBezTo>
                  <a:cubicBezTo>
                    <a:pt x="96" y="742"/>
                    <a:pt x="96" y="742"/>
                    <a:pt x="96" y="742"/>
                  </a:cubicBezTo>
                  <a:cubicBezTo>
                    <a:pt x="78" y="742"/>
                    <a:pt x="64" y="728"/>
                    <a:pt x="64" y="710"/>
                  </a:cubicBezTo>
                  <a:cubicBezTo>
                    <a:pt x="64" y="467"/>
                    <a:pt x="64" y="467"/>
                    <a:pt x="64" y="467"/>
                  </a:cubicBezTo>
                  <a:cubicBezTo>
                    <a:pt x="64" y="372"/>
                    <a:pt x="141" y="294"/>
                    <a:pt x="236" y="294"/>
                  </a:cubicBezTo>
                  <a:cubicBezTo>
                    <a:pt x="326" y="294"/>
                    <a:pt x="326" y="294"/>
                    <a:pt x="326" y="294"/>
                  </a:cubicBezTo>
                  <a:cubicBezTo>
                    <a:pt x="421" y="294"/>
                    <a:pt x="499" y="372"/>
                    <a:pt x="499" y="467"/>
                  </a:cubicBezTo>
                  <a:lnTo>
                    <a:pt x="499" y="710"/>
                  </a:lnTo>
                  <a:close/>
                  <a:moveTo>
                    <a:pt x="499" y="710"/>
                  </a:moveTo>
                  <a:cubicBezTo>
                    <a:pt x="499" y="710"/>
                    <a:pt x="499" y="710"/>
                    <a:pt x="499" y="7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302"/>
            <p:cNvSpPr>
              <a:spLocks noEditPoints="1"/>
            </p:cNvSpPr>
            <p:nvPr/>
          </p:nvSpPr>
          <p:spPr bwMode="auto">
            <a:xfrm>
              <a:off x="5715" y="2905"/>
              <a:ext cx="1006" cy="528"/>
            </a:xfrm>
            <a:custGeom>
              <a:avLst/>
              <a:gdLst>
                <a:gd name="T0" fmla="*/ 516 w 531"/>
                <a:gd name="T1" fmla="*/ 113 h 279"/>
                <a:gd name="T2" fmla="*/ 346 w 531"/>
                <a:gd name="T3" fmla="*/ 7 h 279"/>
                <a:gd name="T4" fmla="*/ 314 w 531"/>
                <a:gd name="T5" fmla="*/ 6 h 279"/>
                <a:gd name="T6" fmla="*/ 297 w 531"/>
                <a:gd name="T7" fmla="*/ 34 h 279"/>
                <a:gd name="T8" fmla="*/ 297 w 531"/>
                <a:gd name="T9" fmla="*/ 45 h 279"/>
                <a:gd name="T10" fmla="*/ 32 w 531"/>
                <a:gd name="T11" fmla="*/ 45 h 279"/>
                <a:gd name="T12" fmla="*/ 0 w 531"/>
                <a:gd name="T13" fmla="*/ 77 h 279"/>
                <a:gd name="T14" fmla="*/ 32 w 531"/>
                <a:gd name="T15" fmla="*/ 109 h 279"/>
                <a:gd name="T16" fmla="*/ 329 w 531"/>
                <a:gd name="T17" fmla="*/ 109 h 279"/>
                <a:gd name="T18" fmla="*/ 358 w 531"/>
                <a:gd name="T19" fmla="*/ 90 h 279"/>
                <a:gd name="T20" fmla="*/ 439 w 531"/>
                <a:gd name="T21" fmla="*/ 141 h 279"/>
                <a:gd name="T22" fmla="*/ 358 w 531"/>
                <a:gd name="T23" fmla="*/ 191 h 279"/>
                <a:gd name="T24" fmla="*/ 329 w 531"/>
                <a:gd name="T25" fmla="*/ 173 h 279"/>
                <a:gd name="T26" fmla="*/ 32 w 531"/>
                <a:gd name="T27" fmla="*/ 173 h 279"/>
                <a:gd name="T28" fmla="*/ 0 w 531"/>
                <a:gd name="T29" fmla="*/ 205 h 279"/>
                <a:gd name="T30" fmla="*/ 32 w 531"/>
                <a:gd name="T31" fmla="*/ 237 h 279"/>
                <a:gd name="T32" fmla="*/ 297 w 531"/>
                <a:gd name="T33" fmla="*/ 237 h 279"/>
                <a:gd name="T34" fmla="*/ 297 w 531"/>
                <a:gd name="T35" fmla="*/ 247 h 279"/>
                <a:gd name="T36" fmla="*/ 314 w 531"/>
                <a:gd name="T37" fmla="*/ 275 h 279"/>
                <a:gd name="T38" fmla="*/ 329 w 531"/>
                <a:gd name="T39" fmla="*/ 279 h 279"/>
                <a:gd name="T40" fmla="*/ 346 w 531"/>
                <a:gd name="T41" fmla="*/ 274 h 279"/>
                <a:gd name="T42" fmla="*/ 516 w 531"/>
                <a:gd name="T43" fmla="*/ 168 h 279"/>
                <a:gd name="T44" fmla="*/ 531 w 531"/>
                <a:gd name="T45" fmla="*/ 141 h 279"/>
                <a:gd name="T46" fmla="*/ 516 w 531"/>
                <a:gd name="T47" fmla="*/ 113 h 279"/>
                <a:gd name="T48" fmla="*/ 516 w 531"/>
                <a:gd name="T49" fmla="*/ 113 h 279"/>
                <a:gd name="T50" fmla="*/ 516 w 531"/>
                <a:gd name="T51" fmla="*/ 11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1" h="279">
                  <a:moveTo>
                    <a:pt x="516" y="113"/>
                  </a:moveTo>
                  <a:cubicBezTo>
                    <a:pt x="346" y="7"/>
                    <a:pt x="346" y="7"/>
                    <a:pt x="346" y="7"/>
                  </a:cubicBezTo>
                  <a:cubicBezTo>
                    <a:pt x="336" y="1"/>
                    <a:pt x="324" y="0"/>
                    <a:pt x="314" y="6"/>
                  </a:cubicBezTo>
                  <a:cubicBezTo>
                    <a:pt x="304" y="12"/>
                    <a:pt x="297" y="22"/>
                    <a:pt x="297" y="34"/>
                  </a:cubicBezTo>
                  <a:cubicBezTo>
                    <a:pt x="297" y="45"/>
                    <a:pt x="297" y="45"/>
                    <a:pt x="297" y="45"/>
                  </a:cubicBezTo>
                  <a:cubicBezTo>
                    <a:pt x="32" y="45"/>
                    <a:pt x="32" y="45"/>
                    <a:pt x="32" y="45"/>
                  </a:cubicBezTo>
                  <a:cubicBezTo>
                    <a:pt x="14" y="45"/>
                    <a:pt x="0" y="59"/>
                    <a:pt x="0" y="77"/>
                  </a:cubicBezTo>
                  <a:cubicBezTo>
                    <a:pt x="0" y="94"/>
                    <a:pt x="14" y="109"/>
                    <a:pt x="32" y="109"/>
                  </a:cubicBezTo>
                  <a:cubicBezTo>
                    <a:pt x="329" y="109"/>
                    <a:pt x="329" y="109"/>
                    <a:pt x="329" y="109"/>
                  </a:cubicBezTo>
                  <a:cubicBezTo>
                    <a:pt x="342" y="109"/>
                    <a:pt x="353" y="101"/>
                    <a:pt x="358" y="90"/>
                  </a:cubicBezTo>
                  <a:cubicBezTo>
                    <a:pt x="439" y="141"/>
                    <a:pt x="439" y="141"/>
                    <a:pt x="439" y="141"/>
                  </a:cubicBezTo>
                  <a:cubicBezTo>
                    <a:pt x="358" y="191"/>
                    <a:pt x="358" y="191"/>
                    <a:pt x="358" y="191"/>
                  </a:cubicBezTo>
                  <a:cubicBezTo>
                    <a:pt x="353" y="180"/>
                    <a:pt x="342" y="173"/>
                    <a:pt x="329" y="173"/>
                  </a:cubicBezTo>
                  <a:cubicBezTo>
                    <a:pt x="32" y="173"/>
                    <a:pt x="32" y="173"/>
                    <a:pt x="32" y="173"/>
                  </a:cubicBezTo>
                  <a:cubicBezTo>
                    <a:pt x="14" y="173"/>
                    <a:pt x="0" y="187"/>
                    <a:pt x="0" y="205"/>
                  </a:cubicBezTo>
                  <a:cubicBezTo>
                    <a:pt x="0" y="222"/>
                    <a:pt x="14" y="237"/>
                    <a:pt x="32" y="237"/>
                  </a:cubicBezTo>
                  <a:cubicBezTo>
                    <a:pt x="297" y="237"/>
                    <a:pt x="297" y="237"/>
                    <a:pt x="297" y="237"/>
                  </a:cubicBezTo>
                  <a:cubicBezTo>
                    <a:pt x="297" y="247"/>
                    <a:pt x="297" y="247"/>
                    <a:pt x="297" y="247"/>
                  </a:cubicBezTo>
                  <a:cubicBezTo>
                    <a:pt x="297" y="259"/>
                    <a:pt x="304" y="270"/>
                    <a:pt x="314" y="275"/>
                  </a:cubicBezTo>
                  <a:cubicBezTo>
                    <a:pt x="319" y="278"/>
                    <a:pt x="324" y="279"/>
                    <a:pt x="329" y="279"/>
                  </a:cubicBezTo>
                  <a:cubicBezTo>
                    <a:pt x="335" y="279"/>
                    <a:pt x="341" y="278"/>
                    <a:pt x="346" y="274"/>
                  </a:cubicBezTo>
                  <a:cubicBezTo>
                    <a:pt x="516" y="168"/>
                    <a:pt x="516" y="168"/>
                    <a:pt x="516" y="168"/>
                  </a:cubicBezTo>
                  <a:cubicBezTo>
                    <a:pt x="526" y="162"/>
                    <a:pt x="531" y="152"/>
                    <a:pt x="531" y="141"/>
                  </a:cubicBezTo>
                  <a:cubicBezTo>
                    <a:pt x="531" y="130"/>
                    <a:pt x="526" y="119"/>
                    <a:pt x="516" y="113"/>
                  </a:cubicBezTo>
                  <a:close/>
                  <a:moveTo>
                    <a:pt x="516" y="113"/>
                  </a:moveTo>
                  <a:cubicBezTo>
                    <a:pt x="516" y="113"/>
                    <a:pt x="516" y="113"/>
                    <a:pt x="516" y="1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303"/>
            <p:cNvSpPr>
              <a:spLocks noEditPoints="1"/>
            </p:cNvSpPr>
            <p:nvPr/>
          </p:nvSpPr>
          <p:spPr bwMode="auto">
            <a:xfrm>
              <a:off x="4905" y="3100"/>
              <a:ext cx="530" cy="579"/>
            </a:xfrm>
            <a:custGeom>
              <a:avLst/>
              <a:gdLst>
                <a:gd name="T0" fmla="*/ 275 w 280"/>
                <a:gd name="T1" fmla="*/ 89 h 306"/>
                <a:gd name="T2" fmla="*/ 247 w 280"/>
                <a:gd name="T3" fmla="*/ 72 h 306"/>
                <a:gd name="T4" fmla="*/ 236 w 280"/>
                <a:gd name="T5" fmla="*/ 72 h 306"/>
                <a:gd name="T6" fmla="*/ 236 w 280"/>
                <a:gd name="T7" fmla="*/ 32 h 306"/>
                <a:gd name="T8" fmla="*/ 204 w 280"/>
                <a:gd name="T9" fmla="*/ 0 h 306"/>
                <a:gd name="T10" fmla="*/ 172 w 280"/>
                <a:gd name="T11" fmla="*/ 32 h 306"/>
                <a:gd name="T12" fmla="*/ 172 w 280"/>
                <a:gd name="T13" fmla="*/ 104 h 306"/>
                <a:gd name="T14" fmla="*/ 191 w 280"/>
                <a:gd name="T15" fmla="*/ 133 h 306"/>
                <a:gd name="T16" fmla="*/ 140 w 280"/>
                <a:gd name="T17" fmla="*/ 214 h 306"/>
                <a:gd name="T18" fmla="*/ 90 w 280"/>
                <a:gd name="T19" fmla="*/ 133 h 306"/>
                <a:gd name="T20" fmla="*/ 108 w 280"/>
                <a:gd name="T21" fmla="*/ 104 h 306"/>
                <a:gd name="T22" fmla="*/ 108 w 280"/>
                <a:gd name="T23" fmla="*/ 32 h 306"/>
                <a:gd name="T24" fmla="*/ 76 w 280"/>
                <a:gd name="T25" fmla="*/ 0 h 306"/>
                <a:gd name="T26" fmla="*/ 44 w 280"/>
                <a:gd name="T27" fmla="*/ 32 h 306"/>
                <a:gd name="T28" fmla="*/ 44 w 280"/>
                <a:gd name="T29" fmla="*/ 72 h 306"/>
                <a:gd name="T30" fmla="*/ 34 w 280"/>
                <a:gd name="T31" fmla="*/ 72 h 306"/>
                <a:gd name="T32" fmla="*/ 6 w 280"/>
                <a:gd name="T33" fmla="*/ 89 h 306"/>
                <a:gd name="T34" fmla="*/ 7 w 280"/>
                <a:gd name="T35" fmla="*/ 121 h 306"/>
                <a:gd name="T36" fmla="*/ 113 w 280"/>
                <a:gd name="T37" fmla="*/ 291 h 306"/>
                <a:gd name="T38" fmla="*/ 140 w 280"/>
                <a:gd name="T39" fmla="*/ 306 h 306"/>
                <a:gd name="T40" fmla="*/ 167 w 280"/>
                <a:gd name="T41" fmla="*/ 291 h 306"/>
                <a:gd name="T42" fmla="*/ 274 w 280"/>
                <a:gd name="T43" fmla="*/ 121 h 306"/>
                <a:gd name="T44" fmla="*/ 275 w 280"/>
                <a:gd name="T45" fmla="*/ 89 h 306"/>
                <a:gd name="T46" fmla="*/ 275 w 280"/>
                <a:gd name="T47" fmla="*/ 89 h 306"/>
                <a:gd name="T48" fmla="*/ 275 w 280"/>
                <a:gd name="T49" fmla="*/ 8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0" h="306">
                  <a:moveTo>
                    <a:pt x="275" y="89"/>
                  </a:moveTo>
                  <a:cubicBezTo>
                    <a:pt x="269" y="79"/>
                    <a:pt x="258" y="72"/>
                    <a:pt x="247" y="72"/>
                  </a:cubicBezTo>
                  <a:cubicBezTo>
                    <a:pt x="236" y="72"/>
                    <a:pt x="236" y="72"/>
                    <a:pt x="236" y="72"/>
                  </a:cubicBezTo>
                  <a:cubicBezTo>
                    <a:pt x="236" y="32"/>
                    <a:pt x="236" y="32"/>
                    <a:pt x="236" y="32"/>
                  </a:cubicBezTo>
                  <a:cubicBezTo>
                    <a:pt x="236" y="15"/>
                    <a:pt x="222" y="0"/>
                    <a:pt x="204" y="0"/>
                  </a:cubicBezTo>
                  <a:cubicBezTo>
                    <a:pt x="187" y="0"/>
                    <a:pt x="172" y="15"/>
                    <a:pt x="172" y="32"/>
                  </a:cubicBezTo>
                  <a:cubicBezTo>
                    <a:pt x="172" y="104"/>
                    <a:pt x="172" y="104"/>
                    <a:pt x="172" y="104"/>
                  </a:cubicBezTo>
                  <a:cubicBezTo>
                    <a:pt x="172" y="117"/>
                    <a:pt x="180" y="128"/>
                    <a:pt x="191" y="133"/>
                  </a:cubicBezTo>
                  <a:cubicBezTo>
                    <a:pt x="140" y="214"/>
                    <a:pt x="140" y="214"/>
                    <a:pt x="140" y="214"/>
                  </a:cubicBezTo>
                  <a:cubicBezTo>
                    <a:pt x="90" y="133"/>
                    <a:pt x="90" y="133"/>
                    <a:pt x="90" y="133"/>
                  </a:cubicBezTo>
                  <a:cubicBezTo>
                    <a:pt x="101" y="128"/>
                    <a:pt x="108" y="117"/>
                    <a:pt x="108" y="104"/>
                  </a:cubicBezTo>
                  <a:cubicBezTo>
                    <a:pt x="108" y="32"/>
                    <a:pt x="108" y="32"/>
                    <a:pt x="108" y="32"/>
                  </a:cubicBezTo>
                  <a:cubicBezTo>
                    <a:pt x="108" y="15"/>
                    <a:pt x="94" y="0"/>
                    <a:pt x="76" y="0"/>
                  </a:cubicBezTo>
                  <a:cubicBezTo>
                    <a:pt x="59" y="0"/>
                    <a:pt x="44" y="15"/>
                    <a:pt x="44" y="32"/>
                  </a:cubicBezTo>
                  <a:cubicBezTo>
                    <a:pt x="44" y="72"/>
                    <a:pt x="44" y="72"/>
                    <a:pt x="44" y="72"/>
                  </a:cubicBezTo>
                  <a:cubicBezTo>
                    <a:pt x="34" y="72"/>
                    <a:pt x="34" y="72"/>
                    <a:pt x="34" y="72"/>
                  </a:cubicBezTo>
                  <a:cubicBezTo>
                    <a:pt x="22" y="72"/>
                    <a:pt x="11" y="79"/>
                    <a:pt x="6" y="89"/>
                  </a:cubicBezTo>
                  <a:cubicBezTo>
                    <a:pt x="0" y="99"/>
                    <a:pt x="0" y="111"/>
                    <a:pt x="7" y="121"/>
                  </a:cubicBezTo>
                  <a:cubicBezTo>
                    <a:pt x="113" y="291"/>
                    <a:pt x="113" y="291"/>
                    <a:pt x="113" y="291"/>
                  </a:cubicBezTo>
                  <a:cubicBezTo>
                    <a:pt x="119" y="301"/>
                    <a:pt x="129" y="306"/>
                    <a:pt x="140" y="306"/>
                  </a:cubicBezTo>
                  <a:cubicBezTo>
                    <a:pt x="151" y="306"/>
                    <a:pt x="161" y="301"/>
                    <a:pt x="167" y="291"/>
                  </a:cubicBezTo>
                  <a:cubicBezTo>
                    <a:pt x="274" y="121"/>
                    <a:pt x="274" y="121"/>
                    <a:pt x="274" y="121"/>
                  </a:cubicBezTo>
                  <a:cubicBezTo>
                    <a:pt x="280" y="111"/>
                    <a:pt x="280" y="99"/>
                    <a:pt x="275" y="89"/>
                  </a:cubicBezTo>
                  <a:close/>
                  <a:moveTo>
                    <a:pt x="275" y="89"/>
                  </a:moveTo>
                  <a:cubicBezTo>
                    <a:pt x="275" y="89"/>
                    <a:pt x="275" y="89"/>
                    <a:pt x="27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304"/>
            <p:cNvSpPr>
              <a:spLocks noEditPoints="1"/>
            </p:cNvSpPr>
            <p:nvPr/>
          </p:nvSpPr>
          <p:spPr bwMode="auto">
            <a:xfrm>
              <a:off x="4505" y="3232"/>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305"/>
            <p:cNvSpPr>
              <a:spLocks noEditPoints="1"/>
            </p:cNvSpPr>
            <p:nvPr/>
          </p:nvSpPr>
          <p:spPr bwMode="auto">
            <a:xfrm>
              <a:off x="3619" y="2905"/>
              <a:ext cx="1007" cy="528"/>
            </a:xfrm>
            <a:custGeom>
              <a:avLst/>
              <a:gdLst>
                <a:gd name="T0" fmla="*/ 500 w 532"/>
                <a:gd name="T1" fmla="*/ 45 h 279"/>
                <a:gd name="T2" fmla="*/ 234 w 532"/>
                <a:gd name="T3" fmla="*/ 45 h 279"/>
                <a:gd name="T4" fmla="*/ 234 w 532"/>
                <a:gd name="T5" fmla="*/ 34 h 279"/>
                <a:gd name="T6" fmla="*/ 218 w 532"/>
                <a:gd name="T7" fmla="*/ 6 h 279"/>
                <a:gd name="T8" fmla="*/ 185 w 532"/>
                <a:gd name="T9" fmla="*/ 7 h 279"/>
                <a:gd name="T10" fmla="*/ 15 w 532"/>
                <a:gd name="T11" fmla="*/ 113 h 279"/>
                <a:gd name="T12" fmla="*/ 0 w 532"/>
                <a:gd name="T13" fmla="*/ 141 h 279"/>
                <a:gd name="T14" fmla="*/ 15 w 532"/>
                <a:gd name="T15" fmla="*/ 168 h 279"/>
                <a:gd name="T16" fmla="*/ 185 w 532"/>
                <a:gd name="T17" fmla="*/ 274 h 279"/>
                <a:gd name="T18" fmla="*/ 202 w 532"/>
                <a:gd name="T19" fmla="*/ 279 h 279"/>
                <a:gd name="T20" fmla="*/ 218 w 532"/>
                <a:gd name="T21" fmla="*/ 275 h 279"/>
                <a:gd name="T22" fmla="*/ 234 w 532"/>
                <a:gd name="T23" fmla="*/ 247 h 279"/>
                <a:gd name="T24" fmla="*/ 234 w 532"/>
                <a:gd name="T25" fmla="*/ 237 h 279"/>
                <a:gd name="T26" fmla="*/ 364 w 532"/>
                <a:gd name="T27" fmla="*/ 237 h 279"/>
                <a:gd name="T28" fmla="*/ 396 w 532"/>
                <a:gd name="T29" fmla="*/ 205 h 279"/>
                <a:gd name="T30" fmla="*/ 364 w 532"/>
                <a:gd name="T31" fmla="*/ 173 h 279"/>
                <a:gd name="T32" fmla="*/ 202 w 532"/>
                <a:gd name="T33" fmla="*/ 173 h 279"/>
                <a:gd name="T34" fmla="*/ 173 w 532"/>
                <a:gd name="T35" fmla="*/ 191 h 279"/>
                <a:gd name="T36" fmla="*/ 92 w 532"/>
                <a:gd name="T37" fmla="*/ 141 h 279"/>
                <a:gd name="T38" fmla="*/ 173 w 532"/>
                <a:gd name="T39" fmla="*/ 90 h 279"/>
                <a:gd name="T40" fmla="*/ 202 w 532"/>
                <a:gd name="T41" fmla="*/ 109 h 279"/>
                <a:gd name="T42" fmla="*/ 500 w 532"/>
                <a:gd name="T43" fmla="*/ 109 h 279"/>
                <a:gd name="T44" fmla="*/ 532 w 532"/>
                <a:gd name="T45" fmla="*/ 77 h 279"/>
                <a:gd name="T46" fmla="*/ 500 w 532"/>
                <a:gd name="T47" fmla="*/ 45 h 279"/>
                <a:gd name="T48" fmla="*/ 500 w 532"/>
                <a:gd name="T49" fmla="*/ 45 h 279"/>
                <a:gd name="T50" fmla="*/ 500 w 532"/>
                <a:gd name="T51" fmla="*/ 4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2" h="279">
                  <a:moveTo>
                    <a:pt x="500" y="45"/>
                  </a:moveTo>
                  <a:cubicBezTo>
                    <a:pt x="234" y="45"/>
                    <a:pt x="234" y="45"/>
                    <a:pt x="234" y="45"/>
                  </a:cubicBezTo>
                  <a:cubicBezTo>
                    <a:pt x="234" y="34"/>
                    <a:pt x="234" y="34"/>
                    <a:pt x="234" y="34"/>
                  </a:cubicBezTo>
                  <a:cubicBezTo>
                    <a:pt x="234" y="22"/>
                    <a:pt x="228" y="12"/>
                    <a:pt x="218" y="6"/>
                  </a:cubicBezTo>
                  <a:cubicBezTo>
                    <a:pt x="207" y="0"/>
                    <a:pt x="195" y="1"/>
                    <a:pt x="185" y="7"/>
                  </a:cubicBezTo>
                  <a:cubicBezTo>
                    <a:pt x="15" y="113"/>
                    <a:pt x="15" y="113"/>
                    <a:pt x="15" y="113"/>
                  </a:cubicBezTo>
                  <a:cubicBezTo>
                    <a:pt x="6" y="119"/>
                    <a:pt x="0" y="130"/>
                    <a:pt x="0" y="141"/>
                  </a:cubicBezTo>
                  <a:cubicBezTo>
                    <a:pt x="0" y="152"/>
                    <a:pt x="6" y="162"/>
                    <a:pt x="15" y="168"/>
                  </a:cubicBezTo>
                  <a:cubicBezTo>
                    <a:pt x="185" y="274"/>
                    <a:pt x="185" y="274"/>
                    <a:pt x="185" y="274"/>
                  </a:cubicBezTo>
                  <a:cubicBezTo>
                    <a:pt x="190" y="278"/>
                    <a:pt x="196" y="279"/>
                    <a:pt x="202" y="279"/>
                  </a:cubicBezTo>
                  <a:cubicBezTo>
                    <a:pt x="207" y="279"/>
                    <a:pt x="213" y="278"/>
                    <a:pt x="218" y="275"/>
                  </a:cubicBezTo>
                  <a:cubicBezTo>
                    <a:pt x="228" y="270"/>
                    <a:pt x="234" y="259"/>
                    <a:pt x="234" y="247"/>
                  </a:cubicBezTo>
                  <a:cubicBezTo>
                    <a:pt x="234" y="237"/>
                    <a:pt x="234" y="237"/>
                    <a:pt x="234" y="237"/>
                  </a:cubicBezTo>
                  <a:cubicBezTo>
                    <a:pt x="364" y="237"/>
                    <a:pt x="364" y="237"/>
                    <a:pt x="364" y="237"/>
                  </a:cubicBezTo>
                  <a:cubicBezTo>
                    <a:pt x="381" y="237"/>
                    <a:pt x="396" y="222"/>
                    <a:pt x="396" y="205"/>
                  </a:cubicBezTo>
                  <a:cubicBezTo>
                    <a:pt x="396" y="187"/>
                    <a:pt x="381" y="173"/>
                    <a:pt x="364" y="173"/>
                  </a:cubicBezTo>
                  <a:cubicBezTo>
                    <a:pt x="202" y="173"/>
                    <a:pt x="202" y="173"/>
                    <a:pt x="202" y="173"/>
                  </a:cubicBezTo>
                  <a:cubicBezTo>
                    <a:pt x="189" y="173"/>
                    <a:pt x="178" y="180"/>
                    <a:pt x="173" y="191"/>
                  </a:cubicBezTo>
                  <a:cubicBezTo>
                    <a:pt x="92" y="141"/>
                    <a:pt x="92" y="141"/>
                    <a:pt x="92" y="141"/>
                  </a:cubicBezTo>
                  <a:cubicBezTo>
                    <a:pt x="173" y="90"/>
                    <a:pt x="173" y="90"/>
                    <a:pt x="173" y="90"/>
                  </a:cubicBezTo>
                  <a:cubicBezTo>
                    <a:pt x="178" y="101"/>
                    <a:pt x="189" y="109"/>
                    <a:pt x="202" y="109"/>
                  </a:cubicBezTo>
                  <a:cubicBezTo>
                    <a:pt x="500" y="109"/>
                    <a:pt x="500" y="109"/>
                    <a:pt x="500" y="109"/>
                  </a:cubicBezTo>
                  <a:cubicBezTo>
                    <a:pt x="517" y="109"/>
                    <a:pt x="532" y="94"/>
                    <a:pt x="532" y="77"/>
                  </a:cubicBezTo>
                  <a:cubicBezTo>
                    <a:pt x="532" y="59"/>
                    <a:pt x="517" y="45"/>
                    <a:pt x="500" y="45"/>
                  </a:cubicBezTo>
                  <a:close/>
                  <a:moveTo>
                    <a:pt x="500" y="45"/>
                  </a:moveTo>
                  <a:cubicBezTo>
                    <a:pt x="500" y="45"/>
                    <a:pt x="500" y="45"/>
                    <a:pt x="500"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306"/>
            <p:cNvSpPr>
              <a:spLocks noEditPoints="1"/>
            </p:cNvSpPr>
            <p:nvPr/>
          </p:nvSpPr>
          <p:spPr bwMode="auto">
            <a:xfrm>
              <a:off x="5352" y="1425"/>
              <a:ext cx="121" cy="122"/>
            </a:xfrm>
            <a:custGeom>
              <a:avLst/>
              <a:gdLst>
                <a:gd name="T0" fmla="*/ 55 w 64"/>
                <a:gd name="T1" fmla="*/ 9 h 64"/>
                <a:gd name="T2" fmla="*/ 32 w 64"/>
                <a:gd name="T3" fmla="*/ 0 h 64"/>
                <a:gd name="T4" fmla="*/ 10 w 64"/>
                <a:gd name="T5" fmla="*/ 9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4"/>
                    <a:pt x="0" y="32"/>
                  </a:cubicBezTo>
                  <a:cubicBezTo>
                    <a:pt x="0" y="40"/>
                    <a:pt x="4" y="49"/>
                    <a:pt x="10" y="55"/>
                  </a:cubicBezTo>
                  <a:cubicBezTo>
                    <a:pt x="16" y="61"/>
                    <a:pt x="24" y="64"/>
                    <a:pt x="32" y="64"/>
                  </a:cubicBezTo>
                  <a:cubicBezTo>
                    <a:pt x="41"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3" name="Group 345"/>
          <p:cNvGrpSpPr>
            <a:grpSpLocks noChangeAspect="1"/>
          </p:cNvGrpSpPr>
          <p:nvPr/>
        </p:nvGrpSpPr>
        <p:grpSpPr bwMode="auto">
          <a:xfrm>
            <a:off x="3863887" y="4107973"/>
            <a:ext cx="457200" cy="457200"/>
            <a:chOff x="2488" y="1698"/>
            <a:chExt cx="3101" cy="3101"/>
          </a:xfrm>
          <a:solidFill>
            <a:schemeClr val="accent1"/>
          </a:solidFill>
        </p:grpSpPr>
        <p:sp>
          <p:nvSpPr>
            <p:cNvPr id="355" name="Freeform 346"/>
            <p:cNvSpPr>
              <a:spLocks noEditPoints="1"/>
            </p:cNvSpPr>
            <p:nvPr/>
          </p:nvSpPr>
          <p:spPr bwMode="auto">
            <a:xfrm>
              <a:off x="2488" y="1965"/>
              <a:ext cx="2836" cy="2834"/>
            </a:xfrm>
            <a:custGeom>
              <a:avLst/>
              <a:gdLst>
                <a:gd name="T0" fmla="*/ 602 w 1498"/>
                <a:gd name="T1" fmla="*/ 448 h 1497"/>
                <a:gd name="T2" fmla="*/ 480 w 1498"/>
                <a:gd name="T3" fmla="*/ 454 h 1497"/>
                <a:gd name="T4" fmla="*/ 251 w 1498"/>
                <a:gd name="T5" fmla="*/ 815 h 1497"/>
                <a:gd name="T6" fmla="*/ 287 w 1498"/>
                <a:gd name="T7" fmla="*/ 980 h 1497"/>
                <a:gd name="T8" fmla="*/ 0 w 1498"/>
                <a:gd name="T9" fmla="*/ 1465 h 1497"/>
                <a:gd name="T10" fmla="*/ 928 w 1498"/>
                <a:gd name="T11" fmla="*/ 1497 h 1497"/>
                <a:gd name="T12" fmla="*/ 960 w 1498"/>
                <a:gd name="T13" fmla="*/ 1267 h 1497"/>
                <a:gd name="T14" fmla="*/ 639 w 1498"/>
                <a:gd name="T15" fmla="*/ 980 h 1497"/>
                <a:gd name="T16" fmla="*/ 709 w 1498"/>
                <a:gd name="T17" fmla="*/ 739 h 1497"/>
                <a:gd name="T18" fmla="*/ 1498 w 1498"/>
                <a:gd name="T19" fmla="*/ 448 h 1497"/>
                <a:gd name="T20" fmla="*/ 315 w 1498"/>
                <a:gd name="T21" fmla="*/ 692 h 1497"/>
                <a:gd name="T22" fmla="*/ 480 w 1498"/>
                <a:gd name="T23" fmla="*/ 518 h 1497"/>
                <a:gd name="T24" fmla="*/ 561 w 1498"/>
                <a:gd name="T25" fmla="*/ 626 h 1497"/>
                <a:gd name="T26" fmla="*/ 379 w 1498"/>
                <a:gd name="T27" fmla="*/ 699 h 1497"/>
                <a:gd name="T28" fmla="*/ 315 w 1498"/>
                <a:gd name="T29" fmla="*/ 692 h 1497"/>
                <a:gd name="T30" fmla="*/ 656 w 1498"/>
                <a:gd name="T31" fmla="*/ 1213 h 1497"/>
                <a:gd name="T32" fmla="*/ 673 w 1498"/>
                <a:gd name="T33" fmla="*/ 1051 h 1497"/>
                <a:gd name="T34" fmla="*/ 673 w 1498"/>
                <a:gd name="T35" fmla="*/ 1044 h 1497"/>
                <a:gd name="T36" fmla="*/ 896 w 1498"/>
                <a:gd name="T37" fmla="*/ 1433 h 1497"/>
                <a:gd name="T38" fmla="*/ 64 w 1498"/>
                <a:gd name="T39" fmla="*/ 1267 h 1497"/>
                <a:gd name="T40" fmla="*/ 287 w 1498"/>
                <a:gd name="T41" fmla="*/ 1044 h 1497"/>
                <a:gd name="T42" fmla="*/ 304 w 1498"/>
                <a:gd name="T43" fmla="*/ 1213 h 1497"/>
                <a:gd name="T44" fmla="*/ 448 w 1498"/>
                <a:gd name="T45" fmla="*/ 1140 h 1497"/>
                <a:gd name="T46" fmla="*/ 480 w 1498"/>
                <a:gd name="T47" fmla="*/ 1242 h 1497"/>
                <a:gd name="T48" fmla="*/ 512 w 1498"/>
                <a:gd name="T49" fmla="*/ 1140 h 1497"/>
                <a:gd name="T50" fmla="*/ 641 w 1498"/>
                <a:gd name="T51" fmla="*/ 1217 h 1497"/>
                <a:gd name="T52" fmla="*/ 351 w 1498"/>
                <a:gd name="T53" fmla="*/ 1044 h 1497"/>
                <a:gd name="T54" fmla="*/ 609 w 1498"/>
                <a:gd name="T55" fmla="*/ 1051 h 1497"/>
                <a:gd name="T56" fmla="*/ 497 w 1498"/>
                <a:gd name="T57" fmla="*/ 1054 h 1497"/>
                <a:gd name="T58" fmla="*/ 351 w 1498"/>
                <a:gd name="T59" fmla="*/ 1126 h 1497"/>
                <a:gd name="T60" fmla="*/ 480 w 1498"/>
                <a:gd name="T61" fmla="*/ 980 h 1497"/>
                <a:gd name="T62" fmla="*/ 315 w 1498"/>
                <a:gd name="T63" fmla="*/ 763 h 1497"/>
                <a:gd name="T64" fmla="*/ 551 w 1498"/>
                <a:gd name="T65" fmla="*/ 694 h 1497"/>
                <a:gd name="T66" fmla="*/ 645 w 1498"/>
                <a:gd name="T67" fmla="*/ 815 h 1497"/>
                <a:gd name="T68" fmla="*/ 666 w 1498"/>
                <a:gd name="T69" fmla="*/ 448 h 1497"/>
                <a:gd name="T70" fmla="*/ 1434 w 1498"/>
                <a:gd name="T71" fmla="*/ 448 h 1497"/>
                <a:gd name="T72" fmla="*/ 1050 w 1498"/>
                <a:gd name="T73" fmla="*/ 832 h 1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98" h="1497">
                  <a:moveTo>
                    <a:pt x="1050" y="0"/>
                  </a:moveTo>
                  <a:cubicBezTo>
                    <a:pt x="803" y="0"/>
                    <a:pt x="602" y="201"/>
                    <a:pt x="602" y="448"/>
                  </a:cubicBezTo>
                  <a:cubicBezTo>
                    <a:pt x="602" y="462"/>
                    <a:pt x="602" y="477"/>
                    <a:pt x="604" y="491"/>
                  </a:cubicBezTo>
                  <a:cubicBezTo>
                    <a:pt x="568" y="468"/>
                    <a:pt x="526" y="454"/>
                    <a:pt x="480" y="454"/>
                  </a:cubicBezTo>
                  <a:cubicBezTo>
                    <a:pt x="354" y="454"/>
                    <a:pt x="251" y="557"/>
                    <a:pt x="251" y="684"/>
                  </a:cubicBezTo>
                  <a:cubicBezTo>
                    <a:pt x="251" y="815"/>
                    <a:pt x="251" y="815"/>
                    <a:pt x="251" y="815"/>
                  </a:cubicBezTo>
                  <a:cubicBezTo>
                    <a:pt x="251" y="880"/>
                    <a:pt x="278" y="938"/>
                    <a:pt x="321" y="980"/>
                  </a:cubicBezTo>
                  <a:cubicBezTo>
                    <a:pt x="287" y="980"/>
                    <a:pt x="287" y="980"/>
                    <a:pt x="287" y="980"/>
                  </a:cubicBezTo>
                  <a:cubicBezTo>
                    <a:pt x="129" y="980"/>
                    <a:pt x="0" y="1108"/>
                    <a:pt x="0" y="1267"/>
                  </a:cubicBezTo>
                  <a:cubicBezTo>
                    <a:pt x="0" y="1465"/>
                    <a:pt x="0" y="1465"/>
                    <a:pt x="0" y="1465"/>
                  </a:cubicBezTo>
                  <a:cubicBezTo>
                    <a:pt x="0" y="1483"/>
                    <a:pt x="14" y="1497"/>
                    <a:pt x="32" y="1497"/>
                  </a:cubicBezTo>
                  <a:cubicBezTo>
                    <a:pt x="928" y="1497"/>
                    <a:pt x="928" y="1497"/>
                    <a:pt x="928" y="1497"/>
                  </a:cubicBezTo>
                  <a:cubicBezTo>
                    <a:pt x="946" y="1497"/>
                    <a:pt x="960" y="1483"/>
                    <a:pt x="960" y="1465"/>
                  </a:cubicBezTo>
                  <a:cubicBezTo>
                    <a:pt x="960" y="1267"/>
                    <a:pt x="960" y="1267"/>
                    <a:pt x="960" y="1267"/>
                  </a:cubicBezTo>
                  <a:cubicBezTo>
                    <a:pt x="960" y="1108"/>
                    <a:pt x="831" y="980"/>
                    <a:pt x="673" y="980"/>
                  </a:cubicBezTo>
                  <a:cubicBezTo>
                    <a:pt x="639" y="980"/>
                    <a:pt x="639" y="980"/>
                    <a:pt x="639" y="980"/>
                  </a:cubicBezTo>
                  <a:cubicBezTo>
                    <a:pt x="682" y="938"/>
                    <a:pt x="709" y="880"/>
                    <a:pt x="709" y="815"/>
                  </a:cubicBezTo>
                  <a:cubicBezTo>
                    <a:pt x="709" y="739"/>
                    <a:pt x="709" y="739"/>
                    <a:pt x="709" y="739"/>
                  </a:cubicBezTo>
                  <a:cubicBezTo>
                    <a:pt x="791" y="835"/>
                    <a:pt x="913" y="896"/>
                    <a:pt x="1050" y="896"/>
                  </a:cubicBezTo>
                  <a:cubicBezTo>
                    <a:pt x="1297" y="896"/>
                    <a:pt x="1498" y="695"/>
                    <a:pt x="1498" y="448"/>
                  </a:cubicBezTo>
                  <a:cubicBezTo>
                    <a:pt x="1498" y="201"/>
                    <a:pt x="1297" y="0"/>
                    <a:pt x="1050" y="0"/>
                  </a:cubicBezTo>
                  <a:close/>
                  <a:moveTo>
                    <a:pt x="315" y="692"/>
                  </a:moveTo>
                  <a:cubicBezTo>
                    <a:pt x="315" y="684"/>
                    <a:pt x="315" y="684"/>
                    <a:pt x="315" y="684"/>
                  </a:cubicBezTo>
                  <a:cubicBezTo>
                    <a:pt x="315" y="592"/>
                    <a:pt x="389" y="518"/>
                    <a:pt x="480" y="518"/>
                  </a:cubicBezTo>
                  <a:cubicBezTo>
                    <a:pt x="568" y="518"/>
                    <a:pt x="640" y="588"/>
                    <a:pt x="645" y="675"/>
                  </a:cubicBezTo>
                  <a:cubicBezTo>
                    <a:pt x="561" y="626"/>
                    <a:pt x="561" y="626"/>
                    <a:pt x="561" y="626"/>
                  </a:cubicBezTo>
                  <a:cubicBezTo>
                    <a:pt x="548" y="618"/>
                    <a:pt x="531" y="621"/>
                    <a:pt x="521" y="633"/>
                  </a:cubicBezTo>
                  <a:cubicBezTo>
                    <a:pt x="486" y="675"/>
                    <a:pt x="434" y="699"/>
                    <a:pt x="379" y="699"/>
                  </a:cubicBezTo>
                  <a:cubicBezTo>
                    <a:pt x="315" y="699"/>
                    <a:pt x="315" y="699"/>
                    <a:pt x="315" y="699"/>
                  </a:cubicBezTo>
                  <a:lnTo>
                    <a:pt x="315" y="692"/>
                  </a:lnTo>
                  <a:close/>
                  <a:moveTo>
                    <a:pt x="641" y="1217"/>
                  </a:moveTo>
                  <a:cubicBezTo>
                    <a:pt x="646" y="1217"/>
                    <a:pt x="651" y="1216"/>
                    <a:pt x="656" y="1213"/>
                  </a:cubicBezTo>
                  <a:cubicBezTo>
                    <a:pt x="666" y="1207"/>
                    <a:pt x="673" y="1197"/>
                    <a:pt x="673" y="1185"/>
                  </a:cubicBezTo>
                  <a:cubicBezTo>
                    <a:pt x="673" y="1051"/>
                    <a:pt x="673" y="1051"/>
                    <a:pt x="673" y="1051"/>
                  </a:cubicBezTo>
                  <a:cubicBezTo>
                    <a:pt x="673" y="1049"/>
                    <a:pt x="673" y="1046"/>
                    <a:pt x="672" y="1044"/>
                  </a:cubicBezTo>
                  <a:cubicBezTo>
                    <a:pt x="673" y="1044"/>
                    <a:pt x="673" y="1044"/>
                    <a:pt x="673" y="1044"/>
                  </a:cubicBezTo>
                  <a:cubicBezTo>
                    <a:pt x="796" y="1044"/>
                    <a:pt x="896" y="1144"/>
                    <a:pt x="896" y="1267"/>
                  </a:cubicBezTo>
                  <a:cubicBezTo>
                    <a:pt x="896" y="1433"/>
                    <a:pt x="896" y="1433"/>
                    <a:pt x="896" y="1433"/>
                  </a:cubicBezTo>
                  <a:cubicBezTo>
                    <a:pt x="64" y="1433"/>
                    <a:pt x="64" y="1433"/>
                    <a:pt x="64" y="1433"/>
                  </a:cubicBezTo>
                  <a:cubicBezTo>
                    <a:pt x="64" y="1267"/>
                    <a:pt x="64" y="1267"/>
                    <a:pt x="64" y="1267"/>
                  </a:cubicBezTo>
                  <a:cubicBezTo>
                    <a:pt x="64" y="1144"/>
                    <a:pt x="164" y="1044"/>
                    <a:pt x="287" y="1044"/>
                  </a:cubicBezTo>
                  <a:cubicBezTo>
                    <a:pt x="287" y="1044"/>
                    <a:pt x="287" y="1044"/>
                    <a:pt x="287" y="1044"/>
                  </a:cubicBezTo>
                  <a:cubicBezTo>
                    <a:pt x="287" y="1185"/>
                    <a:pt x="287" y="1185"/>
                    <a:pt x="287" y="1185"/>
                  </a:cubicBezTo>
                  <a:cubicBezTo>
                    <a:pt x="287" y="1197"/>
                    <a:pt x="294" y="1207"/>
                    <a:pt x="304" y="1213"/>
                  </a:cubicBezTo>
                  <a:cubicBezTo>
                    <a:pt x="314" y="1219"/>
                    <a:pt x="327" y="1218"/>
                    <a:pt x="336" y="1212"/>
                  </a:cubicBezTo>
                  <a:cubicBezTo>
                    <a:pt x="448" y="1140"/>
                    <a:pt x="448" y="1140"/>
                    <a:pt x="448" y="1140"/>
                  </a:cubicBezTo>
                  <a:cubicBezTo>
                    <a:pt x="448" y="1210"/>
                    <a:pt x="448" y="1210"/>
                    <a:pt x="448" y="1210"/>
                  </a:cubicBezTo>
                  <a:cubicBezTo>
                    <a:pt x="448" y="1227"/>
                    <a:pt x="462" y="1242"/>
                    <a:pt x="480" y="1242"/>
                  </a:cubicBezTo>
                  <a:cubicBezTo>
                    <a:pt x="498" y="1242"/>
                    <a:pt x="512" y="1227"/>
                    <a:pt x="512" y="1210"/>
                  </a:cubicBezTo>
                  <a:cubicBezTo>
                    <a:pt x="512" y="1140"/>
                    <a:pt x="512" y="1140"/>
                    <a:pt x="512" y="1140"/>
                  </a:cubicBezTo>
                  <a:cubicBezTo>
                    <a:pt x="624" y="1212"/>
                    <a:pt x="624" y="1212"/>
                    <a:pt x="624" y="1212"/>
                  </a:cubicBezTo>
                  <a:cubicBezTo>
                    <a:pt x="629" y="1215"/>
                    <a:pt x="635" y="1217"/>
                    <a:pt x="641" y="1217"/>
                  </a:cubicBezTo>
                  <a:close/>
                  <a:moveTo>
                    <a:pt x="351" y="1126"/>
                  </a:moveTo>
                  <a:cubicBezTo>
                    <a:pt x="351" y="1044"/>
                    <a:pt x="351" y="1044"/>
                    <a:pt x="351" y="1044"/>
                  </a:cubicBezTo>
                  <a:cubicBezTo>
                    <a:pt x="610" y="1044"/>
                    <a:pt x="610" y="1044"/>
                    <a:pt x="610" y="1044"/>
                  </a:cubicBezTo>
                  <a:cubicBezTo>
                    <a:pt x="609" y="1046"/>
                    <a:pt x="609" y="1049"/>
                    <a:pt x="609" y="1051"/>
                  </a:cubicBezTo>
                  <a:cubicBezTo>
                    <a:pt x="609" y="1126"/>
                    <a:pt x="609" y="1126"/>
                    <a:pt x="609" y="1126"/>
                  </a:cubicBezTo>
                  <a:cubicBezTo>
                    <a:pt x="497" y="1054"/>
                    <a:pt x="497" y="1054"/>
                    <a:pt x="497" y="1054"/>
                  </a:cubicBezTo>
                  <a:cubicBezTo>
                    <a:pt x="487" y="1048"/>
                    <a:pt x="473" y="1048"/>
                    <a:pt x="463" y="1054"/>
                  </a:cubicBezTo>
                  <a:lnTo>
                    <a:pt x="351" y="1126"/>
                  </a:lnTo>
                  <a:close/>
                  <a:moveTo>
                    <a:pt x="645" y="815"/>
                  </a:moveTo>
                  <a:cubicBezTo>
                    <a:pt x="645" y="906"/>
                    <a:pt x="571" y="980"/>
                    <a:pt x="480" y="980"/>
                  </a:cubicBezTo>
                  <a:cubicBezTo>
                    <a:pt x="389" y="980"/>
                    <a:pt x="315" y="906"/>
                    <a:pt x="315" y="815"/>
                  </a:cubicBezTo>
                  <a:cubicBezTo>
                    <a:pt x="315" y="763"/>
                    <a:pt x="315" y="763"/>
                    <a:pt x="315" y="763"/>
                  </a:cubicBezTo>
                  <a:cubicBezTo>
                    <a:pt x="379" y="763"/>
                    <a:pt x="379" y="763"/>
                    <a:pt x="379" y="763"/>
                  </a:cubicBezTo>
                  <a:cubicBezTo>
                    <a:pt x="444" y="763"/>
                    <a:pt x="505" y="738"/>
                    <a:pt x="551" y="694"/>
                  </a:cubicBezTo>
                  <a:cubicBezTo>
                    <a:pt x="645" y="749"/>
                    <a:pt x="645" y="749"/>
                    <a:pt x="645" y="749"/>
                  </a:cubicBezTo>
                  <a:lnTo>
                    <a:pt x="645" y="815"/>
                  </a:lnTo>
                  <a:close/>
                  <a:moveTo>
                    <a:pt x="1050" y="832"/>
                  </a:moveTo>
                  <a:cubicBezTo>
                    <a:pt x="838" y="832"/>
                    <a:pt x="666" y="660"/>
                    <a:pt x="666" y="448"/>
                  </a:cubicBezTo>
                  <a:cubicBezTo>
                    <a:pt x="666" y="236"/>
                    <a:pt x="838" y="64"/>
                    <a:pt x="1050" y="64"/>
                  </a:cubicBezTo>
                  <a:cubicBezTo>
                    <a:pt x="1261" y="64"/>
                    <a:pt x="1434" y="236"/>
                    <a:pt x="1434" y="448"/>
                  </a:cubicBezTo>
                  <a:cubicBezTo>
                    <a:pt x="1434" y="660"/>
                    <a:pt x="1261" y="832"/>
                    <a:pt x="1050" y="832"/>
                  </a:cubicBezTo>
                  <a:close/>
                  <a:moveTo>
                    <a:pt x="1050" y="832"/>
                  </a:moveTo>
                  <a:cubicBezTo>
                    <a:pt x="1050" y="832"/>
                    <a:pt x="1050" y="832"/>
                    <a:pt x="1050" y="8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347"/>
            <p:cNvSpPr>
              <a:spLocks noEditPoints="1"/>
            </p:cNvSpPr>
            <p:nvPr/>
          </p:nvSpPr>
          <p:spPr bwMode="auto">
            <a:xfrm>
              <a:off x="3336" y="4415"/>
              <a:ext cx="121" cy="121"/>
            </a:xfrm>
            <a:custGeom>
              <a:avLst/>
              <a:gdLst>
                <a:gd name="T0" fmla="*/ 55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0" y="0"/>
                    <a:pt x="32" y="0"/>
                  </a:cubicBezTo>
                  <a:cubicBezTo>
                    <a:pt x="24" y="0"/>
                    <a:pt x="15" y="4"/>
                    <a:pt x="9" y="10"/>
                  </a:cubicBezTo>
                  <a:cubicBezTo>
                    <a:pt x="3" y="16"/>
                    <a:pt x="0" y="24"/>
                    <a:pt x="0" y="32"/>
                  </a:cubicBezTo>
                  <a:cubicBezTo>
                    <a:pt x="0" y="41"/>
                    <a:pt x="3" y="49"/>
                    <a:pt x="9" y="55"/>
                  </a:cubicBezTo>
                  <a:cubicBezTo>
                    <a:pt x="15" y="61"/>
                    <a:pt x="24" y="64"/>
                    <a:pt x="32" y="64"/>
                  </a:cubicBezTo>
                  <a:cubicBezTo>
                    <a:pt x="40"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348"/>
            <p:cNvSpPr>
              <a:spLocks noEditPoints="1"/>
            </p:cNvSpPr>
            <p:nvPr/>
          </p:nvSpPr>
          <p:spPr bwMode="auto">
            <a:xfrm>
              <a:off x="3665" y="4352"/>
              <a:ext cx="394" cy="121"/>
            </a:xfrm>
            <a:custGeom>
              <a:avLst/>
              <a:gdLst>
                <a:gd name="T0" fmla="*/ 176 w 208"/>
                <a:gd name="T1" fmla="*/ 0 h 64"/>
                <a:gd name="T2" fmla="*/ 32 w 208"/>
                <a:gd name="T3" fmla="*/ 0 h 64"/>
                <a:gd name="T4" fmla="*/ 0 w 208"/>
                <a:gd name="T5" fmla="*/ 32 h 64"/>
                <a:gd name="T6" fmla="*/ 32 w 208"/>
                <a:gd name="T7" fmla="*/ 64 h 64"/>
                <a:gd name="T8" fmla="*/ 176 w 208"/>
                <a:gd name="T9" fmla="*/ 64 h 64"/>
                <a:gd name="T10" fmla="*/ 208 w 208"/>
                <a:gd name="T11" fmla="*/ 32 h 64"/>
                <a:gd name="T12" fmla="*/ 176 w 208"/>
                <a:gd name="T13" fmla="*/ 0 h 64"/>
                <a:gd name="T14" fmla="*/ 176 w 208"/>
                <a:gd name="T15" fmla="*/ 0 h 64"/>
                <a:gd name="T16" fmla="*/ 176 w 208"/>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64">
                  <a:moveTo>
                    <a:pt x="176" y="0"/>
                  </a:moveTo>
                  <a:cubicBezTo>
                    <a:pt x="32" y="0"/>
                    <a:pt x="32" y="0"/>
                    <a:pt x="32" y="0"/>
                  </a:cubicBezTo>
                  <a:cubicBezTo>
                    <a:pt x="15" y="0"/>
                    <a:pt x="0" y="14"/>
                    <a:pt x="0" y="32"/>
                  </a:cubicBezTo>
                  <a:cubicBezTo>
                    <a:pt x="0" y="49"/>
                    <a:pt x="15" y="64"/>
                    <a:pt x="32" y="64"/>
                  </a:cubicBezTo>
                  <a:cubicBezTo>
                    <a:pt x="176" y="64"/>
                    <a:pt x="176" y="64"/>
                    <a:pt x="176" y="64"/>
                  </a:cubicBezTo>
                  <a:cubicBezTo>
                    <a:pt x="194" y="64"/>
                    <a:pt x="208" y="49"/>
                    <a:pt x="208" y="32"/>
                  </a:cubicBezTo>
                  <a:cubicBezTo>
                    <a:pt x="208" y="14"/>
                    <a:pt x="194" y="0"/>
                    <a:pt x="176" y="0"/>
                  </a:cubicBezTo>
                  <a:close/>
                  <a:moveTo>
                    <a:pt x="176" y="0"/>
                  </a:moveTo>
                  <a:cubicBezTo>
                    <a:pt x="176" y="0"/>
                    <a:pt x="176" y="0"/>
                    <a:pt x="1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349"/>
            <p:cNvSpPr>
              <a:spLocks noEditPoints="1"/>
            </p:cNvSpPr>
            <p:nvPr/>
          </p:nvSpPr>
          <p:spPr bwMode="auto">
            <a:xfrm>
              <a:off x="3370" y="1698"/>
              <a:ext cx="2219" cy="2230"/>
            </a:xfrm>
            <a:custGeom>
              <a:avLst/>
              <a:gdLst>
                <a:gd name="T0" fmla="*/ 584 w 1172"/>
                <a:gd name="T1" fmla="*/ 0 h 1178"/>
                <a:gd name="T2" fmla="*/ 201 w 1172"/>
                <a:gd name="T3" fmla="*/ 141 h 1178"/>
                <a:gd name="T4" fmla="*/ 3 w 1172"/>
                <a:gd name="T5" fmla="*/ 492 h 1178"/>
                <a:gd name="T6" fmla="*/ 29 w 1172"/>
                <a:gd name="T7" fmla="*/ 529 h 1178"/>
                <a:gd name="T8" fmla="*/ 66 w 1172"/>
                <a:gd name="T9" fmla="*/ 502 h 1178"/>
                <a:gd name="T10" fmla="*/ 584 w 1172"/>
                <a:gd name="T11" fmla="*/ 64 h 1178"/>
                <a:gd name="T12" fmla="*/ 1108 w 1172"/>
                <a:gd name="T13" fmla="*/ 589 h 1178"/>
                <a:gd name="T14" fmla="*/ 584 w 1172"/>
                <a:gd name="T15" fmla="*/ 1114 h 1178"/>
                <a:gd name="T16" fmla="*/ 552 w 1172"/>
                <a:gd name="T17" fmla="*/ 1146 h 1178"/>
                <a:gd name="T18" fmla="*/ 584 w 1172"/>
                <a:gd name="T19" fmla="*/ 1178 h 1178"/>
                <a:gd name="T20" fmla="*/ 1172 w 1172"/>
                <a:gd name="T21" fmla="*/ 589 h 1178"/>
                <a:gd name="T22" fmla="*/ 584 w 1172"/>
                <a:gd name="T23" fmla="*/ 0 h 1178"/>
                <a:gd name="T24" fmla="*/ 584 w 1172"/>
                <a:gd name="T25" fmla="*/ 0 h 1178"/>
                <a:gd name="T26" fmla="*/ 584 w 1172"/>
                <a:gd name="T27" fmla="*/ 0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2" h="1178">
                  <a:moveTo>
                    <a:pt x="584" y="0"/>
                  </a:moveTo>
                  <a:cubicBezTo>
                    <a:pt x="443" y="0"/>
                    <a:pt x="307" y="50"/>
                    <a:pt x="201" y="141"/>
                  </a:cubicBezTo>
                  <a:cubicBezTo>
                    <a:pt x="96" y="231"/>
                    <a:pt x="25" y="356"/>
                    <a:pt x="3" y="492"/>
                  </a:cubicBezTo>
                  <a:cubicBezTo>
                    <a:pt x="0" y="509"/>
                    <a:pt x="12" y="526"/>
                    <a:pt x="29" y="529"/>
                  </a:cubicBezTo>
                  <a:cubicBezTo>
                    <a:pt x="47" y="532"/>
                    <a:pt x="63" y="520"/>
                    <a:pt x="66" y="502"/>
                  </a:cubicBezTo>
                  <a:cubicBezTo>
                    <a:pt x="108" y="248"/>
                    <a:pt x="326" y="64"/>
                    <a:pt x="584" y="64"/>
                  </a:cubicBezTo>
                  <a:cubicBezTo>
                    <a:pt x="873" y="64"/>
                    <a:pt x="1108" y="299"/>
                    <a:pt x="1108" y="589"/>
                  </a:cubicBezTo>
                  <a:cubicBezTo>
                    <a:pt x="1108" y="878"/>
                    <a:pt x="873" y="1114"/>
                    <a:pt x="584" y="1114"/>
                  </a:cubicBezTo>
                  <a:cubicBezTo>
                    <a:pt x="566" y="1114"/>
                    <a:pt x="552" y="1128"/>
                    <a:pt x="552" y="1146"/>
                  </a:cubicBezTo>
                  <a:cubicBezTo>
                    <a:pt x="552" y="1163"/>
                    <a:pt x="566" y="1178"/>
                    <a:pt x="584" y="1178"/>
                  </a:cubicBezTo>
                  <a:cubicBezTo>
                    <a:pt x="908" y="1178"/>
                    <a:pt x="1172" y="913"/>
                    <a:pt x="1172" y="589"/>
                  </a:cubicBezTo>
                  <a:cubicBezTo>
                    <a:pt x="1172" y="264"/>
                    <a:pt x="908" y="0"/>
                    <a:pt x="584" y="0"/>
                  </a:cubicBezTo>
                  <a:close/>
                  <a:moveTo>
                    <a:pt x="584" y="0"/>
                  </a:moveTo>
                  <a:cubicBezTo>
                    <a:pt x="584" y="0"/>
                    <a:pt x="584" y="0"/>
                    <a:pt x="58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350"/>
            <p:cNvSpPr>
              <a:spLocks noEditPoints="1"/>
            </p:cNvSpPr>
            <p:nvPr/>
          </p:nvSpPr>
          <p:spPr bwMode="auto">
            <a:xfrm>
              <a:off x="4211" y="3782"/>
              <a:ext cx="130" cy="127"/>
            </a:xfrm>
            <a:custGeom>
              <a:avLst/>
              <a:gdLst>
                <a:gd name="T0" fmla="*/ 41 w 69"/>
                <a:gd name="T1" fmla="*/ 3 h 67"/>
                <a:gd name="T2" fmla="*/ 40 w 69"/>
                <a:gd name="T3" fmla="*/ 3 h 67"/>
                <a:gd name="T4" fmla="*/ 3 w 69"/>
                <a:gd name="T5" fmla="*/ 29 h 67"/>
                <a:gd name="T6" fmla="*/ 28 w 69"/>
                <a:gd name="T7" fmla="*/ 66 h 67"/>
                <a:gd name="T8" fmla="*/ 35 w 69"/>
                <a:gd name="T9" fmla="*/ 67 h 67"/>
                <a:gd name="T10" fmla="*/ 66 w 69"/>
                <a:gd name="T11" fmla="*/ 41 h 67"/>
                <a:gd name="T12" fmla="*/ 41 w 69"/>
                <a:gd name="T13" fmla="*/ 3 h 67"/>
                <a:gd name="T14" fmla="*/ 41 w 69"/>
                <a:gd name="T15" fmla="*/ 3 h 67"/>
                <a:gd name="T16" fmla="*/ 41 w 69"/>
                <a:gd name="T17" fmla="*/ 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41" y="3"/>
                  </a:moveTo>
                  <a:cubicBezTo>
                    <a:pt x="41" y="3"/>
                    <a:pt x="40" y="3"/>
                    <a:pt x="40" y="3"/>
                  </a:cubicBezTo>
                  <a:cubicBezTo>
                    <a:pt x="23" y="0"/>
                    <a:pt x="6" y="11"/>
                    <a:pt x="3" y="29"/>
                  </a:cubicBezTo>
                  <a:cubicBezTo>
                    <a:pt x="0" y="46"/>
                    <a:pt x="11" y="63"/>
                    <a:pt x="28" y="66"/>
                  </a:cubicBezTo>
                  <a:cubicBezTo>
                    <a:pt x="30" y="67"/>
                    <a:pt x="32" y="67"/>
                    <a:pt x="35" y="67"/>
                  </a:cubicBezTo>
                  <a:cubicBezTo>
                    <a:pt x="50" y="67"/>
                    <a:pt x="63" y="56"/>
                    <a:pt x="66" y="41"/>
                  </a:cubicBezTo>
                  <a:cubicBezTo>
                    <a:pt x="69" y="24"/>
                    <a:pt x="58" y="7"/>
                    <a:pt x="41" y="3"/>
                  </a:cubicBezTo>
                  <a:close/>
                  <a:moveTo>
                    <a:pt x="41" y="3"/>
                  </a:moveTo>
                  <a:cubicBezTo>
                    <a:pt x="41" y="3"/>
                    <a:pt x="41" y="3"/>
                    <a:pt x="4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351"/>
            <p:cNvSpPr>
              <a:spLocks noEditPoints="1"/>
            </p:cNvSpPr>
            <p:nvPr/>
          </p:nvSpPr>
          <p:spPr bwMode="auto">
            <a:xfrm>
              <a:off x="4241" y="2463"/>
              <a:ext cx="585" cy="411"/>
            </a:xfrm>
            <a:custGeom>
              <a:avLst/>
              <a:gdLst>
                <a:gd name="T0" fmla="*/ 296 w 309"/>
                <a:gd name="T1" fmla="*/ 13 h 217"/>
                <a:gd name="T2" fmla="*/ 251 w 309"/>
                <a:gd name="T3" fmla="*/ 13 h 217"/>
                <a:gd name="T4" fmla="*/ 124 w 309"/>
                <a:gd name="T5" fmla="*/ 140 h 217"/>
                <a:gd name="T6" fmla="*/ 57 w 309"/>
                <a:gd name="T7" fmla="*/ 73 h 217"/>
                <a:gd name="T8" fmla="*/ 12 w 309"/>
                <a:gd name="T9" fmla="*/ 73 h 217"/>
                <a:gd name="T10" fmla="*/ 12 w 309"/>
                <a:gd name="T11" fmla="*/ 118 h 217"/>
                <a:gd name="T12" fmla="*/ 102 w 309"/>
                <a:gd name="T13" fmla="*/ 207 h 217"/>
                <a:gd name="T14" fmla="*/ 124 w 309"/>
                <a:gd name="T15" fmla="*/ 217 h 217"/>
                <a:gd name="T16" fmla="*/ 147 w 309"/>
                <a:gd name="T17" fmla="*/ 207 h 217"/>
                <a:gd name="T18" fmla="*/ 296 w 309"/>
                <a:gd name="T19" fmla="*/ 58 h 217"/>
                <a:gd name="T20" fmla="*/ 296 w 309"/>
                <a:gd name="T21" fmla="*/ 13 h 217"/>
                <a:gd name="T22" fmla="*/ 296 w 309"/>
                <a:gd name="T23" fmla="*/ 13 h 217"/>
                <a:gd name="T24" fmla="*/ 296 w 309"/>
                <a:gd name="T25" fmla="*/ 1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217">
                  <a:moveTo>
                    <a:pt x="296" y="13"/>
                  </a:moveTo>
                  <a:cubicBezTo>
                    <a:pt x="284" y="0"/>
                    <a:pt x="263" y="0"/>
                    <a:pt x="251" y="13"/>
                  </a:cubicBezTo>
                  <a:cubicBezTo>
                    <a:pt x="124" y="140"/>
                    <a:pt x="124" y="140"/>
                    <a:pt x="124" y="140"/>
                  </a:cubicBezTo>
                  <a:cubicBezTo>
                    <a:pt x="57" y="73"/>
                    <a:pt x="57" y="73"/>
                    <a:pt x="57" y="73"/>
                  </a:cubicBezTo>
                  <a:cubicBezTo>
                    <a:pt x="45" y="60"/>
                    <a:pt x="25" y="60"/>
                    <a:pt x="12" y="73"/>
                  </a:cubicBezTo>
                  <a:cubicBezTo>
                    <a:pt x="0" y="85"/>
                    <a:pt x="0" y="106"/>
                    <a:pt x="12" y="118"/>
                  </a:cubicBezTo>
                  <a:cubicBezTo>
                    <a:pt x="102" y="207"/>
                    <a:pt x="102" y="207"/>
                    <a:pt x="102" y="207"/>
                  </a:cubicBezTo>
                  <a:cubicBezTo>
                    <a:pt x="108" y="214"/>
                    <a:pt x="116" y="217"/>
                    <a:pt x="124" y="217"/>
                  </a:cubicBezTo>
                  <a:cubicBezTo>
                    <a:pt x="132" y="217"/>
                    <a:pt x="141" y="214"/>
                    <a:pt x="147" y="207"/>
                  </a:cubicBezTo>
                  <a:cubicBezTo>
                    <a:pt x="296" y="58"/>
                    <a:pt x="296" y="58"/>
                    <a:pt x="296" y="58"/>
                  </a:cubicBezTo>
                  <a:cubicBezTo>
                    <a:pt x="309" y="46"/>
                    <a:pt x="309" y="25"/>
                    <a:pt x="296" y="13"/>
                  </a:cubicBezTo>
                  <a:close/>
                  <a:moveTo>
                    <a:pt x="296" y="13"/>
                  </a:moveTo>
                  <a:cubicBezTo>
                    <a:pt x="296" y="13"/>
                    <a:pt x="296" y="13"/>
                    <a:pt x="296"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352"/>
            <p:cNvSpPr>
              <a:spLocks noEditPoints="1"/>
            </p:cNvSpPr>
            <p:nvPr/>
          </p:nvSpPr>
          <p:spPr bwMode="auto">
            <a:xfrm>
              <a:off x="4415" y="2158"/>
              <a:ext cx="121" cy="165"/>
            </a:xfrm>
            <a:custGeom>
              <a:avLst/>
              <a:gdLst>
                <a:gd name="T0" fmla="*/ 32 w 64"/>
                <a:gd name="T1" fmla="*/ 0 h 87"/>
                <a:gd name="T2" fmla="*/ 0 w 64"/>
                <a:gd name="T3" fmla="*/ 32 h 87"/>
                <a:gd name="T4" fmla="*/ 0 w 64"/>
                <a:gd name="T5" fmla="*/ 55 h 87"/>
                <a:gd name="T6" fmla="*/ 32 w 64"/>
                <a:gd name="T7" fmla="*/ 87 h 87"/>
                <a:gd name="T8" fmla="*/ 64 w 64"/>
                <a:gd name="T9" fmla="*/ 55 h 87"/>
                <a:gd name="T10" fmla="*/ 64 w 64"/>
                <a:gd name="T11" fmla="*/ 32 h 87"/>
                <a:gd name="T12" fmla="*/ 32 w 64"/>
                <a:gd name="T13" fmla="*/ 0 h 87"/>
                <a:gd name="T14" fmla="*/ 32 w 64"/>
                <a:gd name="T15" fmla="*/ 0 h 87"/>
                <a:gd name="T16" fmla="*/ 32 w 64"/>
                <a:gd name="T1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87">
                  <a:moveTo>
                    <a:pt x="32" y="0"/>
                  </a:moveTo>
                  <a:cubicBezTo>
                    <a:pt x="14" y="0"/>
                    <a:pt x="0" y="15"/>
                    <a:pt x="0" y="32"/>
                  </a:cubicBezTo>
                  <a:cubicBezTo>
                    <a:pt x="0" y="55"/>
                    <a:pt x="0" y="55"/>
                    <a:pt x="0" y="55"/>
                  </a:cubicBezTo>
                  <a:cubicBezTo>
                    <a:pt x="0" y="73"/>
                    <a:pt x="14" y="87"/>
                    <a:pt x="32" y="87"/>
                  </a:cubicBezTo>
                  <a:cubicBezTo>
                    <a:pt x="49" y="87"/>
                    <a:pt x="64" y="73"/>
                    <a:pt x="64" y="55"/>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353"/>
            <p:cNvSpPr>
              <a:spLocks noEditPoints="1"/>
            </p:cNvSpPr>
            <p:nvPr/>
          </p:nvSpPr>
          <p:spPr bwMode="auto">
            <a:xfrm>
              <a:off x="4415" y="3302"/>
              <a:ext cx="121" cy="164"/>
            </a:xfrm>
            <a:custGeom>
              <a:avLst/>
              <a:gdLst>
                <a:gd name="T0" fmla="*/ 32 w 64"/>
                <a:gd name="T1" fmla="*/ 0 h 87"/>
                <a:gd name="T2" fmla="*/ 0 w 64"/>
                <a:gd name="T3" fmla="*/ 32 h 87"/>
                <a:gd name="T4" fmla="*/ 0 w 64"/>
                <a:gd name="T5" fmla="*/ 55 h 87"/>
                <a:gd name="T6" fmla="*/ 32 w 64"/>
                <a:gd name="T7" fmla="*/ 87 h 87"/>
                <a:gd name="T8" fmla="*/ 64 w 64"/>
                <a:gd name="T9" fmla="*/ 55 h 87"/>
                <a:gd name="T10" fmla="*/ 64 w 64"/>
                <a:gd name="T11" fmla="*/ 32 h 87"/>
                <a:gd name="T12" fmla="*/ 32 w 64"/>
                <a:gd name="T13" fmla="*/ 0 h 87"/>
                <a:gd name="T14" fmla="*/ 32 w 64"/>
                <a:gd name="T15" fmla="*/ 0 h 87"/>
                <a:gd name="T16" fmla="*/ 32 w 64"/>
                <a:gd name="T1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87">
                  <a:moveTo>
                    <a:pt x="32" y="0"/>
                  </a:moveTo>
                  <a:cubicBezTo>
                    <a:pt x="14" y="0"/>
                    <a:pt x="0" y="15"/>
                    <a:pt x="0" y="32"/>
                  </a:cubicBezTo>
                  <a:cubicBezTo>
                    <a:pt x="0" y="55"/>
                    <a:pt x="0" y="55"/>
                    <a:pt x="0" y="55"/>
                  </a:cubicBezTo>
                  <a:cubicBezTo>
                    <a:pt x="0" y="73"/>
                    <a:pt x="14" y="87"/>
                    <a:pt x="32" y="87"/>
                  </a:cubicBezTo>
                  <a:cubicBezTo>
                    <a:pt x="49" y="87"/>
                    <a:pt x="64" y="73"/>
                    <a:pt x="64" y="55"/>
                  </a:cubicBezTo>
                  <a:cubicBezTo>
                    <a:pt x="64" y="32"/>
                    <a:pt x="64" y="32"/>
                    <a:pt x="64" y="32"/>
                  </a:cubicBezTo>
                  <a:cubicBezTo>
                    <a:pt x="64" y="15"/>
                    <a:pt x="49"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354"/>
            <p:cNvSpPr>
              <a:spLocks noEditPoints="1"/>
            </p:cNvSpPr>
            <p:nvPr/>
          </p:nvSpPr>
          <p:spPr bwMode="auto">
            <a:xfrm>
              <a:off x="4964" y="2753"/>
              <a:ext cx="165" cy="121"/>
            </a:xfrm>
            <a:custGeom>
              <a:avLst/>
              <a:gdLst>
                <a:gd name="T0" fmla="*/ 55 w 87"/>
                <a:gd name="T1" fmla="*/ 0 h 64"/>
                <a:gd name="T2" fmla="*/ 32 w 87"/>
                <a:gd name="T3" fmla="*/ 0 h 64"/>
                <a:gd name="T4" fmla="*/ 0 w 87"/>
                <a:gd name="T5" fmla="*/ 32 h 64"/>
                <a:gd name="T6" fmla="*/ 32 w 87"/>
                <a:gd name="T7" fmla="*/ 64 h 64"/>
                <a:gd name="T8" fmla="*/ 55 w 87"/>
                <a:gd name="T9" fmla="*/ 64 h 64"/>
                <a:gd name="T10" fmla="*/ 87 w 87"/>
                <a:gd name="T11" fmla="*/ 32 h 64"/>
                <a:gd name="T12" fmla="*/ 55 w 87"/>
                <a:gd name="T13" fmla="*/ 0 h 64"/>
                <a:gd name="T14" fmla="*/ 55 w 87"/>
                <a:gd name="T15" fmla="*/ 0 h 64"/>
                <a:gd name="T16" fmla="*/ 55 w 87"/>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64">
                  <a:moveTo>
                    <a:pt x="55" y="0"/>
                  </a:moveTo>
                  <a:cubicBezTo>
                    <a:pt x="32" y="0"/>
                    <a:pt x="32" y="0"/>
                    <a:pt x="32" y="0"/>
                  </a:cubicBezTo>
                  <a:cubicBezTo>
                    <a:pt x="15" y="0"/>
                    <a:pt x="0" y="14"/>
                    <a:pt x="0" y="32"/>
                  </a:cubicBezTo>
                  <a:cubicBezTo>
                    <a:pt x="0" y="49"/>
                    <a:pt x="15" y="64"/>
                    <a:pt x="32" y="64"/>
                  </a:cubicBezTo>
                  <a:cubicBezTo>
                    <a:pt x="55" y="64"/>
                    <a:pt x="55" y="64"/>
                    <a:pt x="55" y="64"/>
                  </a:cubicBezTo>
                  <a:cubicBezTo>
                    <a:pt x="73" y="64"/>
                    <a:pt x="87" y="49"/>
                    <a:pt x="87" y="32"/>
                  </a:cubicBezTo>
                  <a:cubicBezTo>
                    <a:pt x="87" y="14"/>
                    <a:pt x="73" y="0"/>
                    <a:pt x="55" y="0"/>
                  </a:cubicBezTo>
                  <a:close/>
                  <a:moveTo>
                    <a:pt x="55" y="0"/>
                  </a:moveTo>
                  <a:cubicBezTo>
                    <a:pt x="55" y="0"/>
                    <a:pt x="55" y="0"/>
                    <a:pt x="5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355"/>
            <p:cNvSpPr>
              <a:spLocks noEditPoints="1"/>
            </p:cNvSpPr>
            <p:nvPr/>
          </p:nvSpPr>
          <p:spPr bwMode="auto">
            <a:xfrm>
              <a:off x="3821" y="2753"/>
              <a:ext cx="164" cy="121"/>
            </a:xfrm>
            <a:custGeom>
              <a:avLst/>
              <a:gdLst>
                <a:gd name="T0" fmla="*/ 55 w 87"/>
                <a:gd name="T1" fmla="*/ 0 h 64"/>
                <a:gd name="T2" fmla="*/ 32 w 87"/>
                <a:gd name="T3" fmla="*/ 0 h 64"/>
                <a:gd name="T4" fmla="*/ 0 w 87"/>
                <a:gd name="T5" fmla="*/ 32 h 64"/>
                <a:gd name="T6" fmla="*/ 32 w 87"/>
                <a:gd name="T7" fmla="*/ 64 h 64"/>
                <a:gd name="T8" fmla="*/ 55 w 87"/>
                <a:gd name="T9" fmla="*/ 64 h 64"/>
                <a:gd name="T10" fmla="*/ 87 w 87"/>
                <a:gd name="T11" fmla="*/ 32 h 64"/>
                <a:gd name="T12" fmla="*/ 55 w 87"/>
                <a:gd name="T13" fmla="*/ 0 h 64"/>
                <a:gd name="T14" fmla="*/ 55 w 87"/>
                <a:gd name="T15" fmla="*/ 0 h 64"/>
                <a:gd name="T16" fmla="*/ 55 w 87"/>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64">
                  <a:moveTo>
                    <a:pt x="55" y="0"/>
                  </a:moveTo>
                  <a:cubicBezTo>
                    <a:pt x="32" y="0"/>
                    <a:pt x="32" y="0"/>
                    <a:pt x="32" y="0"/>
                  </a:cubicBezTo>
                  <a:cubicBezTo>
                    <a:pt x="15" y="0"/>
                    <a:pt x="0" y="14"/>
                    <a:pt x="0" y="32"/>
                  </a:cubicBezTo>
                  <a:cubicBezTo>
                    <a:pt x="0" y="49"/>
                    <a:pt x="15" y="64"/>
                    <a:pt x="32" y="64"/>
                  </a:cubicBezTo>
                  <a:cubicBezTo>
                    <a:pt x="55" y="64"/>
                    <a:pt x="55" y="64"/>
                    <a:pt x="55" y="64"/>
                  </a:cubicBezTo>
                  <a:cubicBezTo>
                    <a:pt x="73" y="64"/>
                    <a:pt x="87" y="49"/>
                    <a:pt x="87" y="32"/>
                  </a:cubicBezTo>
                  <a:cubicBezTo>
                    <a:pt x="87" y="14"/>
                    <a:pt x="73" y="0"/>
                    <a:pt x="55" y="0"/>
                  </a:cubicBezTo>
                  <a:close/>
                  <a:moveTo>
                    <a:pt x="55" y="0"/>
                  </a:moveTo>
                  <a:cubicBezTo>
                    <a:pt x="55" y="0"/>
                    <a:pt x="55" y="0"/>
                    <a:pt x="5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5" name="Group 358"/>
          <p:cNvGrpSpPr>
            <a:grpSpLocks noChangeAspect="1"/>
          </p:cNvGrpSpPr>
          <p:nvPr/>
        </p:nvGrpSpPr>
        <p:grpSpPr bwMode="auto">
          <a:xfrm>
            <a:off x="9600268" y="4107973"/>
            <a:ext cx="354617" cy="457200"/>
            <a:chOff x="4428" y="1064"/>
            <a:chExt cx="2406" cy="3102"/>
          </a:xfrm>
          <a:solidFill>
            <a:schemeClr val="accent1"/>
          </a:solidFill>
        </p:grpSpPr>
        <p:sp>
          <p:nvSpPr>
            <p:cNvPr id="367" name="Freeform 359"/>
            <p:cNvSpPr>
              <a:spLocks noEditPoints="1"/>
            </p:cNvSpPr>
            <p:nvPr/>
          </p:nvSpPr>
          <p:spPr bwMode="auto">
            <a:xfrm>
              <a:off x="4471" y="1609"/>
              <a:ext cx="2363" cy="2557"/>
            </a:xfrm>
            <a:custGeom>
              <a:avLst/>
              <a:gdLst>
                <a:gd name="T0" fmla="*/ 1236 w 1247"/>
                <a:gd name="T1" fmla="*/ 252 h 1351"/>
                <a:gd name="T2" fmla="*/ 1179 w 1247"/>
                <a:gd name="T3" fmla="*/ 218 h 1351"/>
                <a:gd name="T4" fmla="*/ 997 w 1247"/>
                <a:gd name="T5" fmla="*/ 218 h 1351"/>
                <a:gd name="T6" fmla="*/ 818 w 1247"/>
                <a:gd name="T7" fmla="*/ 67 h 1351"/>
                <a:gd name="T8" fmla="*/ 638 w 1247"/>
                <a:gd name="T9" fmla="*/ 218 h 1351"/>
                <a:gd name="T10" fmla="*/ 454 w 1247"/>
                <a:gd name="T11" fmla="*/ 218 h 1351"/>
                <a:gd name="T12" fmla="*/ 477 w 1247"/>
                <a:gd name="T13" fmla="*/ 141 h 1351"/>
                <a:gd name="T14" fmla="*/ 336 w 1247"/>
                <a:gd name="T15" fmla="*/ 0 h 1351"/>
                <a:gd name="T16" fmla="*/ 195 w 1247"/>
                <a:gd name="T17" fmla="*/ 141 h 1351"/>
                <a:gd name="T18" fmla="*/ 218 w 1247"/>
                <a:gd name="T19" fmla="*/ 218 h 1351"/>
                <a:gd name="T20" fmla="*/ 68 w 1247"/>
                <a:gd name="T21" fmla="*/ 218 h 1351"/>
                <a:gd name="T22" fmla="*/ 12 w 1247"/>
                <a:gd name="T23" fmla="*/ 252 h 1351"/>
                <a:gd name="T24" fmla="*/ 15 w 1247"/>
                <a:gd name="T25" fmla="*/ 318 h 1351"/>
                <a:gd name="T26" fmla="*/ 444 w 1247"/>
                <a:gd name="T27" fmla="*/ 956 h 1351"/>
                <a:gd name="T28" fmla="*/ 444 w 1247"/>
                <a:gd name="T29" fmla="*/ 1319 h 1351"/>
                <a:gd name="T30" fmla="*/ 459 w 1247"/>
                <a:gd name="T31" fmla="*/ 1345 h 1351"/>
                <a:gd name="T32" fmla="*/ 476 w 1247"/>
                <a:gd name="T33" fmla="*/ 1351 h 1351"/>
                <a:gd name="T34" fmla="*/ 489 w 1247"/>
                <a:gd name="T35" fmla="*/ 1348 h 1351"/>
                <a:gd name="T36" fmla="*/ 784 w 1247"/>
                <a:gd name="T37" fmla="*/ 1220 h 1351"/>
                <a:gd name="T38" fmla="*/ 803 w 1247"/>
                <a:gd name="T39" fmla="*/ 1190 h 1351"/>
                <a:gd name="T40" fmla="*/ 803 w 1247"/>
                <a:gd name="T41" fmla="*/ 956 h 1351"/>
                <a:gd name="T42" fmla="*/ 1232 w 1247"/>
                <a:gd name="T43" fmla="*/ 318 h 1351"/>
                <a:gd name="T44" fmla="*/ 1236 w 1247"/>
                <a:gd name="T45" fmla="*/ 252 h 1351"/>
                <a:gd name="T46" fmla="*/ 818 w 1247"/>
                <a:gd name="T47" fmla="*/ 131 h 1351"/>
                <a:gd name="T48" fmla="*/ 932 w 1247"/>
                <a:gd name="T49" fmla="*/ 218 h 1351"/>
                <a:gd name="T50" fmla="*/ 704 w 1247"/>
                <a:gd name="T51" fmla="*/ 218 h 1351"/>
                <a:gd name="T52" fmla="*/ 818 w 1247"/>
                <a:gd name="T53" fmla="*/ 131 h 1351"/>
                <a:gd name="T54" fmla="*/ 336 w 1247"/>
                <a:gd name="T55" fmla="*/ 64 h 1351"/>
                <a:gd name="T56" fmla="*/ 413 w 1247"/>
                <a:gd name="T57" fmla="*/ 141 h 1351"/>
                <a:gd name="T58" fmla="*/ 336 w 1247"/>
                <a:gd name="T59" fmla="*/ 218 h 1351"/>
                <a:gd name="T60" fmla="*/ 259 w 1247"/>
                <a:gd name="T61" fmla="*/ 141 h 1351"/>
                <a:gd name="T62" fmla="*/ 336 w 1247"/>
                <a:gd name="T63" fmla="*/ 64 h 1351"/>
                <a:gd name="T64" fmla="*/ 744 w 1247"/>
                <a:gd name="T65" fmla="*/ 929 h 1351"/>
                <a:gd name="T66" fmla="*/ 739 w 1247"/>
                <a:gd name="T67" fmla="*/ 946 h 1351"/>
                <a:gd name="T68" fmla="*/ 739 w 1247"/>
                <a:gd name="T69" fmla="*/ 1170 h 1351"/>
                <a:gd name="T70" fmla="*/ 508 w 1247"/>
                <a:gd name="T71" fmla="*/ 1270 h 1351"/>
                <a:gd name="T72" fmla="*/ 508 w 1247"/>
                <a:gd name="T73" fmla="*/ 978 h 1351"/>
                <a:gd name="T74" fmla="*/ 624 w 1247"/>
                <a:gd name="T75" fmla="*/ 978 h 1351"/>
                <a:gd name="T76" fmla="*/ 656 w 1247"/>
                <a:gd name="T77" fmla="*/ 946 h 1351"/>
                <a:gd name="T78" fmla="*/ 624 w 1247"/>
                <a:gd name="T79" fmla="*/ 914 h 1351"/>
                <a:gd name="T80" fmla="*/ 493 w 1247"/>
                <a:gd name="T81" fmla="*/ 914 h 1351"/>
                <a:gd name="T82" fmla="*/ 171 w 1247"/>
                <a:gd name="T83" fmla="*/ 435 h 1351"/>
                <a:gd name="T84" fmla="*/ 818 w 1247"/>
                <a:gd name="T85" fmla="*/ 435 h 1351"/>
                <a:gd name="T86" fmla="*/ 850 w 1247"/>
                <a:gd name="T87" fmla="*/ 403 h 1351"/>
                <a:gd name="T88" fmla="*/ 818 w 1247"/>
                <a:gd name="T89" fmla="*/ 371 h 1351"/>
                <a:gd name="T90" fmla="*/ 128 w 1247"/>
                <a:gd name="T91" fmla="*/ 371 h 1351"/>
                <a:gd name="T92" fmla="*/ 68 w 1247"/>
                <a:gd name="T93" fmla="*/ 282 h 1351"/>
                <a:gd name="T94" fmla="*/ 1179 w 1247"/>
                <a:gd name="T95" fmla="*/ 282 h 1351"/>
                <a:gd name="T96" fmla="*/ 744 w 1247"/>
                <a:gd name="T97" fmla="*/ 929 h 1351"/>
                <a:gd name="T98" fmla="*/ 744 w 1247"/>
                <a:gd name="T99" fmla="*/ 929 h 1351"/>
                <a:gd name="T100" fmla="*/ 744 w 1247"/>
                <a:gd name="T101" fmla="*/ 929 h 1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7" h="1351">
                  <a:moveTo>
                    <a:pt x="1236" y="252"/>
                  </a:moveTo>
                  <a:cubicBezTo>
                    <a:pt x="1225" y="231"/>
                    <a:pt x="1203" y="218"/>
                    <a:pt x="1179" y="218"/>
                  </a:cubicBezTo>
                  <a:cubicBezTo>
                    <a:pt x="997" y="218"/>
                    <a:pt x="997" y="218"/>
                    <a:pt x="997" y="218"/>
                  </a:cubicBezTo>
                  <a:cubicBezTo>
                    <a:pt x="982" y="133"/>
                    <a:pt x="907" y="67"/>
                    <a:pt x="818" y="67"/>
                  </a:cubicBezTo>
                  <a:cubicBezTo>
                    <a:pt x="728" y="67"/>
                    <a:pt x="653" y="133"/>
                    <a:pt x="638" y="218"/>
                  </a:cubicBezTo>
                  <a:cubicBezTo>
                    <a:pt x="454" y="218"/>
                    <a:pt x="454" y="218"/>
                    <a:pt x="454" y="218"/>
                  </a:cubicBezTo>
                  <a:cubicBezTo>
                    <a:pt x="469" y="196"/>
                    <a:pt x="477" y="169"/>
                    <a:pt x="477" y="141"/>
                  </a:cubicBezTo>
                  <a:cubicBezTo>
                    <a:pt x="477" y="63"/>
                    <a:pt x="414" y="0"/>
                    <a:pt x="336" y="0"/>
                  </a:cubicBezTo>
                  <a:cubicBezTo>
                    <a:pt x="259" y="0"/>
                    <a:pt x="195" y="63"/>
                    <a:pt x="195" y="141"/>
                  </a:cubicBezTo>
                  <a:cubicBezTo>
                    <a:pt x="195" y="169"/>
                    <a:pt x="204" y="196"/>
                    <a:pt x="218" y="218"/>
                  </a:cubicBezTo>
                  <a:cubicBezTo>
                    <a:pt x="68" y="218"/>
                    <a:pt x="68" y="218"/>
                    <a:pt x="68" y="218"/>
                  </a:cubicBezTo>
                  <a:cubicBezTo>
                    <a:pt x="44" y="218"/>
                    <a:pt x="23" y="231"/>
                    <a:pt x="12" y="252"/>
                  </a:cubicBezTo>
                  <a:cubicBezTo>
                    <a:pt x="0" y="273"/>
                    <a:pt x="2" y="298"/>
                    <a:pt x="15" y="318"/>
                  </a:cubicBezTo>
                  <a:cubicBezTo>
                    <a:pt x="444" y="956"/>
                    <a:pt x="444" y="956"/>
                    <a:pt x="444" y="956"/>
                  </a:cubicBezTo>
                  <a:cubicBezTo>
                    <a:pt x="444" y="1319"/>
                    <a:pt x="444" y="1319"/>
                    <a:pt x="444" y="1319"/>
                  </a:cubicBezTo>
                  <a:cubicBezTo>
                    <a:pt x="444" y="1329"/>
                    <a:pt x="450" y="1340"/>
                    <a:pt x="459" y="1345"/>
                  </a:cubicBezTo>
                  <a:cubicBezTo>
                    <a:pt x="464" y="1349"/>
                    <a:pt x="470" y="1351"/>
                    <a:pt x="476" y="1351"/>
                  </a:cubicBezTo>
                  <a:cubicBezTo>
                    <a:pt x="481" y="1351"/>
                    <a:pt x="485" y="1350"/>
                    <a:pt x="489" y="1348"/>
                  </a:cubicBezTo>
                  <a:cubicBezTo>
                    <a:pt x="784" y="1220"/>
                    <a:pt x="784" y="1220"/>
                    <a:pt x="784" y="1220"/>
                  </a:cubicBezTo>
                  <a:cubicBezTo>
                    <a:pt x="795" y="1215"/>
                    <a:pt x="803" y="1203"/>
                    <a:pt x="803" y="1190"/>
                  </a:cubicBezTo>
                  <a:cubicBezTo>
                    <a:pt x="803" y="956"/>
                    <a:pt x="803" y="956"/>
                    <a:pt x="803" y="956"/>
                  </a:cubicBezTo>
                  <a:cubicBezTo>
                    <a:pt x="1232" y="318"/>
                    <a:pt x="1232" y="318"/>
                    <a:pt x="1232" y="318"/>
                  </a:cubicBezTo>
                  <a:cubicBezTo>
                    <a:pt x="1245" y="298"/>
                    <a:pt x="1247" y="273"/>
                    <a:pt x="1236" y="252"/>
                  </a:cubicBezTo>
                  <a:close/>
                  <a:moveTo>
                    <a:pt x="818" y="131"/>
                  </a:moveTo>
                  <a:cubicBezTo>
                    <a:pt x="872" y="131"/>
                    <a:pt x="918" y="168"/>
                    <a:pt x="932" y="218"/>
                  </a:cubicBezTo>
                  <a:cubicBezTo>
                    <a:pt x="704" y="218"/>
                    <a:pt x="704" y="218"/>
                    <a:pt x="704" y="218"/>
                  </a:cubicBezTo>
                  <a:cubicBezTo>
                    <a:pt x="718" y="168"/>
                    <a:pt x="764" y="131"/>
                    <a:pt x="818" y="131"/>
                  </a:cubicBezTo>
                  <a:close/>
                  <a:moveTo>
                    <a:pt x="336" y="64"/>
                  </a:moveTo>
                  <a:cubicBezTo>
                    <a:pt x="379" y="64"/>
                    <a:pt x="413" y="99"/>
                    <a:pt x="413" y="141"/>
                  </a:cubicBezTo>
                  <a:cubicBezTo>
                    <a:pt x="413" y="183"/>
                    <a:pt x="379" y="218"/>
                    <a:pt x="336" y="218"/>
                  </a:cubicBezTo>
                  <a:cubicBezTo>
                    <a:pt x="294" y="218"/>
                    <a:pt x="259" y="183"/>
                    <a:pt x="259" y="141"/>
                  </a:cubicBezTo>
                  <a:cubicBezTo>
                    <a:pt x="259" y="99"/>
                    <a:pt x="294" y="64"/>
                    <a:pt x="336" y="64"/>
                  </a:cubicBezTo>
                  <a:close/>
                  <a:moveTo>
                    <a:pt x="744" y="929"/>
                  </a:moveTo>
                  <a:cubicBezTo>
                    <a:pt x="741" y="934"/>
                    <a:pt x="739" y="940"/>
                    <a:pt x="739" y="946"/>
                  </a:cubicBezTo>
                  <a:cubicBezTo>
                    <a:pt x="739" y="1170"/>
                    <a:pt x="739" y="1170"/>
                    <a:pt x="739" y="1170"/>
                  </a:cubicBezTo>
                  <a:cubicBezTo>
                    <a:pt x="508" y="1270"/>
                    <a:pt x="508" y="1270"/>
                    <a:pt x="508" y="1270"/>
                  </a:cubicBezTo>
                  <a:cubicBezTo>
                    <a:pt x="508" y="978"/>
                    <a:pt x="508" y="978"/>
                    <a:pt x="508" y="978"/>
                  </a:cubicBezTo>
                  <a:cubicBezTo>
                    <a:pt x="624" y="978"/>
                    <a:pt x="624" y="978"/>
                    <a:pt x="624" y="978"/>
                  </a:cubicBezTo>
                  <a:cubicBezTo>
                    <a:pt x="642" y="978"/>
                    <a:pt x="656" y="964"/>
                    <a:pt x="656" y="946"/>
                  </a:cubicBezTo>
                  <a:cubicBezTo>
                    <a:pt x="656" y="929"/>
                    <a:pt x="642" y="914"/>
                    <a:pt x="624" y="914"/>
                  </a:cubicBezTo>
                  <a:cubicBezTo>
                    <a:pt x="493" y="914"/>
                    <a:pt x="493" y="914"/>
                    <a:pt x="493" y="914"/>
                  </a:cubicBezTo>
                  <a:cubicBezTo>
                    <a:pt x="171" y="435"/>
                    <a:pt x="171" y="435"/>
                    <a:pt x="171" y="435"/>
                  </a:cubicBezTo>
                  <a:cubicBezTo>
                    <a:pt x="818" y="435"/>
                    <a:pt x="818" y="435"/>
                    <a:pt x="818" y="435"/>
                  </a:cubicBezTo>
                  <a:cubicBezTo>
                    <a:pt x="836" y="435"/>
                    <a:pt x="850" y="421"/>
                    <a:pt x="850" y="403"/>
                  </a:cubicBezTo>
                  <a:cubicBezTo>
                    <a:pt x="850" y="386"/>
                    <a:pt x="836" y="371"/>
                    <a:pt x="818" y="371"/>
                  </a:cubicBezTo>
                  <a:cubicBezTo>
                    <a:pt x="128" y="371"/>
                    <a:pt x="128" y="371"/>
                    <a:pt x="128" y="371"/>
                  </a:cubicBezTo>
                  <a:cubicBezTo>
                    <a:pt x="68" y="282"/>
                    <a:pt x="68" y="282"/>
                    <a:pt x="68" y="282"/>
                  </a:cubicBezTo>
                  <a:cubicBezTo>
                    <a:pt x="1179" y="282"/>
                    <a:pt x="1179" y="282"/>
                    <a:pt x="1179" y="282"/>
                  </a:cubicBezTo>
                  <a:lnTo>
                    <a:pt x="744" y="929"/>
                  </a:lnTo>
                  <a:close/>
                  <a:moveTo>
                    <a:pt x="744" y="929"/>
                  </a:moveTo>
                  <a:cubicBezTo>
                    <a:pt x="744" y="929"/>
                    <a:pt x="744" y="929"/>
                    <a:pt x="744" y="9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360"/>
            <p:cNvSpPr>
              <a:spLocks noEditPoints="1"/>
            </p:cNvSpPr>
            <p:nvPr/>
          </p:nvSpPr>
          <p:spPr bwMode="auto">
            <a:xfrm>
              <a:off x="5593" y="1064"/>
              <a:ext cx="534" cy="534"/>
            </a:xfrm>
            <a:custGeom>
              <a:avLst/>
              <a:gdLst>
                <a:gd name="T0" fmla="*/ 141 w 282"/>
                <a:gd name="T1" fmla="*/ 0 h 282"/>
                <a:gd name="T2" fmla="*/ 0 w 282"/>
                <a:gd name="T3" fmla="*/ 141 h 282"/>
                <a:gd name="T4" fmla="*/ 141 w 282"/>
                <a:gd name="T5" fmla="*/ 282 h 282"/>
                <a:gd name="T6" fmla="*/ 282 w 282"/>
                <a:gd name="T7" fmla="*/ 141 h 282"/>
                <a:gd name="T8" fmla="*/ 141 w 282"/>
                <a:gd name="T9" fmla="*/ 0 h 282"/>
                <a:gd name="T10" fmla="*/ 141 w 282"/>
                <a:gd name="T11" fmla="*/ 218 h 282"/>
                <a:gd name="T12" fmla="*/ 64 w 282"/>
                <a:gd name="T13" fmla="*/ 141 h 282"/>
                <a:gd name="T14" fmla="*/ 141 w 282"/>
                <a:gd name="T15" fmla="*/ 64 h 282"/>
                <a:gd name="T16" fmla="*/ 218 w 282"/>
                <a:gd name="T17" fmla="*/ 141 h 282"/>
                <a:gd name="T18" fmla="*/ 141 w 282"/>
                <a:gd name="T19" fmla="*/ 218 h 282"/>
                <a:gd name="T20" fmla="*/ 141 w 282"/>
                <a:gd name="T21" fmla="*/ 218 h 282"/>
                <a:gd name="T22" fmla="*/ 141 w 282"/>
                <a:gd name="T23" fmla="*/ 21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 h="282">
                  <a:moveTo>
                    <a:pt x="141" y="0"/>
                  </a:moveTo>
                  <a:cubicBezTo>
                    <a:pt x="63" y="0"/>
                    <a:pt x="0" y="63"/>
                    <a:pt x="0" y="141"/>
                  </a:cubicBezTo>
                  <a:cubicBezTo>
                    <a:pt x="0" y="219"/>
                    <a:pt x="63" y="282"/>
                    <a:pt x="141" y="282"/>
                  </a:cubicBezTo>
                  <a:cubicBezTo>
                    <a:pt x="218" y="282"/>
                    <a:pt x="282" y="219"/>
                    <a:pt x="282" y="141"/>
                  </a:cubicBezTo>
                  <a:cubicBezTo>
                    <a:pt x="282" y="63"/>
                    <a:pt x="218" y="0"/>
                    <a:pt x="141" y="0"/>
                  </a:cubicBezTo>
                  <a:close/>
                  <a:moveTo>
                    <a:pt x="141" y="218"/>
                  </a:moveTo>
                  <a:cubicBezTo>
                    <a:pt x="98" y="218"/>
                    <a:pt x="64" y="183"/>
                    <a:pt x="64" y="141"/>
                  </a:cubicBezTo>
                  <a:cubicBezTo>
                    <a:pt x="64" y="99"/>
                    <a:pt x="98" y="64"/>
                    <a:pt x="141" y="64"/>
                  </a:cubicBezTo>
                  <a:cubicBezTo>
                    <a:pt x="183" y="64"/>
                    <a:pt x="218" y="99"/>
                    <a:pt x="218" y="141"/>
                  </a:cubicBezTo>
                  <a:cubicBezTo>
                    <a:pt x="218" y="183"/>
                    <a:pt x="183" y="218"/>
                    <a:pt x="141" y="218"/>
                  </a:cubicBezTo>
                  <a:close/>
                  <a:moveTo>
                    <a:pt x="141" y="218"/>
                  </a:moveTo>
                  <a:cubicBezTo>
                    <a:pt x="141" y="218"/>
                    <a:pt x="141" y="218"/>
                    <a:pt x="141" y="2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361"/>
            <p:cNvSpPr>
              <a:spLocks noEditPoints="1"/>
            </p:cNvSpPr>
            <p:nvPr/>
          </p:nvSpPr>
          <p:spPr bwMode="auto">
            <a:xfrm>
              <a:off x="6447" y="1357"/>
              <a:ext cx="122" cy="466"/>
            </a:xfrm>
            <a:custGeom>
              <a:avLst/>
              <a:gdLst>
                <a:gd name="T0" fmla="*/ 32 w 64"/>
                <a:gd name="T1" fmla="*/ 0 h 246"/>
                <a:gd name="T2" fmla="*/ 0 w 64"/>
                <a:gd name="T3" fmla="*/ 32 h 246"/>
                <a:gd name="T4" fmla="*/ 0 w 64"/>
                <a:gd name="T5" fmla="*/ 214 h 246"/>
                <a:gd name="T6" fmla="*/ 32 w 64"/>
                <a:gd name="T7" fmla="*/ 246 h 246"/>
                <a:gd name="T8" fmla="*/ 64 w 64"/>
                <a:gd name="T9" fmla="*/ 214 h 246"/>
                <a:gd name="T10" fmla="*/ 64 w 64"/>
                <a:gd name="T11" fmla="*/ 32 h 246"/>
                <a:gd name="T12" fmla="*/ 32 w 64"/>
                <a:gd name="T13" fmla="*/ 0 h 246"/>
                <a:gd name="T14" fmla="*/ 32 w 64"/>
                <a:gd name="T15" fmla="*/ 0 h 246"/>
                <a:gd name="T16" fmla="*/ 32 w 64"/>
                <a:gd name="T1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246">
                  <a:moveTo>
                    <a:pt x="32" y="0"/>
                  </a:moveTo>
                  <a:cubicBezTo>
                    <a:pt x="14" y="0"/>
                    <a:pt x="0" y="14"/>
                    <a:pt x="0" y="32"/>
                  </a:cubicBezTo>
                  <a:cubicBezTo>
                    <a:pt x="0" y="214"/>
                    <a:pt x="0" y="214"/>
                    <a:pt x="0" y="214"/>
                  </a:cubicBezTo>
                  <a:cubicBezTo>
                    <a:pt x="0" y="231"/>
                    <a:pt x="14" y="246"/>
                    <a:pt x="32" y="246"/>
                  </a:cubicBezTo>
                  <a:cubicBezTo>
                    <a:pt x="50" y="246"/>
                    <a:pt x="64" y="231"/>
                    <a:pt x="64" y="214"/>
                  </a:cubicBezTo>
                  <a:cubicBezTo>
                    <a:pt x="64" y="32"/>
                    <a:pt x="64" y="32"/>
                    <a:pt x="64" y="32"/>
                  </a:cubicBezTo>
                  <a:cubicBezTo>
                    <a:pt x="64" y="14"/>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362"/>
            <p:cNvSpPr>
              <a:spLocks noEditPoints="1"/>
            </p:cNvSpPr>
            <p:nvPr/>
          </p:nvSpPr>
          <p:spPr bwMode="auto">
            <a:xfrm>
              <a:off x="6447" y="1159"/>
              <a:ext cx="122"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9" y="3"/>
                    <a:pt x="40" y="0"/>
                    <a:pt x="32" y="0"/>
                  </a:cubicBezTo>
                  <a:cubicBezTo>
                    <a:pt x="23" y="0"/>
                    <a:pt x="15" y="3"/>
                    <a:pt x="9" y="9"/>
                  </a:cubicBezTo>
                  <a:cubicBezTo>
                    <a:pt x="3" y="15"/>
                    <a:pt x="0" y="23"/>
                    <a:pt x="0" y="32"/>
                  </a:cubicBezTo>
                  <a:cubicBezTo>
                    <a:pt x="0" y="40"/>
                    <a:pt x="3" y="49"/>
                    <a:pt x="9" y="54"/>
                  </a:cubicBezTo>
                  <a:cubicBezTo>
                    <a:pt x="15" y="60"/>
                    <a:pt x="23" y="64"/>
                    <a:pt x="32" y="64"/>
                  </a:cubicBezTo>
                  <a:cubicBezTo>
                    <a:pt x="40" y="64"/>
                    <a:pt x="49" y="60"/>
                    <a:pt x="54" y="54"/>
                  </a:cubicBezTo>
                  <a:cubicBezTo>
                    <a:pt x="60" y="49"/>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363"/>
            <p:cNvSpPr>
              <a:spLocks noEditPoints="1"/>
            </p:cNvSpPr>
            <p:nvPr/>
          </p:nvSpPr>
          <p:spPr bwMode="auto">
            <a:xfrm>
              <a:off x="5254" y="1142"/>
              <a:ext cx="121" cy="369"/>
            </a:xfrm>
            <a:custGeom>
              <a:avLst/>
              <a:gdLst>
                <a:gd name="T0" fmla="*/ 32 w 64"/>
                <a:gd name="T1" fmla="*/ 0 h 195"/>
                <a:gd name="T2" fmla="*/ 0 w 64"/>
                <a:gd name="T3" fmla="*/ 32 h 195"/>
                <a:gd name="T4" fmla="*/ 0 w 64"/>
                <a:gd name="T5" fmla="*/ 163 h 195"/>
                <a:gd name="T6" fmla="*/ 32 w 64"/>
                <a:gd name="T7" fmla="*/ 195 h 195"/>
                <a:gd name="T8" fmla="*/ 64 w 64"/>
                <a:gd name="T9" fmla="*/ 163 h 195"/>
                <a:gd name="T10" fmla="*/ 64 w 64"/>
                <a:gd name="T11" fmla="*/ 32 h 195"/>
                <a:gd name="T12" fmla="*/ 32 w 64"/>
                <a:gd name="T13" fmla="*/ 0 h 195"/>
                <a:gd name="T14" fmla="*/ 32 w 64"/>
                <a:gd name="T15" fmla="*/ 0 h 195"/>
                <a:gd name="T16" fmla="*/ 32 w 64"/>
                <a:gd name="T1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5">
                  <a:moveTo>
                    <a:pt x="32" y="0"/>
                  </a:moveTo>
                  <a:cubicBezTo>
                    <a:pt x="14" y="0"/>
                    <a:pt x="0" y="14"/>
                    <a:pt x="0" y="32"/>
                  </a:cubicBezTo>
                  <a:cubicBezTo>
                    <a:pt x="0" y="163"/>
                    <a:pt x="0" y="163"/>
                    <a:pt x="0" y="163"/>
                  </a:cubicBezTo>
                  <a:cubicBezTo>
                    <a:pt x="0" y="181"/>
                    <a:pt x="14" y="195"/>
                    <a:pt x="32" y="195"/>
                  </a:cubicBezTo>
                  <a:cubicBezTo>
                    <a:pt x="50" y="195"/>
                    <a:pt x="64" y="181"/>
                    <a:pt x="64" y="163"/>
                  </a:cubicBezTo>
                  <a:cubicBezTo>
                    <a:pt x="64" y="32"/>
                    <a:pt x="64" y="32"/>
                    <a:pt x="64" y="32"/>
                  </a:cubicBezTo>
                  <a:cubicBezTo>
                    <a:pt x="64" y="14"/>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364"/>
            <p:cNvSpPr>
              <a:spLocks noEditPoints="1"/>
            </p:cNvSpPr>
            <p:nvPr/>
          </p:nvSpPr>
          <p:spPr bwMode="auto">
            <a:xfrm>
              <a:off x="4428" y="1064"/>
              <a:ext cx="121" cy="517"/>
            </a:xfrm>
            <a:custGeom>
              <a:avLst/>
              <a:gdLst>
                <a:gd name="T0" fmla="*/ 32 w 64"/>
                <a:gd name="T1" fmla="*/ 0 h 273"/>
                <a:gd name="T2" fmla="*/ 0 w 64"/>
                <a:gd name="T3" fmla="*/ 32 h 273"/>
                <a:gd name="T4" fmla="*/ 0 w 64"/>
                <a:gd name="T5" fmla="*/ 241 h 273"/>
                <a:gd name="T6" fmla="*/ 32 w 64"/>
                <a:gd name="T7" fmla="*/ 273 h 273"/>
                <a:gd name="T8" fmla="*/ 64 w 64"/>
                <a:gd name="T9" fmla="*/ 241 h 273"/>
                <a:gd name="T10" fmla="*/ 64 w 64"/>
                <a:gd name="T11" fmla="*/ 32 h 273"/>
                <a:gd name="T12" fmla="*/ 32 w 64"/>
                <a:gd name="T13" fmla="*/ 0 h 273"/>
                <a:gd name="T14" fmla="*/ 32 w 64"/>
                <a:gd name="T15" fmla="*/ 0 h 273"/>
                <a:gd name="T16" fmla="*/ 32 w 64"/>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273">
                  <a:moveTo>
                    <a:pt x="32" y="0"/>
                  </a:moveTo>
                  <a:cubicBezTo>
                    <a:pt x="15" y="0"/>
                    <a:pt x="0" y="15"/>
                    <a:pt x="0" y="32"/>
                  </a:cubicBezTo>
                  <a:cubicBezTo>
                    <a:pt x="0" y="241"/>
                    <a:pt x="0" y="241"/>
                    <a:pt x="0" y="241"/>
                  </a:cubicBezTo>
                  <a:cubicBezTo>
                    <a:pt x="0" y="258"/>
                    <a:pt x="15" y="273"/>
                    <a:pt x="32" y="273"/>
                  </a:cubicBezTo>
                  <a:cubicBezTo>
                    <a:pt x="50" y="273"/>
                    <a:pt x="64" y="258"/>
                    <a:pt x="64" y="241"/>
                  </a:cubicBezTo>
                  <a:cubicBezTo>
                    <a:pt x="64" y="32"/>
                    <a:pt x="64" y="32"/>
                    <a:pt x="64" y="32"/>
                  </a:cubicBezTo>
                  <a:cubicBezTo>
                    <a:pt x="64" y="15"/>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365"/>
            <p:cNvSpPr>
              <a:spLocks noEditPoints="1"/>
            </p:cNvSpPr>
            <p:nvPr/>
          </p:nvSpPr>
          <p:spPr bwMode="auto">
            <a:xfrm>
              <a:off x="4428" y="1687"/>
              <a:ext cx="121" cy="121"/>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366"/>
            <p:cNvSpPr>
              <a:spLocks noEditPoints="1"/>
            </p:cNvSpPr>
            <p:nvPr/>
          </p:nvSpPr>
          <p:spPr bwMode="auto">
            <a:xfrm>
              <a:off x="6230" y="2311"/>
              <a:ext cx="121" cy="122"/>
            </a:xfrm>
            <a:custGeom>
              <a:avLst/>
              <a:gdLst>
                <a:gd name="T0" fmla="*/ 55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5" y="4"/>
                    <a:pt x="9" y="10"/>
                  </a:cubicBezTo>
                  <a:cubicBezTo>
                    <a:pt x="4" y="16"/>
                    <a:pt x="0" y="24"/>
                    <a:pt x="0" y="32"/>
                  </a:cubicBezTo>
                  <a:cubicBezTo>
                    <a:pt x="0" y="41"/>
                    <a:pt x="4" y="49"/>
                    <a:pt x="9" y="55"/>
                  </a:cubicBezTo>
                  <a:cubicBezTo>
                    <a:pt x="15"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5" name="Group 369"/>
          <p:cNvGrpSpPr>
            <a:grpSpLocks noChangeAspect="1"/>
          </p:cNvGrpSpPr>
          <p:nvPr/>
        </p:nvGrpSpPr>
        <p:grpSpPr bwMode="auto">
          <a:xfrm>
            <a:off x="8972173" y="4107973"/>
            <a:ext cx="378423" cy="457200"/>
            <a:chOff x="1077" y="1451"/>
            <a:chExt cx="2570" cy="3105"/>
          </a:xfrm>
          <a:solidFill>
            <a:schemeClr val="accent1"/>
          </a:solidFill>
        </p:grpSpPr>
        <p:sp>
          <p:nvSpPr>
            <p:cNvPr id="377" name="Freeform 370"/>
            <p:cNvSpPr>
              <a:spLocks noEditPoints="1"/>
            </p:cNvSpPr>
            <p:nvPr/>
          </p:nvSpPr>
          <p:spPr bwMode="auto">
            <a:xfrm>
              <a:off x="1810" y="2453"/>
              <a:ext cx="1102" cy="1104"/>
            </a:xfrm>
            <a:custGeom>
              <a:avLst/>
              <a:gdLst>
                <a:gd name="T0" fmla="*/ 291 w 582"/>
                <a:gd name="T1" fmla="*/ 0 h 583"/>
                <a:gd name="T2" fmla="*/ 0 w 582"/>
                <a:gd name="T3" fmla="*/ 291 h 583"/>
                <a:gd name="T4" fmla="*/ 44 w 582"/>
                <a:gd name="T5" fmla="*/ 446 h 583"/>
                <a:gd name="T6" fmla="*/ 47 w 582"/>
                <a:gd name="T7" fmla="*/ 450 h 583"/>
                <a:gd name="T8" fmla="*/ 291 w 582"/>
                <a:gd name="T9" fmla="*/ 583 h 583"/>
                <a:gd name="T10" fmla="*/ 582 w 582"/>
                <a:gd name="T11" fmla="*/ 291 h 583"/>
                <a:gd name="T12" fmla="*/ 291 w 582"/>
                <a:gd name="T13" fmla="*/ 0 h 583"/>
                <a:gd name="T14" fmla="*/ 81 w 582"/>
                <a:gd name="T15" fmla="*/ 377 h 583"/>
                <a:gd name="T16" fmla="*/ 64 w 582"/>
                <a:gd name="T17" fmla="*/ 291 h 583"/>
                <a:gd name="T18" fmla="*/ 291 w 582"/>
                <a:gd name="T19" fmla="*/ 64 h 583"/>
                <a:gd name="T20" fmla="*/ 477 w 582"/>
                <a:gd name="T21" fmla="*/ 161 h 583"/>
                <a:gd name="T22" fmla="*/ 301 w 582"/>
                <a:gd name="T23" fmla="*/ 337 h 583"/>
                <a:gd name="T24" fmla="*/ 234 w 582"/>
                <a:gd name="T25" fmla="*/ 270 h 583"/>
                <a:gd name="T26" fmla="*/ 189 w 582"/>
                <a:gd name="T27" fmla="*/ 270 h 583"/>
                <a:gd name="T28" fmla="*/ 81 w 582"/>
                <a:gd name="T29" fmla="*/ 377 h 583"/>
                <a:gd name="T30" fmla="*/ 291 w 582"/>
                <a:gd name="T31" fmla="*/ 519 h 583"/>
                <a:gd name="T32" fmla="*/ 115 w 582"/>
                <a:gd name="T33" fmla="*/ 434 h 583"/>
                <a:gd name="T34" fmla="*/ 211 w 582"/>
                <a:gd name="T35" fmla="*/ 337 h 583"/>
                <a:gd name="T36" fmla="*/ 279 w 582"/>
                <a:gd name="T37" fmla="*/ 404 h 583"/>
                <a:gd name="T38" fmla="*/ 324 w 582"/>
                <a:gd name="T39" fmla="*/ 404 h 583"/>
                <a:gd name="T40" fmla="*/ 507 w 582"/>
                <a:gd name="T41" fmla="*/ 221 h 583"/>
                <a:gd name="T42" fmla="*/ 518 w 582"/>
                <a:gd name="T43" fmla="*/ 291 h 583"/>
                <a:gd name="T44" fmla="*/ 291 w 582"/>
                <a:gd name="T45" fmla="*/ 519 h 583"/>
                <a:gd name="T46" fmla="*/ 291 w 582"/>
                <a:gd name="T47" fmla="*/ 519 h 583"/>
                <a:gd name="T48" fmla="*/ 291 w 582"/>
                <a:gd name="T49" fmla="*/ 519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2" h="583">
                  <a:moveTo>
                    <a:pt x="291" y="0"/>
                  </a:moveTo>
                  <a:cubicBezTo>
                    <a:pt x="131" y="0"/>
                    <a:pt x="0" y="131"/>
                    <a:pt x="0" y="291"/>
                  </a:cubicBezTo>
                  <a:cubicBezTo>
                    <a:pt x="0" y="348"/>
                    <a:pt x="16" y="401"/>
                    <a:pt x="44" y="446"/>
                  </a:cubicBezTo>
                  <a:cubicBezTo>
                    <a:pt x="45" y="447"/>
                    <a:pt x="46" y="449"/>
                    <a:pt x="47" y="450"/>
                  </a:cubicBezTo>
                  <a:cubicBezTo>
                    <a:pt x="99" y="530"/>
                    <a:pt x="189" y="583"/>
                    <a:pt x="291" y="583"/>
                  </a:cubicBezTo>
                  <a:cubicBezTo>
                    <a:pt x="452" y="583"/>
                    <a:pt x="582" y="452"/>
                    <a:pt x="582" y="291"/>
                  </a:cubicBezTo>
                  <a:cubicBezTo>
                    <a:pt x="582" y="131"/>
                    <a:pt x="452" y="0"/>
                    <a:pt x="291" y="0"/>
                  </a:cubicBezTo>
                  <a:close/>
                  <a:moveTo>
                    <a:pt x="81" y="377"/>
                  </a:moveTo>
                  <a:cubicBezTo>
                    <a:pt x="70" y="351"/>
                    <a:pt x="64" y="322"/>
                    <a:pt x="64" y="291"/>
                  </a:cubicBezTo>
                  <a:cubicBezTo>
                    <a:pt x="64" y="166"/>
                    <a:pt x="166" y="64"/>
                    <a:pt x="291" y="64"/>
                  </a:cubicBezTo>
                  <a:cubicBezTo>
                    <a:pt x="368" y="64"/>
                    <a:pt x="436" y="102"/>
                    <a:pt x="477" y="161"/>
                  </a:cubicBezTo>
                  <a:cubicBezTo>
                    <a:pt x="301" y="337"/>
                    <a:pt x="301" y="337"/>
                    <a:pt x="301" y="337"/>
                  </a:cubicBezTo>
                  <a:cubicBezTo>
                    <a:pt x="234" y="270"/>
                    <a:pt x="234" y="270"/>
                    <a:pt x="234" y="270"/>
                  </a:cubicBezTo>
                  <a:cubicBezTo>
                    <a:pt x="222" y="257"/>
                    <a:pt x="201" y="257"/>
                    <a:pt x="189" y="270"/>
                  </a:cubicBezTo>
                  <a:lnTo>
                    <a:pt x="81" y="377"/>
                  </a:lnTo>
                  <a:close/>
                  <a:moveTo>
                    <a:pt x="291" y="519"/>
                  </a:moveTo>
                  <a:cubicBezTo>
                    <a:pt x="220" y="519"/>
                    <a:pt x="156" y="486"/>
                    <a:pt x="115" y="434"/>
                  </a:cubicBezTo>
                  <a:cubicBezTo>
                    <a:pt x="211" y="337"/>
                    <a:pt x="211" y="337"/>
                    <a:pt x="211" y="337"/>
                  </a:cubicBezTo>
                  <a:cubicBezTo>
                    <a:pt x="279" y="404"/>
                    <a:pt x="279" y="404"/>
                    <a:pt x="279" y="404"/>
                  </a:cubicBezTo>
                  <a:cubicBezTo>
                    <a:pt x="291" y="417"/>
                    <a:pt x="311" y="417"/>
                    <a:pt x="324" y="404"/>
                  </a:cubicBezTo>
                  <a:cubicBezTo>
                    <a:pt x="507" y="221"/>
                    <a:pt x="507" y="221"/>
                    <a:pt x="507" y="221"/>
                  </a:cubicBezTo>
                  <a:cubicBezTo>
                    <a:pt x="514" y="243"/>
                    <a:pt x="518" y="267"/>
                    <a:pt x="518" y="291"/>
                  </a:cubicBezTo>
                  <a:cubicBezTo>
                    <a:pt x="518" y="417"/>
                    <a:pt x="416" y="519"/>
                    <a:pt x="291" y="519"/>
                  </a:cubicBezTo>
                  <a:close/>
                  <a:moveTo>
                    <a:pt x="291" y="519"/>
                  </a:moveTo>
                  <a:cubicBezTo>
                    <a:pt x="291" y="519"/>
                    <a:pt x="291" y="519"/>
                    <a:pt x="291" y="5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371"/>
            <p:cNvSpPr>
              <a:spLocks noEditPoints="1"/>
            </p:cNvSpPr>
            <p:nvPr/>
          </p:nvSpPr>
          <p:spPr bwMode="auto">
            <a:xfrm>
              <a:off x="1077" y="1451"/>
              <a:ext cx="2570" cy="3105"/>
            </a:xfrm>
            <a:custGeom>
              <a:avLst/>
              <a:gdLst>
                <a:gd name="T0" fmla="*/ 1171 w 1357"/>
                <a:gd name="T1" fmla="*/ 798 h 1640"/>
                <a:gd name="T2" fmla="*/ 1043 w 1357"/>
                <a:gd name="T3" fmla="*/ 353 h 1640"/>
                <a:gd name="T4" fmla="*/ 694 w 1357"/>
                <a:gd name="T5" fmla="*/ 6 h 1640"/>
                <a:gd name="T6" fmla="*/ 662 w 1357"/>
                <a:gd name="T7" fmla="*/ 6 h 1640"/>
                <a:gd name="T8" fmla="*/ 313 w 1357"/>
                <a:gd name="T9" fmla="*/ 353 h 1640"/>
                <a:gd name="T10" fmla="*/ 186 w 1357"/>
                <a:gd name="T11" fmla="*/ 798 h 1640"/>
                <a:gd name="T12" fmla="*/ 0 w 1357"/>
                <a:gd name="T13" fmla="*/ 1081 h 1640"/>
                <a:gd name="T14" fmla="*/ 0 w 1357"/>
                <a:gd name="T15" fmla="*/ 1307 h 1640"/>
                <a:gd name="T16" fmla="*/ 32 w 1357"/>
                <a:gd name="T17" fmla="*/ 1339 h 1640"/>
                <a:gd name="T18" fmla="*/ 502 w 1357"/>
                <a:gd name="T19" fmla="*/ 1339 h 1640"/>
                <a:gd name="T20" fmla="*/ 620 w 1357"/>
                <a:gd name="T21" fmla="*/ 1595 h 1640"/>
                <a:gd name="T22" fmla="*/ 656 w 1357"/>
                <a:gd name="T23" fmla="*/ 1630 h 1640"/>
                <a:gd name="T24" fmla="*/ 678 w 1357"/>
                <a:gd name="T25" fmla="*/ 1640 h 1640"/>
                <a:gd name="T26" fmla="*/ 701 w 1357"/>
                <a:gd name="T27" fmla="*/ 1630 h 1640"/>
                <a:gd name="T28" fmla="*/ 736 w 1357"/>
                <a:gd name="T29" fmla="*/ 1595 h 1640"/>
                <a:gd name="T30" fmla="*/ 854 w 1357"/>
                <a:gd name="T31" fmla="*/ 1339 h 1640"/>
                <a:gd name="T32" fmla="*/ 953 w 1357"/>
                <a:gd name="T33" fmla="*/ 1339 h 1640"/>
                <a:gd name="T34" fmla="*/ 953 w 1357"/>
                <a:gd name="T35" fmla="*/ 1504 h 1640"/>
                <a:gd name="T36" fmla="*/ 985 w 1357"/>
                <a:gd name="T37" fmla="*/ 1536 h 1640"/>
                <a:gd name="T38" fmla="*/ 1017 w 1357"/>
                <a:gd name="T39" fmla="*/ 1504 h 1640"/>
                <a:gd name="T40" fmla="*/ 1017 w 1357"/>
                <a:gd name="T41" fmla="*/ 1339 h 1640"/>
                <a:gd name="T42" fmla="*/ 1325 w 1357"/>
                <a:gd name="T43" fmla="*/ 1339 h 1640"/>
                <a:gd name="T44" fmla="*/ 1357 w 1357"/>
                <a:gd name="T45" fmla="*/ 1307 h 1640"/>
                <a:gd name="T46" fmla="*/ 1357 w 1357"/>
                <a:gd name="T47" fmla="*/ 1081 h 1640"/>
                <a:gd name="T48" fmla="*/ 1171 w 1357"/>
                <a:gd name="T49" fmla="*/ 798 h 1640"/>
                <a:gd name="T50" fmla="*/ 678 w 1357"/>
                <a:gd name="T51" fmla="*/ 70 h 1640"/>
                <a:gd name="T52" fmla="*/ 933 w 1357"/>
                <a:gd name="T53" fmla="*/ 302 h 1640"/>
                <a:gd name="T54" fmla="*/ 424 w 1357"/>
                <a:gd name="T55" fmla="*/ 302 h 1640"/>
                <a:gd name="T56" fmla="*/ 678 w 1357"/>
                <a:gd name="T57" fmla="*/ 70 h 1640"/>
                <a:gd name="T58" fmla="*/ 64 w 1357"/>
                <a:gd name="T59" fmla="*/ 1275 h 1640"/>
                <a:gd name="T60" fmla="*/ 64 w 1357"/>
                <a:gd name="T61" fmla="*/ 1081 h 1640"/>
                <a:gd name="T62" fmla="*/ 185 w 1357"/>
                <a:gd name="T63" fmla="*/ 870 h 1640"/>
                <a:gd name="T64" fmla="*/ 185 w 1357"/>
                <a:gd name="T65" fmla="*/ 1243 h 1640"/>
                <a:gd name="T66" fmla="*/ 191 w 1357"/>
                <a:gd name="T67" fmla="*/ 1275 h 1640"/>
                <a:gd name="T68" fmla="*/ 64 w 1357"/>
                <a:gd name="T69" fmla="*/ 1275 h 1640"/>
                <a:gd name="T70" fmla="*/ 691 w 1357"/>
                <a:gd name="T71" fmla="*/ 1550 h 1640"/>
                <a:gd name="T72" fmla="*/ 678 w 1357"/>
                <a:gd name="T73" fmla="*/ 1563 h 1640"/>
                <a:gd name="T74" fmla="*/ 665 w 1357"/>
                <a:gd name="T75" fmla="*/ 1550 h 1640"/>
                <a:gd name="T76" fmla="*/ 566 w 1357"/>
                <a:gd name="T77" fmla="*/ 1339 h 1640"/>
                <a:gd name="T78" fmla="*/ 790 w 1357"/>
                <a:gd name="T79" fmla="*/ 1339 h 1640"/>
                <a:gd name="T80" fmla="*/ 691 w 1357"/>
                <a:gd name="T81" fmla="*/ 1550 h 1640"/>
                <a:gd name="T82" fmla="*/ 1107 w 1357"/>
                <a:gd name="T83" fmla="*/ 1243 h 1640"/>
                <a:gd name="T84" fmla="*/ 1075 w 1357"/>
                <a:gd name="T85" fmla="*/ 1275 h 1640"/>
                <a:gd name="T86" fmla="*/ 281 w 1357"/>
                <a:gd name="T87" fmla="*/ 1275 h 1640"/>
                <a:gd name="T88" fmla="*/ 249 w 1357"/>
                <a:gd name="T89" fmla="*/ 1243 h 1640"/>
                <a:gd name="T90" fmla="*/ 249 w 1357"/>
                <a:gd name="T91" fmla="*/ 829 h 1640"/>
                <a:gd name="T92" fmla="*/ 315 w 1357"/>
                <a:gd name="T93" fmla="*/ 496 h 1640"/>
                <a:gd name="T94" fmla="*/ 460 w 1357"/>
                <a:gd name="T95" fmla="*/ 496 h 1640"/>
                <a:gd name="T96" fmla="*/ 492 w 1357"/>
                <a:gd name="T97" fmla="*/ 464 h 1640"/>
                <a:gd name="T98" fmla="*/ 460 w 1357"/>
                <a:gd name="T99" fmla="*/ 432 h 1640"/>
                <a:gd name="T100" fmla="*/ 344 w 1357"/>
                <a:gd name="T101" fmla="*/ 432 h 1640"/>
                <a:gd name="T102" fmla="*/ 380 w 1357"/>
                <a:gd name="T103" fmla="*/ 366 h 1640"/>
                <a:gd name="T104" fmla="*/ 976 w 1357"/>
                <a:gd name="T105" fmla="*/ 366 h 1640"/>
                <a:gd name="T106" fmla="*/ 1107 w 1357"/>
                <a:gd name="T107" fmla="*/ 829 h 1640"/>
                <a:gd name="T108" fmla="*/ 1107 w 1357"/>
                <a:gd name="T109" fmla="*/ 1243 h 1640"/>
                <a:gd name="T110" fmla="*/ 1293 w 1357"/>
                <a:gd name="T111" fmla="*/ 1275 h 1640"/>
                <a:gd name="T112" fmla="*/ 1166 w 1357"/>
                <a:gd name="T113" fmla="*/ 1275 h 1640"/>
                <a:gd name="T114" fmla="*/ 1171 w 1357"/>
                <a:gd name="T115" fmla="*/ 1243 h 1640"/>
                <a:gd name="T116" fmla="*/ 1171 w 1357"/>
                <a:gd name="T117" fmla="*/ 870 h 1640"/>
                <a:gd name="T118" fmla="*/ 1293 w 1357"/>
                <a:gd name="T119" fmla="*/ 1081 h 1640"/>
                <a:gd name="T120" fmla="*/ 1293 w 1357"/>
                <a:gd name="T121" fmla="*/ 1275 h 1640"/>
                <a:gd name="T122" fmla="*/ 1293 w 1357"/>
                <a:gd name="T123" fmla="*/ 1275 h 1640"/>
                <a:gd name="T124" fmla="*/ 1293 w 1357"/>
                <a:gd name="T125" fmla="*/ 1275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57" h="1640">
                  <a:moveTo>
                    <a:pt x="1171" y="798"/>
                  </a:moveTo>
                  <a:cubicBezTo>
                    <a:pt x="1165" y="642"/>
                    <a:pt x="1122" y="489"/>
                    <a:pt x="1043" y="353"/>
                  </a:cubicBezTo>
                  <a:cubicBezTo>
                    <a:pt x="960" y="209"/>
                    <a:pt x="839" y="89"/>
                    <a:pt x="694" y="6"/>
                  </a:cubicBezTo>
                  <a:cubicBezTo>
                    <a:pt x="684" y="0"/>
                    <a:pt x="672" y="0"/>
                    <a:pt x="662" y="6"/>
                  </a:cubicBezTo>
                  <a:cubicBezTo>
                    <a:pt x="518" y="89"/>
                    <a:pt x="397" y="209"/>
                    <a:pt x="313" y="353"/>
                  </a:cubicBezTo>
                  <a:cubicBezTo>
                    <a:pt x="235" y="489"/>
                    <a:pt x="191" y="642"/>
                    <a:pt x="186" y="798"/>
                  </a:cubicBezTo>
                  <a:cubicBezTo>
                    <a:pt x="74" y="847"/>
                    <a:pt x="0" y="957"/>
                    <a:pt x="0" y="1081"/>
                  </a:cubicBezTo>
                  <a:cubicBezTo>
                    <a:pt x="0" y="1307"/>
                    <a:pt x="0" y="1307"/>
                    <a:pt x="0" y="1307"/>
                  </a:cubicBezTo>
                  <a:cubicBezTo>
                    <a:pt x="0" y="1325"/>
                    <a:pt x="14" y="1339"/>
                    <a:pt x="32" y="1339"/>
                  </a:cubicBezTo>
                  <a:cubicBezTo>
                    <a:pt x="502" y="1339"/>
                    <a:pt x="502" y="1339"/>
                    <a:pt x="502" y="1339"/>
                  </a:cubicBezTo>
                  <a:cubicBezTo>
                    <a:pt x="509" y="1435"/>
                    <a:pt x="551" y="1527"/>
                    <a:pt x="620" y="1595"/>
                  </a:cubicBezTo>
                  <a:cubicBezTo>
                    <a:pt x="656" y="1630"/>
                    <a:pt x="656" y="1630"/>
                    <a:pt x="656" y="1630"/>
                  </a:cubicBezTo>
                  <a:cubicBezTo>
                    <a:pt x="662" y="1637"/>
                    <a:pt x="670" y="1640"/>
                    <a:pt x="678" y="1640"/>
                  </a:cubicBezTo>
                  <a:cubicBezTo>
                    <a:pt x="686" y="1640"/>
                    <a:pt x="694" y="1637"/>
                    <a:pt x="701" y="1630"/>
                  </a:cubicBezTo>
                  <a:cubicBezTo>
                    <a:pt x="736" y="1595"/>
                    <a:pt x="736" y="1595"/>
                    <a:pt x="736" y="1595"/>
                  </a:cubicBezTo>
                  <a:cubicBezTo>
                    <a:pt x="805" y="1527"/>
                    <a:pt x="848" y="1435"/>
                    <a:pt x="854" y="1339"/>
                  </a:cubicBezTo>
                  <a:cubicBezTo>
                    <a:pt x="953" y="1339"/>
                    <a:pt x="953" y="1339"/>
                    <a:pt x="953" y="1339"/>
                  </a:cubicBezTo>
                  <a:cubicBezTo>
                    <a:pt x="953" y="1504"/>
                    <a:pt x="953" y="1504"/>
                    <a:pt x="953" y="1504"/>
                  </a:cubicBezTo>
                  <a:cubicBezTo>
                    <a:pt x="953" y="1522"/>
                    <a:pt x="968" y="1536"/>
                    <a:pt x="985" y="1536"/>
                  </a:cubicBezTo>
                  <a:cubicBezTo>
                    <a:pt x="1003" y="1536"/>
                    <a:pt x="1017" y="1522"/>
                    <a:pt x="1017" y="1504"/>
                  </a:cubicBezTo>
                  <a:cubicBezTo>
                    <a:pt x="1017" y="1339"/>
                    <a:pt x="1017" y="1339"/>
                    <a:pt x="1017" y="1339"/>
                  </a:cubicBezTo>
                  <a:cubicBezTo>
                    <a:pt x="1325" y="1339"/>
                    <a:pt x="1325" y="1339"/>
                    <a:pt x="1325" y="1339"/>
                  </a:cubicBezTo>
                  <a:cubicBezTo>
                    <a:pt x="1342" y="1339"/>
                    <a:pt x="1357" y="1325"/>
                    <a:pt x="1357" y="1307"/>
                  </a:cubicBezTo>
                  <a:cubicBezTo>
                    <a:pt x="1357" y="1081"/>
                    <a:pt x="1357" y="1081"/>
                    <a:pt x="1357" y="1081"/>
                  </a:cubicBezTo>
                  <a:cubicBezTo>
                    <a:pt x="1357" y="957"/>
                    <a:pt x="1283" y="847"/>
                    <a:pt x="1171" y="798"/>
                  </a:cubicBezTo>
                  <a:close/>
                  <a:moveTo>
                    <a:pt x="678" y="70"/>
                  </a:moveTo>
                  <a:cubicBezTo>
                    <a:pt x="779" y="131"/>
                    <a:pt x="865" y="210"/>
                    <a:pt x="933" y="302"/>
                  </a:cubicBezTo>
                  <a:cubicBezTo>
                    <a:pt x="424" y="302"/>
                    <a:pt x="424" y="302"/>
                    <a:pt x="424" y="302"/>
                  </a:cubicBezTo>
                  <a:cubicBezTo>
                    <a:pt x="492" y="210"/>
                    <a:pt x="578" y="131"/>
                    <a:pt x="678" y="70"/>
                  </a:cubicBezTo>
                  <a:close/>
                  <a:moveTo>
                    <a:pt x="64" y="1275"/>
                  </a:moveTo>
                  <a:cubicBezTo>
                    <a:pt x="64" y="1081"/>
                    <a:pt x="64" y="1081"/>
                    <a:pt x="64" y="1081"/>
                  </a:cubicBezTo>
                  <a:cubicBezTo>
                    <a:pt x="64" y="993"/>
                    <a:pt x="111" y="913"/>
                    <a:pt x="185" y="870"/>
                  </a:cubicBezTo>
                  <a:cubicBezTo>
                    <a:pt x="185" y="1243"/>
                    <a:pt x="185" y="1243"/>
                    <a:pt x="185" y="1243"/>
                  </a:cubicBezTo>
                  <a:cubicBezTo>
                    <a:pt x="185" y="1254"/>
                    <a:pt x="187" y="1265"/>
                    <a:pt x="191" y="1275"/>
                  </a:cubicBezTo>
                  <a:lnTo>
                    <a:pt x="64" y="1275"/>
                  </a:lnTo>
                  <a:close/>
                  <a:moveTo>
                    <a:pt x="691" y="1550"/>
                  </a:moveTo>
                  <a:cubicBezTo>
                    <a:pt x="678" y="1563"/>
                    <a:pt x="678" y="1563"/>
                    <a:pt x="678" y="1563"/>
                  </a:cubicBezTo>
                  <a:cubicBezTo>
                    <a:pt x="665" y="1550"/>
                    <a:pt x="665" y="1550"/>
                    <a:pt x="665" y="1550"/>
                  </a:cubicBezTo>
                  <a:cubicBezTo>
                    <a:pt x="608" y="1494"/>
                    <a:pt x="573" y="1418"/>
                    <a:pt x="566" y="1339"/>
                  </a:cubicBezTo>
                  <a:cubicBezTo>
                    <a:pt x="790" y="1339"/>
                    <a:pt x="790" y="1339"/>
                    <a:pt x="790" y="1339"/>
                  </a:cubicBezTo>
                  <a:cubicBezTo>
                    <a:pt x="783" y="1418"/>
                    <a:pt x="748" y="1494"/>
                    <a:pt x="691" y="1550"/>
                  </a:cubicBezTo>
                  <a:close/>
                  <a:moveTo>
                    <a:pt x="1107" y="1243"/>
                  </a:moveTo>
                  <a:cubicBezTo>
                    <a:pt x="1107" y="1261"/>
                    <a:pt x="1093" y="1275"/>
                    <a:pt x="1075" y="1275"/>
                  </a:cubicBezTo>
                  <a:cubicBezTo>
                    <a:pt x="281" y="1275"/>
                    <a:pt x="281" y="1275"/>
                    <a:pt x="281" y="1275"/>
                  </a:cubicBezTo>
                  <a:cubicBezTo>
                    <a:pt x="264" y="1275"/>
                    <a:pt x="249" y="1261"/>
                    <a:pt x="249" y="1243"/>
                  </a:cubicBezTo>
                  <a:cubicBezTo>
                    <a:pt x="249" y="829"/>
                    <a:pt x="249" y="829"/>
                    <a:pt x="249" y="829"/>
                  </a:cubicBezTo>
                  <a:cubicBezTo>
                    <a:pt x="249" y="713"/>
                    <a:pt x="272" y="600"/>
                    <a:pt x="315" y="496"/>
                  </a:cubicBezTo>
                  <a:cubicBezTo>
                    <a:pt x="460" y="496"/>
                    <a:pt x="460" y="496"/>
                    <a:pt x="460" y="496"/>
                  </a:cubicBezTo>
                  <a:cubicBezTo>
                    <a:pt x="477" y="496"/>
                    <a:pt x="492" y="481"/>
                    <a:pt x="492" y="464"/>
                  </a:cubicBezTo>
                  <a:cubicBezTo>
                    <a:pt x="492" y="446"/>
                    <a:pt x="477" y="432"/>
                    <a:pt x="460" y="432"/>
                  </a:cubicBezTo>
                  <a:cubicBezTo>
                    <a:pt x="344" y="432"/>
                    <a:pt x="344" y="432"/>
                    <a:pt x="344" y="432"/>
                  </a:cubicBezTo>
                  <a:cubicBezTo>
                    <a:pt x="355" y="409"/>
                    <a:pt x="367" y="387"/>
                    <a:pt x="380" y="366"/>
                  </a:cubicBezTo>
                  <a:cubicBezTo>
                    <a:pt x="976" y="366"/>
                    <a:pt x="976" y="366"/>
                    <a:pt x="976" y="366"/>
                  </a:cubicBezTo>
                  <a:cubicBezTo>
                    <a:pt x="1060" y="503"/>
                    <a:pt x="1107" y="663"/>
                    <a:pt x="1107" y="829"/>
                  </a:cubicBezTo>
                  <a:lnTo>
                    <a:pt x="1107" y="1243"/>
                  </a:lnTo>
                  <a:close/>
                  <a:moveTo>
                    <a:pt x="1293" y="1275"/>
                  </a:moveTo>
                  <a:cubicBezTo>
                    <a:pt x="1166" y="1275"/>
                    <a:pt x="1166" y="1275"/>
                    <a:pt x="1166" y="1275"/>
                  </a:cubicBezTo>
                  <a:cubicBezTo>
                    <a:pt x="1169" y="1265"/>
                    <a:pt x="1171" y="1254"/>
                    <a:pt x="1171" y="1243"/>
                  </a:cubicBezTo>
                  <a:cubicBezTo>
                    <a:pt x="1171" y="870"/>
                    <a:pt x="1171" y="870"/>
                    <a:pt x="1171" y="870"/>
                  </a:cubicBezTo>
                  <a:cubicBezTo>
                    <a:pt x="1245" y="913"/>
                    <a:pt x="1293" y="993"/>
                    <a:pt x="1293" y="1081"/>
                  </a:cubicBezTo>
                  <a:lnTo>
                    <a:pt x="1293" y="1275"/>
                  </a:lnTo>
                  <a:close/>
                  <a:moveTo>
                    <a:pt x="1293" y="1275"/>
                  </a:moveTo>
                  <a:cubicBezTo>
                    <a:pt x="1293" y="1275"/>
                    <a:pt x="1293" y="1275"/>
                    <a:pt x="1293" y="1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372"/>
            <p:cNvSpPr>
              <a:spLocks noEditPoints="1"/>
            </p:cNvSpPr>
            <p:nvPr/>
          </p:nvSpPr>
          <p:spPr bwMode="auto">
            <a:xfrm>
              <a:off x="2107" y="2269"/>
              <a:ext cx="122"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373"/>
            <p:cNvSpPr>
              <a:spLocks noEditPoints="1"/>
            </p:cNvSpPr>
            <p:nvPr/>
          </p:nvSpPr>
          <p:spPr bwMode="auto">
            <a:xfrm>
              <a:off x="1719" y="4147"/>
              <a:ext cx="121" cy="309"/>
            </a:xfrm>
            <a:custGeom>
              <a:avLst/>
              <a:gdLst>
                <a:gd name="T0" fmla="*/ 32 w 64"/>
                <a:gd name="T1" fmla="*/ 0 h 163"/>
                <a:gd name="T2" fmla="*/ 0 w 64"/>
                <a:gd name="T3" fmla="*/ 32 h 163"/>
                <a:gd name="T4" fmla="*/ 0 w 64"/>
                <a:gd name="T5" fmla="*/ 131 h 163"/>
                <a:gd name="T6" fmla="*/ 32 w 64"/>
                <a:gd name="T7" fmla="*/ 163 h 163"/>
                <a:gd name="T8" fmla="*/ 64 w 64"/>
                <a:gd name="T9" fmla="*/ 131 h 163"/>
                <a:gd name="T10" fmla="*/ 64 w 64"/>
                <a:gd name="T11" fmla="*/ 32 h 163"/>
                <a:gd name="T12" fmla="*/ 32 w 64"/>
                <a:gd name="T13" fmla="*/ 0 h 163"/>
                <a:gd name="T14" fmla="*/ 32 w 64"/>
                <a:gd name="T15" fmla="*/ 0 h 163"/>
                <a:gd name="T16" fmla="*/ 32 w 64"/>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63">
                  <a:moveTo>
                    <a:pt x="32" y="0"/>
                  </a:moveTo>
                  <a:cubicBezTo>
                    <a:pt x="14" y="0"/>
                    <a:pt x="0" y="15"/>
                    <a:pt x="0" y="32"/>
                  </a:cubicBezTo>
                  <a:cubicBezTo>
                    <a:pt x="0" y="131"/>
                    <a:pt x="0" y="131"/>
                    <a:pt x="0" y="131"/>
                  </a:cubicBezTo>
                  <a:cubicBezTo>
                    <a:pt x="0" y="149"/>
                    <a:pt x="14" y="163"/>
                    <a:pt x="32" y="163"/>
                  </a:cubicBezTo>
                  <a:cubicBezTo>
                    <a:pt x="50" y="163"/>
                    <a:pt x="64" y="149"/>
                    <a:pt x="64" y="131"/>
                  </a:cubicBezTo>
                  <a:cubicBezTo>
                    <a:pt x="64" y="32"/>
                    <a:pt x="64" y="32"/>
                    <a:pt x="64" y="32"/>
                  </a:cubicBezTo>
                  <a:cubicBezTo>
                    <a:pt x="64" y="15"/>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374"/>
            <p:cNvSpPr>
              <a:spLocks noEditPoints="1"/>
            </p:cNvSpPr>
            <p:nvPr/>
          </p:nvSpPr>
          <p:spPr bwMode="auto">
            <a:xfrm>
              <a:off x="2882" y="4435"/>
              <a:ext cx="121" cy="121"/>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2" name="Group 377"/>
          <p:cNvGrpSpPr>
            <a:grpSpLocks noChangeAspect="1"/>
          </p:cNvGrpSpPr>
          <p:nvPr/>
        </p:nvGrpSpPr>
        <p:grpSpPr bwMode="auto">
          <a:xfrm>
            <a:off x="327610" y="4107973"/>
            <a:ext cx="457053" cy="457200"/>
            <a:chOff x="653" y="1369"/>
            <a:chExt cx="3101" cy="3102"/>
          </a:xfrm>
          <a:solidFill>
            <a:schemeClr val="accent1"/>
          </a:solidFill>
        </p:grpSpPr>
        <p:sp>
          <p:nvSpPr>
            <p:cNvPr id="384" name="Freeform 378"/>
            <p:cNvSpPr>
              <a:spLocks noEditPoints="1"/>
            </p:cNvSpPr>
            <p:nvPr/>
          </p:nvSpPr>
          <p:spPr bwMode="auto">
            <a:xfrm>
              <a:off x="653" y="1369"/>
              <a:ext cx="3101" cy="3102"/>
            </a:xfrm>
            <a:custGeom>
              <a:avLst/>
              <a:gdLst>
                <a:gd name="T0" fmla="*/ 1480 w 1638"/>
                <a:gd name="T1" fmla="*/ 647 h 1638"/>
                <a:gd name="T2" fmla="*/ 1475 w 1638"/>
                <a:gd name="T3" fmla="*/ 407 h 1638"/>
                <a:gd name="T4" fmla="*/ 1322 w 1638"/>
                <a:gd name="T5" fmla="*/ 163 h 1638"/>
                <a:gd name="T6" fmla="*/ 1164 w 1638"/>
                <a:gd name="T7" fmla="*/ 230 h 1638"/>
                <a:gd name="T8" fmla="*/ 992 w 1638"/>
                <a:gd name="T9" fmla="*/ 64 h 1638"/>
                <a:gd name="T10" fmla="*/ 710 w 1638"/>
                <a:gd name="T11" fmla="*/ 0 h 1638"/>
                <a:gd name="T12" fmla="*/ 647 w 1638"/>
                <a:gd name="T13" fmla="*/ 159 h 1638"/>
                <a:gd name="T14" fmla="*/ 407 w 1638"/>
                <a:gd name="T15" fmla="*/ 163 h 1638"/>
                <a:gd name="T16" fmla="*/ 163 w 1638"/>
                <a:gd name="T17" fmla="*/ 317 h 1638"/>
                <a:gd name="T18" fmla="*/ 230 w 1638"/>
                <a:gd name="T19" fmla="*/ 475 h 1638"/>
                <a:gd name="T20" fmla="*/ 64 w 1638"/>
                <a:gd name="T21" fmla="*/ 646 h 1638"/>
                <a:gd name="T22" fmla="*/ 0 w 1638"/>
                <a:gd name="T23" fmla="*/ 928 h 1638"/>
                <a:gd name="T24" fmla="*/ 159 w 1638"/>
                <a:gd name="T25" fmla="*/ 992 h 1638"/>
                <a:gd name="T26" fmla="*/ 163 w 1638"/>
                <a:gd name="T27" fmla="*/ 1231 h 1638"/>
                <a:gd name="T28" fmla="*/ 317 w 1638"/>
                <a:gd name="T29" fmla="*/ 1475 h 1638"/>
                <a:gd name="T30" fmla="*/ 475 w 1638"/>
                <a:gd name="T31" fmla="*/ 1408 h 1638"/>
                <a:gd name="T32" fmla="*/ 646 w 1638"/>
                <a:gd name="T33" fmla="*/ 1574 h 1638"/>
                <a:gd name="T34" fmla="*/ 928 w 1638"/>
                <a:gd name="T35" fmla="*/ 1638 h 1638"/>
                <a:gd name="T36" fmla="*/ 992 w 1638"/>
                <a:gd name="T37" fmla="*/ 1479 h 1638"/>
                <a:gd name="T38" fmla="*/ 1231 w 1638"/>
                <a:gd name="T39" fmla="*/ 1475 h 1638"/>
                <a:gd name="T40" fmla="*/ 1475 w 1638"/>
                <a:gd name="T41" fmla="*/ 1322 h 1638"/>
                <a:gd name="T42" fmla="*/ 1408 w 1638"/>
                <a:gd name="T43" fmla="*/ 1164 h 1638"/>
                <a:gd name="T44" fmla="*/ 1574 w 1638"/>
                <a:gd name="T45" fmla="*/ 992 h 1638"/>
                <a:gd name="T46" fmla="*/ 1638 w 1638"/>
                <a:gd name="T47" fmla="*/ 710 h 1638"/>
                <a:gd name="T48" fmla="*/ 1574 w 1638"/>
                <a:gd name="T49" fmla="*/ 928 h 1638"/>
                <a:gd name="T50" fmla="*/ 1418 w 1638"/>
                <a:gd name="T51" fmla="*/ 976 h 1638"/>
                <a:gd name="T52" fmla="*/ 1363 w 1638"/>
                <a:gd name="T53" fmla="*/ 1209 h 1638"/>
                <a:gd name="T54" fmla="*/ 1276 w 1638"/>
                <a:gd name="T55" fmla="*/ 1430 h 1638"/>
                <a:gd name="T56" fmla="*/ 1132 w 1638"/>
                <a:gd name="T57" fmla="*/ 1353 h 1638"/>
                <a:gd name="T58" fmla="*/ 928 w 1638"/>
                <a:gd name="T59" fmla="*/ 1479 h 1638"/>
                <a:gd name="T60" fmla="*/ 710 w 1638"/>
                <a:gd name="T61" fmla="*/ 1574 h 1638"/>
                <a:gd name="T62" fmla="*/ 663 w 1638"/>
                <a:gd name="T63" fmla="*/ 1417 h 1638"/>
                <a:gd name="T64" fmla="*/ 475 w 1638"/>
                <a:gd name="T65" fmla="*/ 1344 h 1638"/>
                <a:gd name="T66" fmla="*/ 362 w 1638"/>
                <a:gd name="T67" fmla="*/ 1430 h 1638"/>
                <a:gd name="T68" fmla="*/ 276 w 1638"/>
                <a:gd name="T69" fmla="*/ 1209 h 1638"/>
                <a:gd name="T70" fmla="*/ 221 w 1638"/>
                <a:gd name="T71" fmla="*/ 976 h 1638"/>
                <a:gd name="T72" fmla="*/ 64 w 1638"/>
                <a:gd name="T73" fmla="*/ 928 h 1638"/>
                <a:gd name="T74" fmla="*/ 159 w 1638"/>
                <a:gd name="T75" fmla="*/ 710 h 1638"/>
                <a:gd name="T76" fmla="*/ 286 w 1638"/>
                <a:gd name="T77" fmla="*/ 507 h 1638"/>
                <a:gd name="T78" fmla="*/ 208 w 1638"/>
                <a:gd name="T79" fmla="*/ 362 h 1638"/>
                <a:gd name="T80" fmla="*/ 429 w 1638"/>
                <a:gd name="T81" fmla="*/ 275 h 1638"/>
                <a:gd name="T82" fmla="*/ 663 w 1638"/>
                <a:gd name="T83" fmla="*/ 221 h 1638"/>
                <a:gd name="T84" fmla="*/ 710 w 1638"/>
                <a:gd name="T85" fmla="*/ 64 h 1638"/>
                <a:gd name="T86" fmla="*/ 928 w 1638"/>
                <a:gd name="T87" fmla="*/ 159 h 1638"/>
                <a:gd name="T88" fmla="*/ 1132 w 1638"/>
                <a:gd name="T89" fmla="*/ 285 h 1638"/>
                <a:gd name="T90" fmla="*/ 1276 w 1638"/>
                <a:gd name="T91" fmla="*/ 208 h 1638"/>
                <a:gd name="T92" fmla="*/ 1363 w 1638"/>
                <a:gd name="T93" fmla="*/ 429 h 1638"/>
                <a:gd name="T94" fmla="*/ 1418 w 1638"/>
                <a:gd name="T95" fmla="*/ 663 h 1638"/>
                <a:gd name="T96" fmla="*/ 1574 w 1638"/>
                <a:gd name="T97" fmla="*/ 710 h 1638"/>
                <a:gd name="T98" fmla="*/ 1574 w 1638"/>
                <a:gd name="T99" fmla="*/ 928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38" h="1638">
                  <a:moveTo>
                    <a:pt x="1574" y="646"/>
                  </a:moveTo>
                  <a:cubicBezTo>
                    <a:pt x="1480" y="647"/>
                    <a:pt x="1480" y="647"/>
                    <a:pt x="1480" y="647"/>
                  </a:cubicBezTo>
                  <a:cubicBezTo>
                    <a:pt x="1464" y="586"/>
                    <a:pt x="1440" y="528"/>
                    <a:pt x="1409" y="474"/>
                  </a:cubicBezTo>
                  <a:cubicBezTo>
                    <a:pt x="1475" y="407"/>
                    <a:pt x="1475" y="407"/>
                    <a:pt x="1475" y="407"/>
                  </a:cubicBezTo>
                  <a:cubicBezTo>
                    <a:pt x="1500" y="382"/>
                    <a:pt x="1500" y="342"/>
                    <a:pt x="1475" y="317"/>
                  </a:cubicBezTo>
                  <a:cubicBezTo>
                    <a:pt x="1322" y="163"/>
                    <a:pt x="1322" y="163"/>
                    <a:pt x="1322" y="163"/>
                  </a:cubicBezTo>
                  <a:cubicBezTo>
                    <a:pt x="1297" y="138"/>
                    <a:pt x="1256" y="138"/>
                    <a:pt x="1231" y="163"/>
                  </a:cubicBezTo>
                  <a:cubicBezTo>
                    <a:pt x="1164" y="230"/>
                    <a:pt x="1164" y="230"/>
                    <a:pt x="1164" y="230"/>
                  </a:cubicBezTo>
                  <a:cubicBezTo>
                    <a:pt x="1110" y="198"/>
                    <a:pt x="1052" y="174"/>
                    <a:pt x="992" y="159"/>
                  </a:cubicBezTo>
                  <a:cubicBezTo>
                    <a:pt x="992" y="64"/>
                    <a:pt x="992" y="64"/>
                    <a:pt x="992" y="64"/>
                  </a:cubicBezTo>
                  <a:cubicBezTo>
                    <a:pt x="992" y="29"/>
                    <a:pt x="963" y="0"/>
                    <a:pt x="928" y="0"/>
                  </a:cubicBezTo>
                  <a:cubicBezTo>
                    <a:pt x="710" y="0"/>
                    <a:pt x="710" y="0"/>
                    <a:pt x="710" y="0"/>
                  </a:cubicBezTo>
                  <a:cubicBezTo>
                    <a:pt x="675" y="0"/>
                    <a:pt x="646" y="29"/>
                    <a:pt x="646" y="64"/>
                  </a:cubicBezTo>
                  <a:cubicBezTo>
                    <a:pt x="647" y="159"/>
                    <a:pt x="647" y="159"/>
                    <a:pt x="647" y="159"/>
                  </a:cubicBezTo>
                  <a:cubicBezTo>
                    <a:pt x="586" y="174"/>
                    <a:pt x="528" y="199"/>
                    <a:pt x="475" y="230"/>
                  </a:cubicBezTo>
                  <a:cubicBezTo>
                    <a:pt x="407" y="163"/>
                    <a:pt x="407" y="163"/>
                    <a:pt x="407" y="163"/>
                  </a:cubicBezTo>
                  <a:cubicBezTo>
                    <a:pt x="382" y="138"/>
                    <a:pt x="342" y="138"/>
                    <a:pt x="317" y="163"/>
                  </a:cubicBezTo>
                  <a:cubicBezTo>
                    <a:pt x="163" y="317"/>
                    <a:pt x="163" y="317"/>
                    <a:pt x="163" y="317"/>
                  </a:cubicBezTo>
                  <a:cubicBezTo>
                    <a:pt x="138" y="342"/>
                    <a:pt x="138" y="382"/>
                    <a:pt x="163" y="407"/>
                  </a:cubicBezTo>
                  <a:cubicBezTo>
                    <a:pt x="230" y="475"/>
                    <a:pt x="230" y="475"/>
                    <a:pt x="230" y="475"/>
                  </a:cubicBezTo>
                  <a:cubicBezTo>
                    <a:pt x="199" y="528"/>
                    <a:pt x="175" y="586"/>
                    <a:pt x="159" y="646"/>
                  </a:cubicBezTo>
                  <a:cubicBezTo>
                    <a:pt x="64" y="646"/>
                    <a:pt x="64" y="646"/>
                    <a:pt x="64" y="646"/>
                  </a:cubicBezTo>
                  <a:cubicBezTo>
                    <a:pt x="29" y="646"/>
                    <a:pt x="0" y="675"/>
                    <a:pt x="0" y="710"/>
                  </a:cubicBezTo>
                  <a:cubicBezTo>
                    <a:pt x="0" y="928"/>
                    <a:pt x="0" y="928"/>
                    <a:pt x="0" y="928"/>
                  </a:cubicBezTo>
                  <a:cubicBezTo>
                    <a:pt x="0" y="963"/>
                    <a:pt x="29" y="992"/>
                    <a:pt x="64" y="992"/>
                  </a:cubicBezTo>
                  <a:cubicBezTo>
                    <a:pt x="159" y="992"/>
                    <a:pt x="159" y="992"/>
                    <a:pt x="159" y="992"/>
                  </a:cubicBezTo>
                  <a:cubicBezTo>
                    <a:pt x="175" y="1052"/>
                    <a:pt x="199" y="1110"/>
                    <a:pt x="231" y="1163"/>
                  </a:cubicBezTo>
                  <a:cubicBezTo>
                    <a:pt x="163" y="1231"/>
                    <a:pt x="163" y="1231"/>
                    <a:pt x="163" y="1231"/>
                  </a:cubicBezTo>
                  <a:cubicBezTo>
                    <a:pt x="138" y="1256"/>
                    <a:pt x="138" y="1297"/>
                    <a:pt x="163" y="1322"/>
                  </a:cubicBezTo>
                  <a:cubicBezTo>
                    <a:pt x="317" y="1475"/>
                    <a:pt x="317" y="1475"/>
                    <a:pt x="317" y="1475"/>
                  </a:cubicBezTo>
                  <a:cubicBezTo>
                    <a:pt x="342" y="1500"/>
                    <a:pt x="382" y="1500"/>
                    <a:pt x="407" y="1475"/>
                  </a:cubicBezTo>
                  <a:cubicBezTo>
                    <a:pt x="475" y="1408"/>
                    <a:pt x="475" y="1408"/>
                    <a:pt x="475" y="1408"/>
                  </a:cubicBezTo>
                  <a:cubicBezTo>
                    <a:pt x="529" y="1439"/>
                    <a:pt x="586" y="1463"/>
                    <a:pt x="646" y="1479"/>
                  </a:cubicBezTo>
                  <a:cubicBezTo>
                    <a:pt x="646" y="1574"/>
                    <a:pt x="646" y="1574"/>
                    <a:pt x="646" y="1574"/>
                  </a:cubicBezTo>
                  <a:cubicBezTo>
                    <a:pt x="646" y="1610"/>
                    <a:pt x="675" y="1638"/>
                    <a:pt x="710" y="1638"/>
                  </a:cubicBezTo>
                  <a:cubicBezTo>
                    <a:pt x="928" y="1638"/>
                    <a:pt x="928" y="1638"/>
                    <a:pt x="928" y="1638"/>
                  </a:cubicBezTo>
                  <a:cubicBezTo>
                    <a:pt x="963" y="1638"/>
                    <a:pt x="992" y="1610"/>
                    <a:pt x="992" y="1574"/>
                  </a:cubicBezTo>
                  <a:cubicBezTo>
                    <a:pt x="992" y="1479"/>
                    <a:pt x="992" y="1479"/>
                    <a:pt x="992" y="1479"/>
                  </a:cubicBezTo>
                  <a:cubicBezTo>
                    <a:pt x="1052" y="1463"/>
                    <a:pt x="1110" y="1440"/>
                    <a:pt x="1164" y="1408"/>
                  </a:cubicBezTo>
                  <a:cubicBezTo>
                    <a:pt x="1231" y="1475"/>
                    <a:pt x="1231" y="1475"/>
                    <a:pt x="1231" y="1475"/>
                  </a:cubicBezTo>
                  <a:cubicBezTo>
                    <a:pt x="1256" y="1500"/>
                    <a:pt x="1297" y="1500"/>
                    <a:pt x="1322" y="1475"/>
                  </a:cubicBezTo>
                  <a:cubicBezTo>
                    <a:pt x="1475" y="1322"/>
                    <a:pt x="1475" y="1322"/>
                    <a:pt x="1475" y="1322"/>
                  </a:cubicBezTo>
                  <a:cubicBezTo>
                    <a:pt x="1500" y="1297"/>
                    <a:pt x="1500" y="1256"/>
                    <a:pt x="1475" y="1231"/>
                  </a:cubicBezTo>
                  <a:cubicBezTo>
                    <a:pt x="1408" y="1164"/>
                    <a:pt x="1408" y="1164"/>
                    <a:pt x="1408" y="1164"/>
                  </a:cubicBezTo>
                  <a:cubicBezTo>
                    <a:pt x="1440" y="1110"/>
                    <a:pt x="1464" y="1052"/>
                    <a:pt x="1480" y="992"/>
                  </a:cubicBezTo>
                  <a:cubicBezTo>
                    <a:pt x="1574" y="992"/>
                    <a:pt x="1574" y="992"/>
                    <a:pt x="1574" y="992"/>
                  </a:cubicBezTo>
                  <a:cubicBezTo>
                    <a:pt x="1610" y="992"/>
                    <a:pt x="1638" y="963"/>
                    <a:pt x="1638" y="928"/>
                  </a:cubicBezTo>
                  <a:cubicBezTo>
                    <a:pt x="1638" y="710"/>
                    <a:pt x="1638" y="710"/>
                    <a:pt x="1638" y="710"/>
                  </a:cubicBezTo>
                  <a:cubicBezTo>
                    <a:pt x="1638" y="675"/>
                    <a:pt x="1610" y="646"/>
                    <a:pt x="1574" y="646"/>
                  </a:cubicBezTo>
                  <a:close/>
                  <a:moveTo>
                    <a:pt x="1574" y="928"/>
                  </a:moveTo>
                  <a:cubicBezTo>
                    <a:pt x="1480" y="928"/>
                    <a:pt x="1480" y="928"/>
                    <a:pt x="1480" y="928"/>
                  </a:cubicBezTo>
                  <a:cubicBezTo>
                    <a:pt x="1451" y="928"/>
                    <a:pt x="1425" y="948"/>
                    <a:pt x="1418" y="976"/>
                  </a:cubicBezTo>
                  <a:cubicBezTo>
                    <a:pt x="1404" y="1030"/>
                    <a:pt x="1382" y="1083"/>
                    <a:pt x="1353" y="1132"/>
                  </a:cubicBezTo>
                  <a:cubicBezTo>
                    <a:pt x="1338" y="1157"/>
                    <a:pt x="1342" y="1189"/>
                    <a:pt x="1363" y="1209"/>
                  </a:cubicBezTo>
                  <a:cubicBezTo>
                    <a:pt x="1430" y="1276"/>
                    <a:pt x="1430" y="1276"/>
                    <a:pt x="1430" y="1276"/>
                  </a:cubicBezTo>
                  <a:cubicBezTo>
                    <a:pt x="1276" y="1430"/>
                    <a:pt x="1276" y="1430"/>
                    <a:pt x="1276" y="1430"/>
                  </a:cubicBezTo>
                  <a:cubicBezTo>
                    <a:pt x="1209" y="1363"/>
                    <a:pt x="1209" y="1363"/>
                    <a:pt x="1209" y="1363"/>
                  </a:cubicBezTo>
                  <a:cubicBezTo>
                    <a:pt x="1188" y="1342"/>
                    <a:pt x="1157" y="1338"/>
                    <a:pt x="1132" y="1353"/>
                  </a:cubicBezTo>
                  <a:cubicBezTo>
                    <a:pt x="1083" y="1381"/>
                    <a:pt x="1030" y="1403"/>
                    <a:pt x="976" y="1417"/>
                  </a:cubicBezTo>
                  <a:cubicBezTo>
                    <a:pt x="948" y="1424"/>
                    <a:pt x="928" y="1450"/>
                    <a:pt x="928" y="1479"/>
                  </a:cubicBezTo>
                  <a:cubicBezTo>
                    <a:pt x="928" y="1574"/>
                    <a:pt x="928" y="1574"/>
                    <a:pt x="928" y="1574"/>
                  </a:cubicBezTo>
                  <a:cubicBezTo>
                    <a:pt x="710" y="1574"/>
                    <a:pt x="710" y="1574"/>
                    <a:pt x="710" y="1574"/>
                  </a:cubicBezTo>
                  <a:cubicBezTo>
                    <a:pt x="710" y="1479"/>
                    <a:pt x="710" y="1479"/>
                    <a:pt x="710" y="1479"/>
                  </a:cubicBezTo>
                  <a:cubicBezTo>
                    <a:pt x="710" y="1450"/>
                    <a:pt x="691" y="1424"/>
                    <a:pt x="663" y="1417"/>
                  </a:cubicBezTo>
                  <a:cubicBezTo>
                    <a:pt x="608" y="1403"/>
                    <a:pt x="556" y="1381"/>
                    <a:pt x="507" y="1352"/>
                  </a:cubicBezTo>
                  <a:cubicBezTo>
                    <a:pt x="497" y="1347"/>
                    <a:pt x="486" y="1344"/>
                    <a:pt x="475" y="1344"/>
                  </a:cubicBezTo>
                  <a:cubicBezTo>
                    <a:pt x="459" y="1344"/>
                    <a:pt x="442" y="1350"/>
                    <a:pt x="430" y="1363"/>
                  </a:cubicBezTo>
                  <a:cubicBezTo>
                    <a:pt x="362" y="1430"/>
                    <a:pt x="362" y="1430"/>
                    <a:pt x="362" y="1430"/>
                  </a:cubicBezTo>
                  <a:cubicBezTo>
                    <a:pt x="208" y="1276"/>
                    <a:pt x="208" y="1276"/>
                    <a:pt x="208" y="1276"/>
                  </a:cubicBezTo>
                  <a:cubicBezTo>
                    <a:pt x="276" y="1209"/>
                    <a:pt x="276" y="1209"/>
                    <a:pt x="276" y="1209"/>
                  </a:cubicBezTo>
                  <a:cubicBezTo>
                    <a:pt x="296" y="1188"/>
                    <a:pt x="301" y="1156"/>
                    <a:pt x="286" y="1131"/>
                  </a:cubicBezTo>
                  <a:cubicBezTo>
                    <a:pt x="257" y="1082"/>
                    <a:pt x="236" y="1030"/>
                    <a:pt x="221" y="976"/>
                  </a:cubicBezTo>
                  <a:cubicBezTo>
                    <a:pt x="214" y="948"/>
                    <a:pt x="189" y="928"/>
                    <a:pt x="160" y="928"/>
                  </a:cubicBezTo>
                  <a:cubicBezTo>
                    <a:pt x="64" y="928"/>
                    <a:pt x="64" y="928"/>
                    <a:pt x="64" y="928"/>
                  </a:cubicBezTo>
                  <a:cubicBezTo>
                    <a:pt x="64" y="710"/>
                    <a:pt x="64" y="710"/>
                    <a:pt x="64" y="710"/>
                  </a:cubicBezTo>
                  <a:cubicBezTo>
                    <a:pt x="159" y="710"/>
                    <a:pt x="159" y="710"/>
                    <a:pt x="159" y="710"/>
                  </a:cubicBezTo>
                  <a:cubicBezTo>
                    <a:pt x="188" y="710"/>
                    <a:pt x="214" y="691"/>
                    <a:pt x="221" y="663"/>
                  </a:cubicBezTo>
                  <a:cubicBezTo>
                    <a:pt x="235" y="608"/>
                    <a:pt x="257" y="556"/>
                    <a:pt x="286" y="507"/>
                  </a:cubicBezTo>
                  <a:cubicBezTo>
                    <a:pt x="300" y="482"/>
                    <a:pt x="296" y="450"/>
                    <a:pt x="276" y="429"/>
                  </a:cubicBezTo>
                  <a:cubicBezTo>
                    <a:pt x="208" y="362"/>
                    <a:pt x="208" y="362"/>
                    <a:pt x="208" y="362"/>
                  </a:cubicBezTo>
                  <a:cubicBezTo>
                    <a:pt x="362" y="208"/>
                    <a:pt x="362" y="208"/>
                    <a:pt x="362" y="208"/>
                  </a:cubicBezTo>
                  <a:cubicBezTo>
                    <a:pt x="429" y="275"/>
                    <a:pt x="429" y="275"/>
                    <a:pt x="429" y="275"/>
                  </a:cubicBezTo>
                  <a:cubicBezTo>
                    <a:pt x="450" y="296"/>
                    <a:pt x="482" y="300"/>
                    <a:pt x="507" y="285"/>
                  </a:cubicBezTo>
                  <a:cubicBezTo>
                    <a:pt x="556" y="257"/>
                    <a:pt x="608" y="235"/>
                    <a:pt x="663" y="221"/>
                  </a:cubicBezTo>
                  <a:cubicBezTo>
                    <a:pt x="691" y="213"/>
                    <a:pt x="710" y="188"/>
                    <a:pt x="710" y="159"/>
                  </a:cubicBezTo>
                  <a:cubicBezTo>
                    <a:pt x="710" y="64"/>
                    <a:pt x="710" y="64"/>
                    <a:pt x="710" y="64"/>
                  </a:cubicBezTo>
                  <a:cubicBezTo>
                    <a:pt x="928" y="64"/>
                    <a:pt x="928" y="64"/>
                    <a:pt x="928" y="64"/>
                  </a:cubicBezTo>
                  <a:cubicBezTo>
                    <a:pt x="928" y="159"/>
                    <a:pt x="928" y="159"/>
                    <a:pt x="928" y="159"/>
                  </a:cubicBezTo>
                  <a:cubicBezTo>
                    <a:pt x="928" y="188"/>
                    <a:pt x="948" y="213"/>
                    <a:pt x="976" y="220"/>
                  </a:cubicBezTo>
                  <a:cubicBezTo>
                    <a:pt x="1031" y="235"/>
                    <a:pt x="1083" y="256"/>
                    <a:pt x="1132" y="285"/>
                  </a:cubicBezTo>
                  <a:cubicBezTo>
                    <a:pt x="1157" y="300"/>
                    <a:pt x="1189" y="296"/>
                    <a:pt x="1209" y="275"/>
                  </a:cubicBezTo>
                  <a:cubicBezTo>
                    <a:pt x="1276" y="208"/>
                    <a:pt x="1276" y="208"/>
                    <a:pt x="1276" y="208"/>
                  </a:cubicBezTo>
                  <a:cubicBezTo>
                    <a:pt x="1430" y="362"/>
                    <a:pt x="1430" y="362"/>
                    <a:pt x="1430" y="362"/>
                  </a:cubicBezTo>
                  <a:cubicBezTo>
                    <a:pt x="1363" y="429"/>
                    <a:pt x="1363" y="429"/>
                    <a:pt x="1363" y="429"/>
                  </a:cubicBezTo>
                  <a:cubicBezTo>
                    <a:pt x="1343" y="450"/>
                    <a:pt x="1339" y="481"/>
                    <a:pt x="1353" y="506"/>
                  </a:cubicBezTo>
                  <a:cubicBezTo>
                    <a:pt x="1382" y="555"/>
                    <a:pt x="1404" y="608"/>
                    <a:pt x="1418" y="663"/>
                  </a:cubicBezTo>
                  <a:cubicBezTo>
                    <a:pt x="1425" y="691"/>
                    <a:pt x="1451" y="710"/>
                    <a:pt x="1480" y="710"/>
                  </a:cubicBezTo>
                  <a:cubicBezTo>
                    <a:pt x="1574" y="710"/>
                    <a:pt x="1574" y="710"/>
                    <a:pt x="1574" y="710"/>
                  </a:cubicBezTo>
                  <a:lnTo>
                    <a:pt x="1574" y="928"/>
                  </a:lnTo>
                  <a:close/>
                  <a:moveTo>
                    <a:pt x="1574" y="928"/>
                  </a:moveTo>
                  <a:cubicBezTo>
                    <a:pt x="1574" y="928"/>
                    <a:pt x="1574" y="928"/>
                    <a:pt x="1574" y="9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379"/>
            <p:cNvSpPr>
              <a:spLocks noEditPoints="1"/>
            </p:cNvSpPr>
            <p:nvPr/>
          </p:nvSpPr>
          <p:spPr bwMode="auto">
            <a:xfrm>
              <a:off x="1344" y="1930"/>
              <a:ext cx="1850" cy="1852"/>
            </a:xfrm>
            <a:custGeom>
              <a:avLst/>
              <a:gdLst>
                <a:gd name="T0" fmla="*/ 892 w 977"/>
                <a:gd name="T1" fmla="*/ 242 h 978"/>
                <a:gd name="T2" fmla="*/ 848 w 977"/>
                <a:gd name="T3" fmla="*/ 233 h 978"/>
                <a:gd name="T4" fmla="*/ 838 w 977"/>
                <a:gd name="T5" fmla="*/ 277 h 978"/>
                <a:gd name="T6" fmla="*/ 912 w 977"/>
                <a:gd name="T7" fmla="*/ 499 h 978"/>
                <a:gd name="T8" fmla="*/ 478 w 977"/>
                <a:gd name="T9" fmla="*/ 499 h 978"/>
                <a:gd name="T10" fmla="*/ 478 w 977"/>
                <a:gd name="T11" fmla="*/ 65 h 978"/>
                <a:gd name="T12" fmla="*/ 654 w 977"/>
                <a:gd name="T13" fmla="*/ 113 h 978"/>
                <a:gd name="T14" fmla="*/ 697 w 977"/>
                <a:gd name="T15" fmla="*/ 98 h 978"/>
                <a:gd name="T16" fmla="*/ 683 w 977"/>
                <a:gd name="T17" fmla="*/ 55 h 978"/>
                <a:gd name="T18" fmla="*/ 446 w 977"/>
                <a:gd name="T19" fmla="*/ 0 h 978"/>
                <a:gd name="T20" fmla="*/ 414 w 977"/>
                <a:gd name="T21" fmla="*/ 32 h 978"/>
                <a:gd name="T22" fmla="*/ 414 w 977"/>
                <a:gd name="T23" fmla="*/ 86 h 978"/>
                <a:gd name="T24" fmla="*/ 0 w 977"/>
                <a:gd name="T25" fmla="*/ 531 h 978"/>
                <a:gd name="T26" fmla="*/ 446 w 977"/>
                <a:gd name="T27" fmla="*/ 978 h 978"/>
                <a:gd name="T28" fmla="*/ 892 w 977"/>
                <a:gd name="T29" fmla="*/ 563 h 978"/>
                <a:gd name="T30" fmla="*/ 945 w 977"/>
                <a:gd name="T31" fmla="*/ 563 h 978"/>
                <a:gd name="T32" fmla="*/ 977 w 977"/>
                <a:gd name="T33" fmla="*/ 531 h 978"/>
                <a:gd name="T34" fmla="*/ 892 w 977"/>
                <a:gd name="T35" fmla="*/ 242 h 978"/>
                <a:gd name="T36" fmla="*/ 414 w 977"/>
                <a:gd name="T37" fmla="*/ 150 h 978"/>
                <a:gd name="T38" fmla="*/ 414 w 977"/>
                <a:gd name="T39" fmla="*/ 454 h 978"/>
                <a:gd name="T40" fmla="*/ 200 w 977"/>
                <a:gd name="T41" fmla="*/ 239 h 978"/>
                <a:gd name="T42" fmla="*/ 414 w 977"/>
                <a:gd name="T43" fmla="*/ 150 h 978"/>
                <a:gd name="T44" fmla="*/ 446 w 977"/>
                <a:gd name="T45" fmla="*/ 914 h 978"/>
                <a:gd name="T46" fmla="*/ 64 w 977"/>
                <a:gd name="T47" fmla="*/ 531 h 978"/>
                <a:gd name="T48" fmla="*/ 154 w 977"/>
                <a:gd name="T49" fmla="*/ 284 h 978"/>
                <a:gd name="T50" fmla="*/ 424 w 977"/>
                <a:gd name="T51" fmla="*/ 554 h 978"/>
                <a:gd name="T52" fmla="*/ 424 w 977"/>
                <a:gd name="T53" fmla="*/ 554 h 978"/>
                <a:gd name="T54" fmla="*/ 446 w 977"/>
                <a:gd name="T55" fmla="*/ 563 h 978"/>
                <a:gd name="T56" fmla="*/ 827 w 977"/>
                <a:gd name="T57" fmla="*/ 563 h 978"/>
                <a:gd name="T58" fmla="*/ 446 w 977"/>
                <a:gd name="T59" fmla="*/ 914 h 978"/>
                <a:gd name="T60" fmla="*/ 446 w 977"/>
                <a:gd name="T61" fmla="*/ 914 h 978"/>
                <a:gd name="T62" fmla="*/ 446 w 977"/>
                <a:gd name="T63" fmla="*/ 914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7" h="978">
                  <a:moveTo>
                    <a:pt x="892" y="242"/>
                  </a:moveTo>
                  <a:cubicBezTo>
                    <a:pt x="882" y="228"/>
                    <a:pt x="863" y="223"/>
                    <a:pt x="848" y="233"/>
                  </a:cubicBezTo>
                  <a:cubicBezTo>
                    <a:pt x="833" y="243"/>
                    <a:pt x="829" y="262"/>
                    <a:pt x="838" y="277"/>
                  </a:cubicBezTo>
                  <a:cubicBezTo>
                    <a:pt x="882" y="344"/>
                    <a:pt x="907" y="420"/>
                    <a:pt x="912" y="499"/>
                  </a:cubicBezTo>
                  <a:cubicBezTo>
                    <a:pt x="478" y="499"/>
                    <a:pt x="478" y="499"/>
                    <a:pt x="478" y="499"/>
                  </a:cubicBezTo>
                  <a:cubicBezTo>
                    <a:pt x="478" y="65"/>
                    <a:pt x="478" y="65"/>
                    <a:pt x="478" y="65"/>
                  </a:cubicBezTo>
                  <a:cubicBezTo>
                    <a:pt x="540" y="69"/>
                    <a:pt x="599" y="85"/>
                    <a:pt x="654" y="113"/>
                  </a:cubicBezTo>
                  <a:cubicBezTo>
                    <a:pt x="670" y="121"/>
                    <a:pt x="689" y="114"/>
                    <a:pt x="697" y="98"/>
                  </a:cubicBezTo>
                  <a:cubicBezTo>
                    <a:pt x="705" y="83"/>
                    <a:pt x="698" y="63"/>
                    <a:pt x="683" y="55"/>
                  </a:cubicBezTo>
                  <a:cubicBezTo>
                    <a:pt x="609" y="19"/>
                    <a:pt x="529" y="0"/>
                    <a:pt x="446" y="0"/>
                  </a:cubicBezTo>
                  <a:cubicBezTo>
                    <a:pt x="429" y="0"/>
                    <a:pt x="414" y="14"/>
                    <a:pt x="414" y="32"/>
                  </a:cubicBezTo>
                  <a:cubicBezTo>
                    <a:pt x="414" y="86"/>
                    <a:pt x="414" y="86"/>
                    <a:pt x="414" y="86"/>
                  </a:cubicBezTo>
                  <a:cubicBezTo>
                    <a:pt x="183" y="102"/>
                    <a:pt x="0" y="296"/>
                    <a:pt x="0" y="531"/>
                  </a:cubicBezTo>
                  <a:cubicBezTo>
                    <a:pt x="0" y="777"/>
                    <a:pt x="200" y="978"/>
                    <a:pt x="446" y="978"/>
                  </a:cubicBezTo>
                  <a:cubicBezTo>
                    <a:pt x="682" y="978"/>
                    <a:pt x="875" y="794"/>
                    <a:pt x="892" y="563"/>
                  </a:cubicBezTo>
                  <a:cubicBezTo>
                    <a:pt x="945" y="563"/>
                    <a:pt x="945" y="563"/>
                    <a:pt x="945" y="563"/>
                  </a:cubicBezTo>
                  <a:cubicBezTo>
                    <a:pt x="963" y="563"/>
                    <a:pt x="977" y="549"/>
                    <a:pt x="977" y="531"/>
                  </a:cubicBezTo>
                  <a:cubicBezTo>
                    <a:pt x="977" y="428"/>
                    <a:pt x="948" y="328"/>
                    <a:pt x="892" y="242"/>
                  </a:cubicBezTo>
                  <a:close/>
                  <a:moveTo>
                    <a:pt x="414" y="150"/>
                  </a:moveTo>
                  <a:cubicBezTo>
                    <a:pt x="414" y="454"/>
                    <a:pt x="414" y="454"/>
                    <a:pt x="414" y="454"/>
                  </a:cubicBezTo>
                  <a:cubicBezTo>
                    <a:pt x="200" y="239"/>
                    <a:pt x="200" y="239"/>
                    <a:pt x="200" y="239"/>
                  </a:cubicBezTo>
                  <a:cubicBezTo>
                    <a:pt x="259" y="189"/>
                    <a:pt x="333" y="157"/>
                    <a:pt x="414" y="150"/>
                  </a:cubicBezTo>
                  <a:close/>
                  <a:moveTo>
                    <a:pt x="446" y="914"/>
                  </a:moveTo>
                  <a:cubicBezTo>
                    <a:pt x="235" y="914"/>
                    <a:pt x="64" y="742"/>
                    <a:pt x="64" y="531"/>
                  </a:cubicBezTo>
                  <a:cubicBezTo>
                    <a:pt x="64" y="437"/>
                    <a:pt x="98" y="351"/>
                    <a:pt x="154" y="284"/>
                  </a:cubicBezTo>
                  <a:cubicBezTo>
                    <a:pt x="424" y="554"/>
                    <a:pt x="424" y="554"/>
                    <a:pt x="424" y="554"/>
                  </a:cubicBezTo>
                  <a:cubicBezTo>
                    <a:pt x="424" y="554"/>
                    <a:pt x="424" y="554"/>
                    <a:pt x="424" y="554"/>
                  </a:cubicBezTo>
                  <a:cubicBezTo>
                    <a:pt x="429" y="560"/>
                    <a:pt x="437" y="563"/>
                    <a:pt x="446" y="563"/>
                  </a:cubicBezTo>
                  <a:cubicBezTo>
                    <a:pt x="827" y="563"/>
                    <a:pt x="827" y="563"/>
                    <a:pt x="827" y="563"/>
                  </a:cubicBezTo>
                  <a:cubicBezTo>
                    <a:pt x="811" y="759"/>
                    <a:pt x="646" y="914"/>
                    <a:pt x="446" y="914"/>
                  </a:cubicBezTo>
                  <a:close/>
                  <a:moveTo>
                    <a:pt x="446" y="914"/>
                  </a:moveTo>
                  <a:cubicBezTo>
                    <a:pt x="446" y="914"/>
                    <a:pt x="446" y="914"/>
                    <a:pt x="446" y="9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380"/>
            <p:cNvSpPr>
              <a:spLocks noEditPoints="1"/>
            </p:cNvSpPr>
            <p:nvPr/>
          </p:nvSpPr>
          <p:spPr bwMode="auto">
            <a:xfrm>
              <a:off x="2758" y="2170"/>
              <a:ext cx="136" cy="129"/>
            </a:xfrm>
            <a:custGeom>
              <a:avLst/>
              <a:gdLst>
                <a:gd name="T0" fmla="*/ 58 w 72"/>
                <a:gd name="T1" fmla="*/ 12 h 68"/>
                <a:gd name="T2" fmla="*/ 57 w 72"/>
                <a:gd name="T3" fmla="*/ 12 h 68"/>
                <a:gd name="T4" fmla="*/ 12 w 72"/>
                <a:gd name="T5" fmla="*/ 14 h 68"/>
                <a:gd name="T6" fmla="*/ 15 w 72"/>
                <a:gd name="T7" fmla="*/ 60 h 68"/>
                <a:gd name="T8" fmla="*/ 15 w 72"/>
                <a:gd name="T9" fmla="*/ 60 h 68"/>
                <a:gd name="T10" fmla="*/ 36 w 72"/>
                <a:gd name="T11" fmla="*/ 68 h 68"/>
                <a:gd name="T12" fmla="*/ 60 w 72"/>
                <a:gd name="T13" fmla="*/ 58 h 68"/>
                <a:gd name="T14" fmla="*/ 58 w 72"/>
                <a:gd name="T15" fmla="*/ 12 h 68"/>
                <a:gd name="T16" fmla="*/ 58 w 72"/>
                <a:gd name="T17" fmla="*/ 12 h 68"/>
                <a:gd name="T18" fmla="*/ 58 w 72"/>
                <a:gd name="T19"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68">
                  <a:moveTo>
                    <a:pt x="58" y="12"/>
                  </a:moveTo>
                  <a:cubicBezTo>
                    <a:pt x="58" y="12"/>
                    <a:pt x="57" y="12"/>
                    <a:pt x="57" y="12"/>
                  </a:cubicBezTo>
                  <a:cubicBezTo>
                    <a:pt x="44" y="0"/>
                    <a:pt x="24" y="1"/>
                    <a:pt x="12" y="14"/>
                  </a:cubicBezTo>
                  <a:cubicBezTo>
                    <a:pt x="0" y="28"/>
                    <a:pt x="1" y="48"/>
                    <a:pt x="15" y="60"/>
                  </a:cubicBezTo>
                  <a:cubicBezTo>
                    <a:pt x="15" y="60"/>
                    <a:pt x="15" y="60"/>
                    <a:pt x="15" y="60"/>
                  </a:cubicBezTo>
                  <a:cubicBezTo>
                    <a:pt x="21" y="65"/>
                    <a:pt x="28" y="68"/>
                    <a:pt x="36" y="68"/>
                  </a:cubicBezTo>
                  <a:cubicBezTo>
                    <a:pt x="45" y="68"/>
                    <a:pt x="53" y="64"/>
                    <a:pt x="60" y="58"/>
                  </a:cubicBezTo>
                  <a:cubicBezTo>
                    <a:pt x="72" y="44"/>
                    <a:pt x="71" y="24"/>
                    <a:pt x="58" y="12"/>
                  </a:cubicBezTo>
                  <a:close/>
                  <a:moveTo>
                    <a:pt x="58" y="12"/>
                  </a:moveTo>
                  <a:cubicBezTo>
                    <a:pt x="58" y="12"/>
                    <a:pt x="58" y="12"/>
                    <a:pt x="5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381"/>
            <p:cNvSpPr>
              <a:spLocks noEditPoints="1"/>
            </p:cNvSpPr>
            <p:nvPr/>
          </p:nvSpPr>
          <p:spPr bwMode="auto">
            <a:xfrm>
              <a:off x="2308" y="3100"/>
              <a:ext cx="422" cy="388"/>
            </a:xfrm>
            <a:custGeom>
              <a:avLst/>
              <a:gdLst>
                <a:gd name="T0" fmla="*/ 201 w 223"/>
                <a:gd name="T1" fmla="*/ 8 h 205"/>
                <a:gd name="T2" fmla="*/ 158 w 223"/>
                <a:gd name="T3" fmla="*/ 22 h 205"/>
                <a:gd name="T4" fmla="*/ 25 w 223"/>
                <a:gd name="T5" fmla="*/ 143 h 205"/>
                <a:gd name="T6" fmla="*/ 7 w 223"/>
                <a:gd name="T7" fmla="*/ 185 h 205"/>
                <a:gd name="T8" fmla="*/ 36 w 223"/>
                <a:gd name="T9" fmla="*/ 205 h 205"/>
                <a:gd name="T10" fmla="*/ 48 w 223"/>
                <a:gd name="T11" fmla="*/ 203 h 205"/>
                <a:gd name="T12" fmla="*/ 215 w 223"/>
                <a:gd name="T13" fmla="*/ 51 h 205"/>
                <a:gd name="T14" fmla="*/ 201 w 223"/>
                <a:gd name="T15" fmla="*/ 8 h 205"/>
                <a:gd name="T16" fmla="*/ 201 w 223"/>
                <a:gd name="T17" fmla="*/ 8 h 205"/>
                <a:gd name="T18" fmla="*/ 201 w 223"/>
                <a:gd name="T19" fmla="*/ 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05">
                  <a:moveTo>
                    <a:pt x="201" y="8"/>
                  </a:moveTo>
                  <a:cubicBezTo>
                    <a:pt x="185" y="0"/>
                    <a:pt x="166" y="7"/>
                    <a:pt x="158" y="22"/>
                  </a:cubicBezTo>
                  <a:cubicBezTo>
                    <a:pt x="130" y="78"/>
                    <a:pt x="83" y="121"/>
                    <a:pt x="25" y="143"/>
                  </a:cubicBezTo>
                  <a:cubicBezTo>
                    <a:pt x="9" y="150"/>
                    <a:pt x="0" y="168"/>
                    <a:pt x="7" y="185"/>
                  </a:cubicBezTo>
                  <a:cubicBezTo>
                    <a:pt x="11" y="197"/>
                    <a:pt x="24" y="205"/>
                    <a:pt x="36" y="205"/>
                  </a:cubicBezTo>
                  <a:cubicBezTo>
                    <a:pt x="40" y="205"/>
                    <a:pt x="44" y="205"/>
                    <a:pt x="48" y="203"/>
                  </a:cubicBezTo>
                  <a:cubicBezTo>
                    <a:pt x="121" y="175"/>
                    <a:pt x="181" y="121"/>
                    <a:pt x="215" y="51"/>
                  </a:cubicBezTo>
                  <a:cubicBezTo>
                    <a:pt x="223" y="35"/>
                    <a:pt x="217" y="16"/>
                    <a:pt x="201" y="8"/>
                  </a:cubicBezTo>
                  <a:close/>
                  <a:moveTo>
                    <a:pt x="201" y="8"/>
                  </a:moveTo>
                  <a:cubicBezTo>
                    <a:pt x="201" y="8"/>
                    <a:pt x="201" y="8"/>
                    <a:pt x="201"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382"/>
            <p:cNvSpPr>
              <a:spLocks noEditPoints="1"/>
            </p:cNvSpPr>
            <p:nvPr/>
          </p:nvSpPr>
          <p:spPr bwMode="auto">
            <a:xfrm>
              <a:off x="2128" y="3401"/>
              <a:ext cx="123" cy="121"/>
            </a:xfrm>
            <a:custGeom>
              <a:avLst/>
              <a:gdLst>
                <a:gd name="T0" fmla="*/ 33 w 65"/>
                <a:gd name="T1" fmla="*/ 0 h 64"/>
                <a:gd name="T2" fmla="*/ 32 w 65"/>
                <a:gd name="T3" fmla="*/ 0 h 64"/>
                <a:gd name="T4" fmla="*/ 0 w 65"/>
                <a:gd name="T5" fmla="*/ 32 h 64"/>
                <a:gd name="T6" fmla="*/ 32 w 65"/>
                <a:gd name="T7" fmla="*/ 64 h 64"/>
                <a:gd name="T8" fmla="*/ 33 w 65"/>
                <a:gd name="T9" fmla="*/ 64 h 64"/>
                <a:gd name="T10" fmla="*/ 65 w 65"/>
                <a:gd name="T11" fmla="*/ 32 h 64"/>
                <a:gd name="T12" fmla="*/ 33 w 65"/>
                <a:gd name="T13" fmla="*/ 0 h 64"/>
                <a:gd name="T14" fmla="*/ 33 w 65"/>
                <a:gd name="T15" fmla="*/ 0 h 64"/>
                <a:gd name="T16" fmla="*/ 33 w 6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4">
                  <a:moveTo>
                    <a:pt x="33" y="0"/>
                  </a:moveTo>
                  <a:cubicBezTo>
                    <a:pt x="32" y="0"/>
                    <a:pt x="32" y="0"/>
                    <a:pt x="32" y="0"/>
                  </a:cubicBezTo>
                  <a:cubicBezTo>
                    <a:pt x="15" y="0"/>
                    <a:pt x="0" y="15"/>
                    <a:pt x="0" y="32"/>
                  </a:cubicBezTo>
                  <a:cubicBezTo>
                    <a:pt x="0" y="50"/>
                    <a:pt x="15" y="64"/>
                    <a:pt x="32" y="64"/>
                  </a:cubicBezTo>
                  <a:cubicBezTo>
                    <a:pt x="33" y="64"/>
                    <a:pt x="33" y="64"/>
                    <a:pt x="33" y="64"/>
                  </a:cubicBezTo>
                  <a:cubicBezTo>
                    <a:pt x="51" y="64"/>
                    <a:pt x="65" y="50"/>
                    <a:pt x="65" y="32"/>
                  </a:cubicBezTo>
                  <a:cubicBezTo>
                    <a:pt x="65" y="15"/>
                    <a:pt x="51" y="0"/>
                    <a:pt x="33" y="0"/>
                  </a:cubicBezTo>
                  <a:close/>
                  <a:moveTo>
                    <a:pt x="33" y="0"/>
                  </a:move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6" name="Group 411"/>
          <p:cNvGrpSpPr>
            <a:grpSpLocks noChangeAspect="1"/>
          </p:cNvGrpSpPr>
          <p:nvPr/>
        </p:nvGrpSpPr>
        <p:grpSpPr bwMode="auto">
          <a:xfrm>
            <a:off x="5971137" y="4080541"/>
            <a:ext cx="512065" cy="512064"/>
            <a:chOff x="2764" y="2241"/>
            <a:chExt cx="369" cy="369"/>
          </a:xfrm>
          <a:solidFill>
            <a:schemeClr val="accent1"/>
          </a:solidFill>
        </p:grpSpPr>
        <p:sp>
          <p:nvSpPr>
            <p:cNvPr id="418" name="Freeform 412"/>
            <p:cNvSpPr>
              <a:spLocks noEditPoints="1"/>
            </p:cNvSpPr>
            <p:nvPr/>
          </p:nvSpPr>
          <p:spPr bwMode="auto">
            <a:xfrm>
              <a:off x="2764" y="2241"/>
              <a:ext cx="313" cy="190"/>
            </a:xfrm>
            <a:custGeom>
              <a:avLst/>
              <a:gdLst>
                <a:gd name="T0" fmla="*/ 3 w 163"/>
                <a:gd name="T1" fmla="*/ 99 h 99"/>
                <a:gd name="T2" fmla="*/ 6 w 163"/>
                <a:gd name="T3" fmla="*/ 96 h 99"/>
                <a:gd name="T4" fmla="*/ 96 w 163"/>
                <a:gd name="T5" fmla="*/ 6 h 99"/>
                <a:gd name="T6" fmla="*/ 151 w 163"/>
                <a:gd name="T7" fmla="*/ 26 h 99"/>
                <a:gd name="T8" fmla="*/ 134 w 163"/>
                <a:gd name="T9" fmla="*/ 26 h 99"/>
                <a:gd name="T10" fmla="*/ 131 w 163"/>
                <a:gd name="T11" fmla="*/ 29 h 99"/>
                <a:gd name="T12" fmla="*/ 134 w 163"/>
                <a:gd name="T13" fmla="*/ 32 h 99"/>
                <a:gd name="T14" fmla="*/ 160 w 163"/>
                <a:gd name="T15" fmla="*/ 32 h 99"/>
                <a:gd name="T16" fmla="*/ 160 w 163"/>
                <a:gd name="T17" fmla="*/ 32 h 99"/>
                <a:gd name="T18" fmla="*/ 163 w 163"/>
                <a:gd name="T19" fmla="*/ 32 h 99"/>
                <a:gd name="T20" fmla="*/ 163 w 163"/>
                <a:gd name="T21" fmla="*/ 3 h 99"/>
                <a:gd name="T22" fmla="*/ 160 w 163"/>
                <a:gd name="T23" fmla="*/ 0 h 99"/>
                <a:gd name="T24" fmla="*/ 157 w 163"/>
                <a:gd name="T25" fmla="*/ 3 h 99"/>
                <a:gd name="T26" fmla="*/ 157 w 163"/>
                <a:gd name="T27" fmla="*/ 22 h 99"/>
                <a:gd name="T28" fmla="*/ 96 w 163"/>
                <a:gd name="T29" fmla="*/ 0 h 99"/>
                <a:gd name="T30" fmla="*/ 0 w 163"/>
                <a:gd name="T31" fmla="*/ 96 h 99"/>
                <a:gd name="T32" fmla="*/ 3 w 163"/>
                <a:gd name="T33" fmla="*/ 99 h 99"/>
                <a:gd name="T34" fmla="*/ 3 w 163"/>
                <a:gd name="T35" fmla="*/ 99 h 99"/>
                <a:gd name="T36" fmla="*/ 3 w 163"/>
                <a:gd name="T3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99">
                  <a:moveTo>
                    <a:pt x="3" y="99"/>
                  </a:moveTo>
                  <a:cubicBezTo>
                    <a:pt x="5" y="99"/>
                    <a:pt x="6" y="98"/>
                    <a:pt x="6" y="96"/>
                  </a:cubicBezTo>
                  <a:cubicBezTo>
                    <a:pt x="6" y="47"/>
                    <a:pt x="47" y="6"/>
                    <a:pt x="96" y="6"/>
                  </a:cubicBezTo>
                  <a:cubicBezTo>
                    <a:pt x="116" y="6"/>
                    <a:pt x="136" y="13"/>
                    <a:pt x="151" y="26"/>
                  </a:cubicBezTo>
                  <a:cubicBezTo>
                    <a:pt x="134" y="26"/>
                    <a:pt x="134" y="26"/>
                    <a:pt x="134" y="26"/>
                  </a:cubicBezTo>
                  <a:cubicBezTo>
                    <a:pt x="133" y="26"/>
                    <a:pt x="131" y="27"/>
                    <a:pt x="131" y="29"/>
                  </a:cubicBezTo>
                  <a:cubicBezTo>
                    <a:pt x="131" y="31"/>
                    <a:pt x="133" y="32"/>
                    <a:pt x="134" y="32"/>
                  </a:cubicBezTo>
                  <a:cubicBezTo>
                    <a:pt x="160" y="32"/>
                    <a:pt x="160" y="32"/>
                    <a:pt x="160" y="32"/>
                  </a:cubicBezTo>
                  <a:cubicBezTo>
                    <a:pt x="160" y="32"/>
                    <a:pt x="160" y="32"/>
                    <a:pt x="160" y="32"/>
                  </a:cubicBezTo>
                  <a:cubicBezTo>
                    <a:pt x="163" y="32"/>
                    <a:pt x="163" y="32"/>
                    <a:pt x="163" y="32"/>
                  </a:cubicBezTo>
                  <a:cubicBezTo>
                    <a:pt x="163" y="3"/>
                    <a:pt x="163" y="3"/>
                    <a:pt x="163" y="3"/>
                  </a:cubicBezTo>
                  <a:cubicBezTo>
                    <a:pt x="163" y="1"/>
                    <a:pt x="162" y="0"/>
                    <a:pt x="160" y="0"/>
                  </a:cubicBezTo>
                  <a:cubicBezTo>
                    <a:pt x="158" y="0"/>
                    <a:pt x="157" y="1"/>
                    <a:pt x="157" y="3"/>
                  </a:cubicBezTo>
                  <a:cubicBezTo>
                    <a:pt x="157" y="22"/>
                    <a:pt x="157" y="22"/>
                    <a:pt x="157" y="22"/>
                  </a:cubicBezTo>
                  <a:cubicBezTo>
                    <a:pt x="140" y="8"/>
                    <a:pt x="118" y="0"/>
                    <a:pt x="96" y="0"/>
                  </a:cubicBezTo>
                  <a:cubicBezTo>
                    <a:pt x="43" y="0"/>
                    <a:pt x="0" y="43"/>
                    <a:pt x="0" y="96"/>
                  </a:cubicBezTo>
                  <a:cubicBezTo>
                    <a:pt x="0" y="98"/>
                    <a:pt x="1" y="99"/>
                    <a:pt x="3" y="99"/>
                  </a:cubicBezTo>
                  <a:close/>
                  <a:moveTo>
                    <a:pt x="3" y="99"/>
                  </a:moveTo>
                  <a:cubicBezTo>
                    <a:pt x="3" y="99"/>
                    <a:pt x="3" y="99"/>
                    <a:pt x="3" y="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413"/>
            <p:cNvSpPr>
              <a:spLocks noEditPoints="1"/>
            </p:cNvSpPr>
            <p:nvPr/>
          </p:nvSpPr>
          <p:spPr bwMode="auto">
            <a:xfrm>
              <a:off x="2814" y="2291"/>
              <a:ext cx="269" cy="269"/>
            </a:xfrm>
            <a:custGeom>
              <a:avLst/>
              <a:gdLst>
                <a:gd name="T0" fmla="*/ 70 w 140"/>
                <a:gd name="T1" fmla="*/ 0 h 140"/>
                <a:gd name="T2" fmla="*/ 0 w 140"/>
                <a:gd name="T3" fmla="*/ 70 h 140"/>
                <a:gd name="T4" fmla="*/ 70 w 140"/>
                <a:gd name="T5" fmla="*/ 140 h 140"/>
                <a:gd name="T6" fmla="*/ 140 w 140"/>
                <a:gd name="T7" fmla="*/ 70 h 140"/>
                <a:gd name="T8" fmla="*/ 70 w 140"/>
                <a:gd name="T9" fmla="*/ 0 h 140"/>
                <a:gd name="T10" fmla="*/ 70 w 140"/>
                <a:gd name="T11" fmla="*/ 134 h 140"/>
                <a:gd name="T12" fmla="*/ 6 w 140"/>
                <a:gd name="T13" fmla="*/ 70 h 140"/>
                <a:gd name="T14" fmla="*/ 70 w 140"/>
                <a:gd name="T15" fmla="*/ 6 h 140"/>
                <a:gd name="T16" fmla="*/ 134 w 140"/>
                <a:gd name="T17" fmla="*/ 70 h 140"/>
                <a:gd name="T18" fmla="*/ 70 w 140"/>
                <a:gd name="T19" fmla="*/ 134 h 140"/>
                <a:gd name="T20" fmla="*/ 70 w 140"/>
                <a:gd name="T21" fmla="*/ 134 h 140"/>
                <a:gd name="T22" fmla="*/ 70 w 140"/>
                <a:gd name="T23" fmla="*/ 13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70" y="0"/>
                  </a:moveTo>
                  <a:cubicBezTo>
                    <a:pt x="31" y="0"/>
                    <a:pt x="0" y="31"/>
                    <a:pt x="0" y="70"/>
                  </a:cubicBezTo>
                  <a:cubicBezTo>
                    <a:pt x="0" y="109"/>
                    <a:pt x="31" y="140"/>
                    <a:pt x="70" y="140"/>
                  </a:cubicBezTo>
                  <a:cubicBezTo>
                    <a:pt x="109" y="140"/>
                    <a:pt x="140" y="109"/>
                    <a:pt x="140" y="70"/>
                  </a:cubicBezTo>
                  <a:cubicBezTo>
                    <a:pt x="140" y="31"/>
                    <a:pt x="109" y="0"/>
                    <a:pt x="70" y="0"/>
                  </a:cubicBezTo>
                  <a:close/>
                  <a:moveTo>
                    <a:pt x="70" y="134"/>
                  </a:moveTo>
                  <a:cubicBezTo>
                    <a:pt x="35" y="134"/>
                    <a:pt x="6" y="105"/>
                    <a:pt x="6" y="70"/>
                  </a:cubicBezTo>
                  <a:cubicBezTo>
                    <a:pt x="6" y="35"/>
                    <a:pt x="35" y="6"/>
                    <a:pt x="70" y="6"/>
                  </a:cubicBezTo>
                  <a:cubicBezTo>
                    <a:pt x="105" y="6"/>
                    <a:pt x="134" y="35"/>
                    <a:pt x="134" y="70"/>
                  </a:cubicBezTo>
                  <a:cubicBezTo>
                    <a:pt x="134" y="105"/>
                    <a:pt x="105" y="134"/>
                    <a:pt x="70" y="134"/>
                  </a:cubicBezTo>
                  <a:close/>
                  <a:moveTo>
                    <a:pt x="70" y="134"/>
                  </a:moveTo>
                  <a:cubicBezTo>
                    <a:pt x="70" y="134"/>
                    <a:pt x="70" y="134"/>
                    <a:pt x="70" y="1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414"/>
            <p:cNvSpPr>
              <a:spLocks noEditPoints="1"/>
            </p:cNvSpPr>
            <p:nvPr/>
          </p:nvSpPr>
          <p:spPr bwMode="auto">
            <a:xfrm>
              <a:off x="2943" y="2308"/>
              <a:ext cx="11" cy="25"/>
            </a:xfrm>
            <a:custGeom>
              <a:avLst/>
              <a:gdLst>
                <a:gd name="T0" fmla="*/ 3 w 6"/>
                <a:gd name="T1" fmla="*/ 13 h 13"/>
                <a:gd name="T2" fmla="*/ 6 w 6"/>
                <a:gd name="T3" fmla="*/ 10 h 13"/>
                <a:gd name="T4" fmla="*/ 6 w 6"/>
                <a:gd name="T5" fmla="*/ 3 h 13"/>
                <a:gd name="T6" fmla="*/ 3 w 6"/>
                <a:gd name="T7" fmla="*/ 0 h 13"/>
                <a:gd name="T8" fmla="*/ 0 w 6"/>
                <a:gd name="T9" fmla="*/ 3 h 13"/>
                <a:gd name="T10" fmla="*/ 0 w 6"/>
                <a:gd name="T11" fmla="*/ 10 h 13"/>
                <a:gd name="T12" fmla="*/ 3 w 6"/>
                <a:gd name="T13" fmla="*/ 13 h 13"/>
                <a:gd name="T14" fmla="*/ 3 w 6"/>
                <a:gd name="T15" fmla="*/ 13 h 13"/>
                <a:gd name="T16" fmla="*/ 3 w 6"/>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3">
                  <a:moveTo>
                    <a:pt x="3" y="13"/>
                  </a:moveTo>
                  <a:cubicBezTo>
                    <a:pt x="5" y="13"/>
                    <a:pt x="6" y="12"/>
                    <a:pt x="6" y="10"/>
                  </a:cubicBezTo>
                  <a:cubicBezTo>
                    <a:pt x="6" y="3"/>
                    <a:pt x="6" y="3"/>
                    <a:pt x="6" y="3"/>
                  </a:cubicBezTo>
                  <a:cubicBezTo>
                    <a:pt x="6" y="2"/>
                    <a:pt x="5" y="0"/>
                    <a:pt x="3" y="0"/>
                  </a:cubicBezTo>
                  <a:cubicBezTo>
                    <a:pt x="1" y="0"/>
                    <a:pt x="0" y="2"/>
                    <a:pt x="0" y="3"/>
                  </a:cubicBezTo>
                  <a:cubicBezTo>
                    <a:pt x="0" y="10"/>
                    <a:pt x="0" y="10"/>
                    <a:pt x="0" y="10"/>
                  </a:cubicBezTo>
                  <a:cubicBezTo>
                    <a:pt x="0" y="12"/>
                    <a:pt x="1" y="13"/>
                    <a:pt x="3" y="13"/>
                  </a:cubicBezTo>
                  <a:close/>
                  <a:moveTo>
                    <a:pt x="3" y="13"/>
                  </a:moveTo>
                  <a:cubicBezTo>
                    <a:pt x="3" y="13"/>
                    <a:pt x="3" y="13"/>
                    <a:pt x="3"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415"/>
            <p:cNvSpPr>
              <a:spLocks noEditPoints="1"/>
            </p:cNvSpPr>
            <p:nvPr/>
          </p:nvSpPr>
          <p:spPr bwMode="auto">
            <a:xfrm>
              <a:off x="2943" y="2518"/>
              <a:ext cx="11" cy="25"/>
            </a:xfrm>
            <a:custGeom>
              <a:avLst/>
              <a:gdLst>
                <a:gd name="T0" fmla="*/ 3 w 6"/>
                <a:gd name="T1" fmla="*/ 0 h 13"/>
                <a:gd name="T2" fmla="*/ 0 w 6"/>
                <a:gd name="T3" fmla="*/ 3 h 13"/>
                <a:gd name="T4" fmla="*/ 0 w 6"/>
                <a:gd name="T5" fmla="*/ 10 h 13"/>
                <a:gd name="T6" fmla="*/ 3 w 6"/>
                <a:gd name="T7" fmla="*/ 13 h 13"/>
                <a:gd name="T8" fmla="*/ 6 w 6"/>
                <a:gd name="T9" fmla="*/ 10 h 13"/>
                <a:gd name="T10" fmla="*/ 6 w 6"/>
                <a:gd name="T11" fmla="*/ 3 h 13"/>
                <a:gd name="T12" fmla="*/ 3 w 6"/>
                <a:gd name="T13" fmla="*/ 0 h 13"/>
                <a:gd name="T14" fmla="*/ 3 w 6"/>
                <a:gd name="T15" fmla="*/ 0 h 13"/>
                <a:gd name="T16" fmla="*/ 3 w 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3">
                  <a:moveTo>
                    <a:pt x="3" y="0"/>
                  </a:moveTo>
                  <a:cubicBezTo>
                    <a:pt x="1" y="0"/>
                    <a:pt x="0" y="1"/>
                    <a:pt x="0" y="3"/>
                  </a:cubicBezTo>
                  <a:cubicBezTo>
                    <a:pt x="0" y="10"/>
                    <a:pt x="0" y="10"/>
                    <a:pt x="0" y="10"/>
                  </a:cubicBezTo>
                  <a:cubicBezTo>
                    <a:pt x="0" y="11"/>
                    <a:pt x="1" y="13"/>
                    <a:pt x="3" y="13"/>
                  </a:cubicBezTo>
                  <a:cubicBezTo>
                    <a:pt x="5" y="13"/>
                    <a:pt x="6" y="11"/>
                    <a:pt x="6" y="10"/>
                  </a:cubicBezTo>
                  <a:cubicBezTo>
                    <a:pt x="6" y="3"/>
                    <a:pt x="6" y="3"/>
                    <a:pt x="6" y="3"/>
                  </a:cubicBezTo>
                  <a:cubicBezTo>
                    <a:pt x="6" y="1"/>
                    <a:pt x="5" y="0"/>
                    <a:pt x="3" y="0"/>
                  </a:cubicBez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416"/>
            <p:cNvSpPr>
              <a:spLocks noEditPoints="1"/>
            </p:cNvSpPr>
            <p:nvPr/>
          </p:nvSpPr>
          <p:spPr bwMode="auto">
            <a:xfrm>
              <a:off x="3041" y="2420"/>
              <a:ext cx="25" cy="11"/>
            </a:xfrm>
            <a:custGeom>
              <a:avLst/>
              <a:gdLst>
                <a:gd name="T0" fmla="*/ 3 w 13"/>
                <a:gd name="T1" fmla="*/ 6 h 6"/>
                <a:gd name="T2" fmla="*/ 10 w 13"/>
                <a:gd name="T3" fmla="*/ 6 h 6"/>
                <a:gd name="T4" fmla="*/ 13 w 13"/>
                <a:gd name="T5" fmla="*/ 3 h 6"/>
                <a:gd name="T6" fmla="*/ 10 w 13"/>
                <a:gd name="T7" fmla="*/ 0 h 6"/>
                <a:gd name="T8" fmla="*/ 3 w 13"/>
                <a:gd name="T9" fmla="*/ 0 h 6"/>
                <a:gd name="T10" fmla="*/ 0 w 13"/>
                <a:gd name="T11" fmla="*/ 3 h 6"/>
                <a:gd name="T12" fmla="*/ 3 w 13"/>
                <a:gd name="T13" fmla="*/ 6 h 6"/>
                <a:gd name="T14" fmla="*/ 3 w 13"/>
                <a:gd name="T15" fmla="*/ 6 h 6"/>
                <a:gd name="T16" fmla="*/ 3 w 1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3" y="6"/>
                  </a:moveTo>
                  <a:cubicBezTo>
                    <a:pt x="10" y="6"/>
                    <a:pt x="10" y="6"/>
                    <a:pt x="10" y="6"/>
                  </a:cubicBezTo>
                  <a:cubicBezTo>
                    <a:pt x="11" y="6"/>
                    <a:pt x="13" y="5"/>
                    <a:pt x="13" y="3"/>
                  </a:cubicBezTo>
                  <a:cubicBezTo>
                    <a:pt x="13" y="1"/>
                    <a:pt x="11" y="0"/>
                    <a:pt x="10" y="0"/>
                  </a:cubicBezTo>
                  <a:cubicBezTo>
                    <a:pt x="3" y="0"/>
                    <a:pt x="3" y="0"/>
                    <a:pt x="3" y="0"/>
                  </a:cubicBezTo>
                  <a:cubicBezTo>
                    <a:pt x="1" y="0"/>
                    <a:pt x="0" y="1"/>
                    <a:pt x="0" y="3"/>
                  </a:cubicBezTo>
                  <a:cubicBezTo>
                    <a:pt x="0" y="5"/>
                    <a:pt x="1" y="6"/>
                    <a:pt x="3" y="6"/>
                  </a:cubicBezTo>
                  <a:close/>
                  <a:moveTo>
                    <a:pt x="3" y="6"/>
                  </a:moveTo>
                  <a:cubicBezTo>
                    <a:pt x="3" y="6"/>
                    <a:pt x="3" y="6"/>
                    <a:pt x="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417"/>
            <p:cNvSpPr>
              <a:spLocks noEditPoints="1"/>
            </p:cNvSpPr>
            <p:nvPr/>
          </p:nvSpPr>
          <p:spPr bwMode="auto">
            <a:xfrm>
              <a:off x="2831" y="2420"/>
              <a:ext cx="25" cy="11"/>
            </a:xfrm>
            <a:custGeom>
              <a:avLst/>
              <a:gdLst>
                <a:gd name="T0" fmla="*/ 10 w 13"/>
                <a:gd name="T1" fmla="*/ 0 h 6"/>
                <a:gd name="T2" fmla="*/ 3 w 13"/>
                <a:gd name="T3" fmla="*/ 0 h 6"/>
                <a:gd name="T4" fmla="*/ 0 w 13"/>
                <a:gd name="T5" fmla="*/ 3 h 6"/>
                <a:gd name="T6" fmla="*/ 3 w 13"/>
                <a:gd name="T7" fmla="*/ 6 h 6"/>
                <a:gd name="T8" fmla="*/ 10 w 13"/>
                <a:gd name="T9" fmla="*/ 6 h 6"/>
                <a:gd name="T10" fmla="*/ 13 w 13"/>
                <a:gd name="T11" fmla="*/ 3 h 6"/>
                <a:gd name="T12" fmla="*/ 10 w 13"/>
                <a:gd name="T13" fmla="*/ 0 h 6"/>
                <a:gd name="T14" fmla="*/ 10 w 13"/>
                <a:gd name="T15" fmla="*/ 0 h 6"/>
                <a:gd name="T16" fmla="*/ 10 w 13"/>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10" y="0"/>
                  </a:moveTo>
                  <a:cubicBezTo>
                    <a:pt x="3" y="0"/>
                    <a:pt x="3" y="0"/>
                    <a:pt x="3" y="0"/>
                  </a:cubicBezTo>
                  <a:cubicBezTo>
                    <a:pt x="2" y="0"/>
                    <a:pt x="0" y="1"/>
                    <a:pt x="0" y="3"/>
                  </a:cubicBezTo>
                  <a:cubicBezTo>
                    <a:pt x="0" y="5"/>
                    <a:pt x="2" y="6"/>
                    <a:pt x="3" y="6"/>
                  </a:cubicBezTo>
                  <a:cubicBezTo>
                    <a:pt x="10" y="6"/>
                    <a:pt x="10" y="6"/>
                    <a:pt x="10" y="6"/>
                  </a:cubicBezTo>
                  <a:cubicBezTo>
                    <a:pt x="12" y="6"/>
                    <a:pt x="13" y="5"/>
                    <a:pt x="13" y="3"/>
                  </a:cubicBezTo>
                  <a:cubicBezTo>
                    <a:pt x="13" y="1"/>
                    <a:pt x="12" y="0"/>
                    <a:pt x="10" y="0"/>
                  </a:cubicBezTo>
                  <a:close/>
                  <a:moveTo>
                    <a:pt x="10" y="0"/>
                  </a:move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418"/>
            <p:cNvSpPr>
              <a:spLocks noEditPoints="1"/>
            </p:cNvSpPr>
            <p:nvPr/>
          </p:nvSpPr>
          <p:spPr bwMode="auto">
            <a:xfrm>
              <a:off x="2874" y="2358"/>
              <a:ext cx="100" cy="135"/>
            </a:xfrm>
            <a:custGeom>
              <a:avLst/>
              <a:gdLst>
                <a:gd name="T0" fmla="*/ 42 w 52"/>
                <a:gd name="T1" fmla="*/ 19 h 70"/>
                <a:gd name="T2" fmla="*/ 42 w 52"/>
                <a:gd name="T3" fmla="*/ 3 h 70"/>
                <a:gd name="T4" fmla="*/ 39 w 52"/>
                <a:gd name="T5" fmla="*/ 0 h 70"/>
                <a:gd name="T6" fmla="*/ 36 w 52"/>
                <a:gd name="T7" fmla="*/ 3 h 70"/>
                <a:gd name="T8" fmla="*/ 36 w 52"/>
                <a:gd name="T9" fmla="*/ 19 h 70"/>
                <a:gd name="T10" fmla="*/ 26 w 52"/>
                <a:gd name="T11" fmla="*/ 32 h 70"/>
                <a:gd name="T12" fmla="*/ 28 w 52"/>
                <a:gd name="T13" fmla="*/ 38 h 70"/>
                <a:gd name="T14" fmla="*/ 2 w 52"/>
                <a:gd name="T15" fmla="*/ 65 h 70"/>
                <a:gd name="T16" fmla="*/ 2 w 52"/>
                <a:gd name="T17" fmla="*/ 69 h 70"/>
                <a:gd name="T18" fmla="*/ 4 w 52"/>
                <a:gd name="T19" fmla="*/ 70 h 70"/>
                <a:gd name="T20" fmla="*/ 6 w 52"/>
                <a:gd name="T21" fmla="*/ 69 h 70"/>
                <a:gd name="T22" fmla="*/ 33 w 52"/>
                <a:gd name="T23" fmla="*/ 43 h 70"/>
                <a:gd name="T24" fmla="*/ 39 w 52"/>
                <a:gd name="T25" fmla="*/ 45 h 70"/>
                <a:gd name="T26" fmla="*/ 52 w 52"/>
                <a:gd name="T27" fmla="*/ 32 h 70"/>
                <a:gd name="T28" fmla="*/ 42 w 52"/>
                <a:gd name="T29" fmla="*/ 19 h 70"/>
                <a:gd name="T30" fmla="*/ 39 w 52"/>
                <a:gd name="T31" fmla="*/ 38 h 70"/>
                <a:gd name="T32" fmla="*/ 33 w 52"/>
                <a:gd name="T33" fmla="*/ 32 h 70"/>
                <a:gd name="T34" fmla="*/ 39 w 52"/>
                <a:gd name="T35" fmla="*/ 25 h 70"/>
                <a:gd name="T36" fmla="*/ 45 w 52"/>
                <a:gd name="T37" fmla="*/ 32 h 70"/>
                <a:gd name="T38" fmla="*/ 39 w 52"/>
                <a:gd name="T39" fmla="*/ 38 h 70"/>
                <a:gd name="T40" fmla="*/ 39 w 52"/>
                <a:gd name="T41" fmla="*/ 38 h 70"/>
                <a:gd name="T42" fmla="*/ 39 w 52"/>
                <a:gd name="T43" fmla="*/ 3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70">
                  <a:moveTo>
                    <a:pt x="42" y="19"/>
                  </a:moveTo>
                  <a:cubicBezTo>
                    <a:pt x="42" y="3"/>
                    <a:pt x="42" y="3"/>
                    <a:pt x="42" y="3"/>
                  </a:cubicBezTo>
                  <a:cubicBezTo>
                    <a:pt x="42" y="1"/>
                    <a:pt x="41" y="0"/>
                    <a:pt x="39" y="0"/>
                  </a:cubicBezTo>
                  <a:cubicBezTo>
                    <a:pt x="37" y="0"/>
                    <a:pt x="36" y="1"/>
                    <a:pt x="36" y="3"/>
                  </a:cubicBezTo>
                  <a:cubicBezTo>
                    <a:pt x="36" y="19"/>
                    <a:pt x="36" y="19"/>
                    <a:pt x="36" y="19"/>
                  </a:cubicBezTo>
                  <a:cubicBezTo>
                    <a:pt x="30" y="21"/>
                    <a:pt x="26" y="26"/>
                    <a:pt x="26" y="32"/>
                  </a:cubicBezTo>
                  <a:cubicBezTo>
                    <a:pt x="26" y="34"/>
                    <a:pt x="27" y="36"/>
                    <a:pt x="28" y="38"/>
                  </a:cubicBezTo>
                  <a:cubicBezTo>
                    <a:pt x="2" y="65"/>
                    <a:pt x="2" y="65"/>
                    <a:pt x="2" y="65"/>
                  </a:cubicBezTo>
                  <a:cubicBezTo>
                    <a:pt x="0" y="66"/>
                    <a:pt x="0" y="68"/>
                    <a:pt x="2" y="69"/>
                  </a:cubicBezTo>
                  <a:cubicBezTo>
                    <a:pt x="2" y="70"/>
                    <a:pt x="3" y="70"/>
                    <a:pt x="4" y="70"/>
                  </a:cubicBezTo>
                  <a:cubicBezTo>
                    <a:pt x="5" y="70"/>
                    <a:pt x="5" y="70"/>
                    <a:pt x="6" y="69"/>
                  </a:cubicBezTo>
                  <a:cubicBezTo>
                    <a:pt x="33" y="43"/>
                    <a:pt x="33" y="43"/>
                    <a:pt x="33" y="43"/>
                  </a:cubicBezTo>
                  <a:cubicBezTo>
                    <a:pt x="34" y="44"/>
                    <a:pt x="37" y="45"/>
                    <a:pt x="39" y="45"/>
                  </a:cubicBezTo>
                  <a:cubicBezTo>
                    <a:pt x="46" y="45"/>
                    <a:pt x="52" y="39"/>
                    <a:pt x="52" y="32"/>
                  </a:cubicBezTo>
                  <a:cubicBezTo>
                    <a:pt x="52" y="26"/>
                    <a:pt x="48" y="21"/>
                    <a:pt x="42" y="19"/>
                  </a:cubicBezTo>
                  <a:close/>
                  <a:moveTo>
                    <a:pt x="39" y="38"/>
                  </a:moveTo>
                  <a:cubicBezTo>
                    <a:pt x="35" y="38"/>
                    <a:pt x="33" y="35"/>
                    <a:pt x="33" y="32"/>
                  </a:cubicBezTo>
                  <a:cubicBezTo>
                    <a:pt x="33" y="28"/>
                    <a:pt x="35" y="25"/>
                    <a:pt x="39" y="25"/>
                  </a:cubicBezTo>
                  <a:cubicBezTo>
                    <a:pt x="43" y="25"/>
                    <a:pt x="45" y="28"/>
                    <a:pt x="45" y="32"/>
                  </a:cubicBezTo>
                  <a:cubicBezTo>
                    <a:pt x="45" y="35"/>
                    <a:pt x="43" y="38"/>
                    <a:pt x="39" y="38"/>
                  </a:cubicBezTo>
                  <a:close/>
                  <a:moveTo>
                    <a:pt x="39" y="38"/>
                  </a:moveTo>
                  <a:cubicBezTo>
                    <a:pt x="39" y="38"/>
                    <a:pt x="39" y="38"/>
                    <a:pt x="39"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419"/>
            <p:cNvSpPr>
              <a:spLocks noEditPoints="1"/>
            </p:cNvSpPr>
            <p:nvPr/>
          </p:nvSpPr>
          <p:spPr bwMode="auto">
            <a:xfrm>
              <a:off x="2835" y="2562"/>
              <a:ext cx="14" cy="13"/>
            </a:xfrm>
            <a:custGeom>
              <a:avLst/>
              <a:gdLst>
                <a:gd name="T0" fmla="*/ 1 w 7"/>
                <a:gd name="T1" fmla="*/ 2 h 7"/>
                <a:gd name="T2" fmla="*/ 2 w 7"/>
                <a:gd name="T3" fmla="*/ 6 h 7"/>
                <a:gd name="T4" fmla="*/ 4 w 7"/>
                <a:gd name="T5" fmla="*/ 7 h 7"/>
                <a:gd name="T6" fmla="*/ 6 w 7"/>
                <a:gd name="T7" fmla="*/ 5 h 7"/>
                <a:gd name="T8" fmla="*/ 6 w 7"/>
                <a:gd name="T9" fmla="*/ 1 h 7"/>
                <a:gd name="T10" fmla="*/ 1 w 7"/>
                <a:gd name="T11" fmla="*/ 2 h 7"/>
                <a:gd name="T12" fmla="*/ 1 w 7"/>
                <a:gd name="T13" fmla="*/ 2 h 7"/>
                <a:gd name="T14" fmla="*/ 1 w 7"/>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1" y="2"/>
                  </a:moveTo>
                  <a:cubicBezTo>
                    <a:pt x="0" y="3"/>
                    <a:pt x="0" y="5"/>
                    <a:pt x="2" y="6"/>
                  </a:cubicBezTo>
                  <a:cubicBezTo>
                    <a:pt x="2" y="6"/>
                    <a:pt x="3" y="7"/>
                    <a:pt x="4" y="7"/>
                  </a:cubicBezTo>
                  <a:cubicBezTo>
                    <a:pt x="5" y="7"/>
                    <a:pt x="6" y="6"/>
                    <a:pt x="6" y="5"/>
                  </a:cubicBezTo>
                  <a:cubicBezTo>
                    <a:pt x="7" y="4"/>
                    <a:pt x="7" y="2"/>
                    <a:pt x="6" y="1"/>
                  </a:cubicBezTo>
                  <a:cubicBezTo>
                    <a:pt x="4" y="0"/>
                    <a:pt x="2" y="0"/>
                    <a:pt x="1" y="2"/>
                  </a:cubicBezTo>
                  <a:close/>
                  <a:moveTo>
                    <a:pt x="1" y="2"/>
                  </a:moveTo>
                  <a:cubicBezTo>
                    <a:pt x="1" y="2"/>
                    <a:pt x="1" y="2"/>
                    <a:pt x="1"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420"/>
            <p:cNvSpPr>
              <a:spLocks noEditPoints="1"/>
            </p:cNvSpPr>
            <p:nvPr/>
          </p:nvSpPr>
          <p:spPr bwMode="auto">
            <a:xfrm>
              <a:off x="2797" y="2522"/>
              <a:ext cx="13" cy="13"/>
            </a:xfrm>
            <a:custGeom>
              <a:avLst/>
              <a:gdLst>
                <a:gd name="T0" fmla="*/ 6 w 7"/>
                <a:gd name="T1" fmla="*/ 2 h 7"/>
                <a:gd name="T2" fmla="*/ 2 w 7"/>
                <a:gd name="T3" fmla="*/ 1 h 7"/>
                <a:gd name="T4" fmla="*/ 1 w 7"/>
                <a:gd name="T5" fmla="*/ 6 h 7"/>
                <a:gd name="T6" fmla="*/ 4 w 7"/>
                <a:gd name="T7" fmla="*/ 7 h 7"/>
                <a:gd name="T8" fmla="*/ 5 w 7"/>
                <a:gd name="T9" fmla="*/ 7 h 7"/>
                <a:gd name="T10" fmla="*/ 6 w 7"/>
                <a:gd name="T11" fmla="*/ 2 h 7"/>
                <a:gd name="T12" fmla="*/ 6 w 7"/>
                <a:gd name="T13" fmla="*/ 2 h 7"/>
                <a:gd name="T14" fmla="*/ 6 w 7"/>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6" y="2"/>
                  </a:moveTo>
                  <a:cubicBezTo>
                    <a:pt x="5" y="1"/>
                    <a:pt x="3" y="0"/>
                    <a:pt x="2" y="1"/>
                  </a:cubicBezTo>
                  <a:cubicBezTo>
                    <a:pt x="0" y="2"/>
                    <a:pt x="0" y="4"/>
                    <a:pt x="1" y="6"/>
                  </a:cubicBezTo>
                  <a:cubicBezTo>
                    <a:pt x="2" y="7"/>
                    <a:pt x="3" y="7"/>
                    <a:pt x="4" y="7"/>
                  </a:cubicBezTo>
                  <a:cubicBezTo>
                    <a:pt x="4" y="7"/>
                    <a:pt x="5" y="7"/>
                    <a:pt x="5" y="7"/>
                  </a:cubicBezTo>
                  <a:cubicBezTo>
                    <a:pt x="7" y="6"/>
                    <a:pt x="7" y="3"/>
                    <a:pt x="6" y="2"/>
                  </a:cubicBezTo>
                  <a:close/>
                  <a:moveTo>
                    <a:pt x="6" y="2"/>
                  </a:moveTo>
                  <a:cubicBezTo>
                    <a:pt x="6" y="2"/>
                    <a:pt x="6" y="2"/>
                    <a:pt x="6"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421"/>
            <p:cNvSpPr>
              <a:spLocks noEditPoints="1"/>
            </p:cNvSpPr>
            <p:nvPr/>
          </p:nvSpPr>
          <p:spPr bwMode="auto">
            <a:xfrm>
              <a:off x="2808" y="2537"/>
              <a:ext cx="14" cy="13"/>
            </a:xfrm>
            <a:custGeom>
              <a:avLst/>
              <a:gdLst>
                <a:gd name="T0" fmla="*/ 1 w 7"/>
                <a:gd name="T1" fmla="*/ 1 h 7"/>
                <a:gd name="T2" fmla="*/ 1 w 7"/>
                <a:gd name="T3" fmla="*/ 6 h 7"/>
                <a:gd name="T4" fmla="*/ 4 w 7"/>
                <a:gd name="T5" fmla="*/ 7 h 7"/>
                <a:gd name="T6" fmla="*/ 6 w 7"/>
                <a:gd name="T7" fmla="*/ 6 h 7"/>
                <a:gd name="T8" fmla="*/ 6 w 7"/>
                <a:gd name="T9" fmla="*/ 1 h 7"/>
                <a:gd name="T10" fmla="*/ 1 w 7"/>
                <a:gd name="T11" fmla="*/ 1 h 7"/>
                <a:gd name="T12" fmla="*/ 1 w 7"/>
                <a:gd name="T13" fmla="*/ 1 h 7"/>
                <a:gd name="T14" fmla="*/ 1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1" y="1"/>
                  </a:moveTo>
                  <a:cubicBezTo>
                    <a:pt x="0" y="2"/>
                    <a:pt x="0" y="4"/>
                    <a:pt x="1" y="6"/>
                  </a:cubicBezTo>
                  <a:cubicBezTo>
                    <a:pt x="2" y="6"/>
                    <a:pt x="3" y="7"/>
                    <a:pt x="4" y="7"/>
                  </a:cubicBezTo>
                  <a:cubicBezTo>
                    <a:pt x="4" y="7"/>
                    <a:pt x="5" y="6"/>
                    <a:pt x="6" y="6"/>
                  </a:cubicBezTo>
                  <a:cubicBezTo>
                    <a:pt x="7" y="5"/>
                    <a:pt x="7" y="3"/>
                    <a:pt x="6" y="1"/>
                  </a:cubicBezTo>
                  <a:cubicBezTo>
                    <a:pt x="5" y="0"/>
                    <a:pt x="3"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422"/>
            <p:cNvSpPr>
              <a:spLocks noEditPoints="1"/>
            </p:cNvSpPr>
            <p:nvPr/>
          </p:nvSpPr>
          <p:spPr bwMode="auto">
            <a:xfrm>
              <a:off x="2822" y="2550"/>
              <a:ext cx="13" cy="12"/>
            </a:xfrm>
            <a:custGeom>
              <a:avLst/>
              <a:gdLst>
                <a:gd name="T0" fmla="*/ 5 w 7"/>
                <a:gd name="T1" fmla="*/ 1 h 6"/>
                <a:gd name="T2" fmla="*/ 1 w 7"/>
                <a:gd name="T3" fmla="*/ 1 h 6"/>
                <a:gd name="T4" fmla="*/ 1 w 7"/>
                <a:gd name="T5" fmla="*/ 6 h 6"/>
                <a:gd name="T6" fmla="*/ 3 w 7"/>
                <a:gd name="T7" fmla="*/ 6 h 6"/>
                <a:gd name="T8" fmla="*/ 6 w 7"/>
                <a:gd name="T9" fmla="*/ 5 h 6"/>
                <a:gd name="T10" fmla="*/ 5 w 7"/>
                <a:gd name="T11" fmla="*/ 1 h 6"/>
                <a:gd name="T12" fmla="*/ 5 w 7"/>
                <a:gd name="T13" fmla="*/ 1 h 6"/>
                <a:gd name="T14" fmla="*/ 5 w 7"/>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1"/>
                  </a:moveTo>
                  <a:cubicBezTo>
                    <a:pt x="4" y="0"/>
                    <a:pt x="2" y="0"/>
                    <a:pt x="1" y="1"/>
                  </a:cubicBezTo>
                  <a:cubicBezTo>
                    <a:pt x="0" y="2"/>
                    <a:pt x="0" y="4"/>
                    <a:pt x="1" y="6"/>
                  </a:cubicBezTo>
                  <a:cubicBezTo>
                    <a:pt x="2" y="6"/>
                    <a:pt x="2" y="6"/>
                    <a:pt x="3" y="6"/>
                  </a:cubicBezTo>
                  <a:cubicBezTo>
                    <a:pt x="4" y="6"/>
                    <a:pt x="5" y="6"/>
                    <a:pt x="6" y="5"/>
                  </a:cubicBezTo>
                  <a:cubicBezTo>
                    <a:pt x="7" y="4"/>
                    <a:pt x="7" y="2"/>
                    <a:pt x="5" y="1"/>
                  </a:cubicBezTo>
                  <a:close/>
                  <a:moveTo>
                    <a:pt x="5" y="1"/>
                  </a:moveTo>
                  <a:cubicBezTo>
                    <a:pt x="5" y="1"/>
                    <a:pt x="5" y="1"/>
                    <a:pt x="5"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423"/>
            <p:cNvSpPr>
              <a:spLocks noEditPoints="1"/>
            </p:cNvSpPr>
            <p:nvPr/>
          </p:nvSpPr>
          <p:spPr bwMode="auto">
            <a:xfrm>
              <a:off x="2787" y="2506"/>
              <a:ext cx="14" cy="14"/>
            </a:xfrm>
            <a:custGeom>
              <a:avLst/>
              <a:gdLst>
                <a:gd name="T0" fmla="*/ 6 w 7"/>
                <a:gd name="T1" fmla="*/ 2 h 7"/>
                <a:gd name="T2" fmla="*/ 6 w 7"/>
                <a:gd name="T3" fmla="*/ 2 h 7"/>
                <a:gd name="T4" fmla="*/ 2 w 7"/>
                <a:gd name="T5" fmla="*/ 1 h 7"/>
                <a:gd name="T6" fmla="*/ 1 w 7"/>
                <a:gd name="T7" fmla="*/ 5 h 7"/>
                <a:gd name="T8" fmla="*/ 3 w 7"/>
                <a:gd name="T9" fmla="*/ 7 h 7"/>
                <a:gd name="T10" fmla="*/ 5 w 7"/>
                <a:gd name="T11" fmla="*/ 7 h 7"/>
                <a:gd name="T12" fmla="*/ 6 w 7"/>
                <a:gd name="T13" fmla="*/ 2 h 7"/>
                <a:gd name="T14" fmla="*/ 6 w 7"/>
                <a:gd name="T15" fmla="*/ 2 h 7"/>
                <a:gd name="T16" fmla="*/ 6 w 7"/>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6" y="2"/>
                  </a:moveTo>
                  <a:cubicBezTo>
                    <a:pt x="6" y="2"/>
                    <a:pt x="6" y="2"/>
                    <a:pt x="6" y="2"/>
                  </a:cubicBezTo>
                  <a:cubicBezTo>
                    <a:pt x="5" y="1"/>
                    <a:pt x="3" y="0"/>
                    <a:pt x="2" y="1"/>
                  </a:cubicBezTo>
                  <a:cubicBezTo>
                    <a:pt x="0" y="2"/>
                    <a:pt x="0" y="4"/>
                    <a:pt x="1" y="5"/>
                  </a:cubicBezTo>
                  <a:cubicBezTo>
                    <a:pt x="1" y="6"/>
                    <a:pt x="2" y="7"/>
                    <a:pt x="3" y="7"/>
                  </a:cubicBezTo>
                  <a:cubicBezTo>
                    <a:pt x="4" y="7"/>
                    <a:pt x="4" y="7"/>
                    <a:pt x="5" y="7"/>
                  </a:cubicBezTo>
                  <a:cubicBezTo>
                    <a:pt x="6" y="6"/>
                    <a:pt x="7" y="4"/>
                    <a:pt x="6" y="2"/>
                  </a:cubicBezTo>
                  <a:close/>
                  <a:moveTo>
                    <a:pt x="6" y="2"/>
                  </a:moveTo>
                  <a:cubicBezTo>
                    <a:pt x="6" y="2"/>
                    <a:pt x="6" y="2"/>
                    <a:pt x="6"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424"/>
            <p:cNvSpPr>
              <a:spLocks noEditPoints="1"/>
            </p:cNvSpPr>
            <p:nvPr/>
          </p:nvSpPr>
          <p:spPr bwMode="auto">
            <a:xfrm>
              <a:off x="3120" y="2425"/>
              <a:ext cx="13" cy="14"/>
            </a:xfrm>
            <a:custGeom>
              <a:avLst/>
              <a:gdLst>
                <a:gd name="T0" fmla="*/ 4 w 7"/>
                <a:gd name="T1" fmla="*/ 7 h 7"/>
                <a:gd name="T2" fmla="*/ 4 w 7"/>
                <a:gd name="T3" fmla="*/ 7 h 7"/>
                <a:gd name="T4" fmla="*/ 7 w 7"/>
                <a:gd name="T5" fmla="*/ 4 h 7"/>
                <a:gd name="T6" fmla="*/ 4 w 7"/>
                <a:gd name="T7" fmla="*/ 0 h 7"/>
                <a:gd name="T8" fmla="*/ 1 w 7"/>
                <a:gd name="T9" fmla="*/ 3 h 7"/>
                <a:gd name="T10" fmla="*/ 4 w 7"/>
                <a:gd name="T11" fmla="*/ 7 h 7"/>
                <a:gd name="T12" fmla="*/ 4 w 7"/>
                <a:gd name="T13" fmla="*/ 7 h 7"/>
                <a:gd name="T14" fmla="*/ 4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4" y="7"/>
                  </a:moveTo>
                  <a:cubicBezTo>
                    <a:pt x="4" y="7"/>
                    <a:pt x="4" y="7"/>
                    <a:pt x="4" y="7"/>
                  </a:cubicBezTo>
                  <a:cubicBezTo>
                    <a:pt x="5" y="7"/>
                    <a:pt x="7" y="5"/>
                    <a:pt x="7" y="4"/>
                  </a:cubicBezTo>
                  <a:cubicBezTo>
                    <a:pt x="7" y="2"/>
                    <a:pt x="6" y="0"/>
                    <a:pt x="4" y="0"/>
                  </a:cubicBezTo>
                  <a:cubicBezTo>
                    <a:pt x="2" y="0"/>
                    <a:pt x="1" y="2"/>
                    <a:pt x="1" y="3"/>
                  </a:cubicBezTo>
                  <a:cubicBezTo>
                    <a:pt x="0" y="5"/>
                    <a:pt x="2" y="7"/>
                    <a:pt x="4" y="7"/>
                  </a:cubicBezTo>
                  <a:close/>
                  <a:moveTo>
                    <a:pt x="4" y="7"/>
                  </a:moveTo>
                  <a:cubicBezTo>
                    <a:pt x="4" y="7"/>
                    <a:pt x="4" y="7"/>
                    <a:pt x="4"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425"/>
            <p:cNvSpPr>
              <a:spLocks noEditPoints="1"/>
            </p:cNvSpPr>
            <p:nvPr/>
          </p:nvSpPr>
          <p:spPr bwMode="auto">
            <a:xfrm>
              <a:off x="2764" y="2437"/>
              <a:ext cx="14" cy="13"/>
            </a:xfrm>
            <a:custGeom>
              <a:avLst/>
              <a:gdLst>
                <a:gd name="T0" fmla="*/ 4 w 7"/>
                <a:gd name="T1" fmla="*/ 7 h 7"/>
                <a:gd name="T2" fmla="*/ 7 w 7"/>
                <a:gd name="T3" fmla="*/ 3 h 7"/>
                <a:gd name="T4" fmla="*/ 3 w 7"/>
                <a:gd name="T5" fmla="*/ 0 h 7"/>
                <a:gd name="T6" fmla="*/ 1 w 7"/>
                <a:gd name="T7" fmla="*/ 4 h 7"/>
                <a:gd name="T8" fmla="*/ 4 w 7"/>
                <a:gd name="T9" fmla="*/ 7 h 7"/>
                <a:gd name="T10" fmla="*/ 4 w 7"/>
                <a:gd name="T11" fmla="*/ 7 h 7"/>
                <a:gd name="T12" fmla="*/ 4 w 7"/>
                <a:gd name="T13" fmla="*/ 7 h 7"/>
                <a:gd name="T14" fmla="*/ 4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4" y="7"/>
                  </a:moveTo>
                  <a:cubicBezTo>
                    <a:pt x="6" y="7"/>
                    <a:pt x="7" y="5"/>
                    <a:pt x="7" y="3"/>
                  </a:cubicBezTo>
                  <a:cubicBezTo>
                    <a:pt x="7" y="1"/>
                    <a:pt x="5" y="0"/>
                    <a:pt x="3" y="0"/>
                  </a:cubicBezTo>
                  <a:cubicBezTo>
                    <a:pt x="2" y="1"/>
                    <a:pt x="0" y="2"/>
                    <a:pt x="1" y="4"/>
                  </a:cubicBezTo>
                  <a:cubicBezTo>
                    <a:pt x="1" y="6"/>
                    <a:pt x="2" y="7"/>
                    <a:pt x="4" y="7"/>
                  </a:cubicBezTo>
                  <a:cubicBezTo>
                    <a:pt x="4" y="7"/>
                    <a:pt x="4" y="7"/>
                    <a:pt x="4" y="7"/>
                  </a:cubicBezTo>
                  <a:close/>
                  <a:moveTo>
                    <a:pt x="4" y="7"/>
                  </a:moveTo>
                  <a:cubicBezTo>
                    <a:pt x="4" y="7"/>
                    <a:pt x="4" y="7"/>
                    <a:pt x="4"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426"/>
            <p:cNvSpPr>
              <a:spLocks noEditPoints="1"/>
            </p:cNvSpPr>
            <p:nvPr/>
          </p:nvSpPr>
          <p:spPr bwMode="auto">
            <a:xfrm>
              <a:off x="2768" y="2456"/>
              <a:ext cx="13" cy="12"/>
            </a:xfrm>
            <a:custGeom>
              <a:avLst/>
              <a:gdLst>
                <a:gd name="T0" fmla="*/ 4 w 7"/>
                <a:gd name="T1" fmla="*/ 6 h 6"/>
                <a:gd name="T2" fmla="*/ 6 w 7"/>
                <a:gd name="T3" fmla="*/ 2 h 6"/>
                <a:gd name="T4" fmla="*/ 3 w 7"/>
                <a:gd name="T5" fmla="*/ 0 h 6"/>
                <a:gd name="T6" fmla="*/ 0 w 7"/>
                <a:gd name="T7" fmla="*/ 4 h 6"/>
                <a:gd name="T8" fmla="*/ 3 w 7"/>
                <a:gd name="T9" fmla="*/ 6 h 6"/>
                <a:gd name="T10" fmla="*/ 4 w 7"/>
                <a:gd name="T11" fmla="*/ 6 h 6"/>
                <a:gd name="T12" fmla="*/ 4 w 7"/>
                <a:gd name="T13" fmla="*/ 6 h 6"/>
                <a:gd name="T14" fmla="*/ 4 w 7"/>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4" y="6"/>
                  </a:moveTo>
                  <a:cubicBezTo>
                    <a:pt x="6" y="6"/>
                    <a:pt x="7" y="4"/>
                    <a:pt x="6" y="2"/>
                  </a:cubicBezTo>
                  <a:cubicBezTo>
                    <a:pt x="6" y="1"/>
                    <a:pt x="4" y="0"/>
                    <a:pt x="3" y="0"/>
                  </a:cubicBezTo>
                  <a:cubicBezTo>
                    <a:pt x="1" y="0"/>
                    <a:pt x="0" y="2"/>
                    <a:pt x="0" y="4"/>
                  </a:cubicBezTo>
                  <a:cubicBezTo>
                    <a:pt x="0" y="5"/>
                    <a:pt x="2" y="6"/>
                    <a:pt x="3" y="6"/>
                  </a:cubicBezTo>
                  <a:cubicBezTo>
                    <a:pt x="3" y="6"/>
                    <a:pt x="4" y="6"/>
                    <a:pt x="4" y="6"/>
                  </a:cubicBezTo>
                  <a:close/>
                  <a:moveTo>
                    <a:pt x="4" y="6"/>
                  </a:moveTo>
                  <a:cubicBezTo>
                    <a:pt x="4" y="6"/>
                    <a:pt x="4" y="6"/>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427"/>
            <p:cNvSpPr>
              <a:spLocks noEditPoints="1"/>
            </p:cNvSpPr>
            <p:nvPr/>
          </p:nvSpPr>
          <p:spPr bwMode="auto">
            <a:xfrm>
              <a:off x="2778" y="2491"/>
              <a:ext cx="15" cy="13"/>
            </a:xfrm>
            <a:custGeom>
              <a:avLst/>
              <a:gdLst>
                <a:gd name="T0" fmla="*/ 7 w 8"/>
                <a:gd name="T1" fmla="*/ 2 h 7"/>
                <a:gd name="T2" fmla="*/ 3 w 8"/>
                <a:gd name="T3" fmla="*/ 0 h 7"/>
                <a:gd name="T4" fmla="*/ 1 w 8"/>
                <a:gd name="T5" fmla="*/ 5 h 7"/>
                <a:gd name="T6" fmla="*/ 4 w 8"/>
                <a:gd name="T7" fmla="*/ 7 h 7"/>
                <a:gd name="T8" fmla="*/ 5 w 8"/>
                <a:gd name="T9" fmla="*/ 6 h 7"/>
                <a:gd name="T10" fmla="*/ 7 w 8"/>
                <a:gd name="T11" fmla="*/ 2 h 7"/>
                <a:gd name="T12" fmla="*/ 7 w 8"/>
                <a:gd name="T13" fmla="*/ 2 h 7"/>
                <a:gd name="T14" fmla="*/ 7 w 8"/>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7" y="2"/>
                  </a:moveTo>
                  <a:cubicBezTo>
                    <a:pt x="6" y="0"/>
                    <a:pt x="4" y="0"/>
                    <a:pt x="3" y="0"/>
                  </a:cubicBezTo>
                  <a:cubicBezTo>
                    <a:pt x="1" y="1"/>
                    <a:pt x="0" y="3"/>
                    <a:pt x="1" y="5"/>
                  </a:cubicBezTo>
                  <a:cubicBezTo>
                    <a:pt x="2" y="6"/>
                    <a:pt x="3" y="7"/>
                    <a:pt x="4" y="7"/>
                  </a:cubicBezTo>
                  <a:cubicBezTo>
                    <a:pt x="4" y="7"/>
                    <a:pt x="5" y="6"/>
                    <a:pt x="5" y="6"/>
                  </a:cubicBezTo>
                  <a:cubicBezTo>
                    <a:pt x="7" y="6"/>
                    <a:pt x="8" y="4"/>
                    <a:pt x="7" y="2"/>
                  </a:cubicBezTo>
                  <a:close/>
                  <a:moveTo>
                    <a:pt x="7" y="2"/>
                  </a:moveTo>
                  <a:cubicBezTo>
                    <a:pt x="7" y="2"/>
                    <a:pt x="7" y="2"/>
                    <a:pt x="7"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428"/>
            <p:cNvSpPr>
              <a:spLocks noEditPoints="1"/>
            </p:cNvSpPr>
            <p:nvPr/>
          </p:nvSpPr>
          <p:spPr bwMode="auto">
            <a:xfrm>
              <a:off x="2772" y="2474"/>
              <a:ext cx="13" cy="13"/>
            </a:xfrm>
            <a:custGeom>
              <a:avLst/>
              <a:gdLst>
                <a:gd name="T0" fmla="*/ 7 w 7"/>
                <a:gd name="T1" fmla="*/ 2 h 7"/>
                <a:gd name="T2" fmla="*/ 3 w 7"/>
                <a:gd name="T3" fmla="*/ 0 h 7"/>
                <a:gd name="T4" fmla="*/ 1 w 7"/>
                <a:gd name="T5" fmla="*/ 4 h 7"/>
                <a:gd name="T6" fmla="*/ 4 w 7"/>
                <a:gd name="T7" fmla="*/ 7 h 7"/>
                <a:gd name="T8" fmla="*/ 5 w 7"/>
                <a:gd name="T9" fmla="*/ 6 h 7"/>
                <a:gd name="T10" fmla="*/ 7 w 7"/>
                <a:gd name="T11" fmla="*/ 2 h 7"/>
                <a:gd name="T12" fmla="*/ 7 w 7"/>
                <a:gd name="T13" fmla="*/ 2 h 7"/>
                <a:gd name="T14" fmla="*/ 7 w 7"/>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2"/>
                  </a:moveTo>
                  <a:cubicBezTo>
                    <a:pt x="6" y="1"/>
                    <a:pt x="4" y="0"/>
                    <a:pt x="3" y="0"/>
                  </a:cubicBezTo>
                  <a:cubicBezTo>
                    <a:pt x="1" y="1"/>
                    <a:pt x="0" y="3"/>
                    <a:pt x="1" y="4"/>
                  </a:cubicBezTo>
                  <a:cubicBezTo>
                    <a:pt x="1" y="6"/>
                    <a:pt x="2" y="7"/>
                    <a:pt x="4" y="7"/>
                  </a:cubicBezTo>
                  <a:cubicBezTo>
                    <a:pt x="4" y="7"/>
                    <a:pt x="4" y="6"/>
                    <a:pt x="5" y="6"/>
                  </a:cubicBezTo>
                  <a:cubicBezTo>
                    <a:pt x="6" y="6"/>
                    <a:pt x="7" y="4"/>
                    <a:pt x="7" y="2"/>
                  </a:cubicBezTo>
                  <a:close/>
                  <a:moveTo>
                    <a:pt x="7" y="2"/>
                  </a:moveTo>
                  <a:cubicBezTo>
                    <a:pt x="7" y="2"/>
                    <a:pt x="7" y="2"/>
                    <a:pt x="7"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429"/>
            <p:cNvSpPr>
              <a:spLocks noEditPoints="1"/>
            </p:cNvSpPr>
            <p:nvPr/>
          </p:nvSpPr>
          <p:spPr bwMode="auto">
            <a:xfrm>
              <a:off x="2939" y="2598"/>
              <a:ext cx="12" cy="12"/>
            </a:xfrm>
            <a:custGeom>
              <a:avLst/>
              <a:gdLst>
                <a:gd name="T0" fmla="*/ 3 w 6"/>
                <a:gd name="T1" fmla="*/ 0 h 6"/>
                <a:gd name="T2" fmla="*/ 0 w 6"/>
                <a:gd name="T3" fmla="*/ 3 h 6"/>
                <a:gd name="T4" fmla="*/ 3 w 6"/>
                <a:gd name="T5" fmla="*/ 6 h 6"/>
                <a:gd name="T6" fmla="*/ 3 w 6"/>
                <a:gd name="T7" fmla="*/ 6 h 6"/>
                <a:gd name="T8" fmla="*/ 6 w 6"/>
                <a:gd name="T9" fmla="*/ 3 h 6"/>
                <a:gd name="T10" fmla="*/ 3 w 6"/>
                <a:gd name="T11" fmla="*/ 0 h 6"/>
                <a:gd name="T12" fmla="*/ 3 w 6"/>
                <a:gd name="T13" fmla="*/ 0 h 6"/>
                <a:gd name="T14" fmla="*/ 3 w 6"/>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3" y="0"/>
                  </a:moveTo>
                  <a:cubicBezTo>
                    <a:pt x="2" y="0"/>
                    <a:pt x="0" y="1"/>
                    <a:pt x="0" y="3"/>
                  </a:cubicBezTo>
                  <a:cubicBezTo>
                    <a:pt x="0" y="4"/>
                    <a:pt x="1" y="6"/>
                    <a:pt x="3" y="6"/>
                  </a:cubicBezTo>
                  <a:cubicBezTo>
                    <a:pt x="3" y="6"/>
                    <a:pt x="3" y="6"/>
                    <a:pt x="3" y="6"/>
                  </a:cubicBezTo>
                  <a:cubicBezTo>
                    <a:pt x="5" y="6"/>
                    <a:pt x="6" y="5"/>
                    <a:pt x="6" y="3"/>
                  </a:cubicBezTo>
                  <a:cubicBezTo>
                    <a:pt x="6" y="1"/>
                    <a:pt x="5" y="0"/>
                    <a:pt x="3" y="0"/>
                  </a:cubicBez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430"/>
            <p:cNvSpPr>
              <a:spLocks noEditPoints="1"/>
            </p:cNvSpPr>
            <p:nvPr/>
          </p:nvSpPr>
          <p:spPr bwMode="auto">
            <a:xfrm>
              <a:off x="3083" y="2527"/>
              <a:ext cx="14" cy="14"/>
            </a:xfrm>
            <a:custGeom>
              <a:avLst/>
              <a:gdLst>
                <a:gd name="T0" fmla="*/ 1 w 7"/>
                <a:gd name="T1" fmla="*/ 2 h 7"/>
                <a:gd name="T2" fmla="*/ 1 w 7"/>
                <a:gd name="T3" fmla="*/ 6 h 7"/>
                <a:gd name="T4" fmla="*/ 3 w 7"/>
                <a:gd name="T5" fmla="*/ 7 h 7"/>
                <a:gd name="T6" fmla="*/ 6 w 7"/>
                <a:gd name="T7" fmla="*/ 6 h 7"/>
                <a:gd name="T8" fmla="*/ 5 w 7"/>
                <a:gd name="T9" fmla="*/ 1 h 7"/>
                <a:gd name="T10" fmla="*/ 1 w 7"/>
                <a:gd name="T11" fmla="*/ 2 h 7"/>
                <a:gd name="T12" fmla="*/ 1 w 7"/>
                <a:gd name="T13" fmla="*/ 2 h 7"/>
                <a:gd name="T14" fmla="*/ 1 w 7"/>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1" y="2"/>
                  </a:moveTo>
                  <a:cubicBezTo>
                    <a:pt x="0" y="3"/>
                    <a:pt x="0" y="5"/>
                    <a:pt x="1" y="6"/>
                  </a:cubicBezTo>
                  <a:cubicBezTo>
                    <a:pt x="2" y="7"/>
                    <a:pt x="3" y="7"/>
                    <a:pt x="3" y="7"/>
                  </a:cubicBezTo>
                  <a:cubicBezTo>
                    <a:pt x="4" y="7"/>
                    <a:pt x="5" y="7"/>
                    <a:pt x="6" y="6"/>
                  </a:cubicBezTo>
                  <a:cubicBezTo>
                    <a:pt x="7" y="4"/>
                    <a:pt x="7" y="2"/>
                    <a:pt x="5" y="1"/>
                  </a:cubicBezTo>
                  <a:cubicBezTo>
                    <a:pt x="4" y="0"/>
                    <a:pt x="2" y="0"/>
                    <a:pt x="1" y="2"/>
                  </a:cubicBezTo>
                  <a:close/>
                  <a:moveTo>
                    <a:pt x="1" y="2"/>
                  </a:moveTo>
                  <a:cubicBezTo>
                    <a:pt x="1" y="2"/>
                    <a:pt x="1" y="2"/>
                    <a:pt x="1"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431"/>
            <p:cNvSpPr>
              <a:spLocks noEditPoints="1"/>
            </p:cNvSpPr>
            <p:nvPr/>
          </p:nvSpPr>
          <p:spPr bwMode="auto">
            <a:xfrm>
              <a:off x="3043" y="2566"/>
              <a:ext cx="13" cy="13"/>
            </a:xfrm>
            <a:custGeom>
              <a:avLst/>
              <a:gdLst>
                <a:gd name="T0" fmla="*/ 2 w 7"/>
                <a:gd name="T1" fmla="*/ 1 h 7"/>
                <a:gd name="T2" fmla="*/ 1 w 7"/>
                <a:gd name="T3" fmla="*/ 5 h 7"/>
                <a:gd name="T4" fmla="*/ 3 w 7"/>
                <a:gd name="T5" fmla="*/ 7 h 7"/>
                <a:gd name="T6" fmla="*/ 5 w 7"/>
                <a:gd name="T7" fmla="*/ 6 h 7"/>
                <a:gd name="T8" fmla="*/ 6 w 7"/>
                <a:gd name="T9" fmla="*/ 2 h 7"/>
                <a:gd name="T10" fmla="*/ 2 w 7"/>
                <a:gd name="T11" fmla="*/ 1 h 7"/>
                <a:gd name="T12" fmla="*/ 2 w 7"/>
                <a:gd name="T13" fmla="*/ 1 h 7"/>
                <a:gd name="T14" fmla="*/ 2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1"/>
                  </a:moveTo>
                  <a:cubicBezTo>
                    <a:pt x="0" y="2"/>
                    <a:pt x="0" y="4"/>
                    <a:pt x="1" y="5"/>
                  </a:cubicBezTo>
                  <a:cubicBezTo>
                    <a:pt x="1" y="6"/>
                    <a:pt x="2" y="7"/>
                    <a:pt x="3" y="7"/>
                  </a:cubicBezTo>
                  <a:cubicBezTo>
                    <a:pt x="4" y="7"/>
                    <a:pt x="5" y="7"/>
                    <a:pt x="5" y="6"/>
                  </a:cubicBezTo>
                  <a:cubicBezTo>
                    <a:pt x="7" y="5"/>
                    <a:pt x="7" y="3"/>
                    <a:pt x="6" y="2"/>
                  </a:cubicBezTo>
                  <a:cubicBezTo>
                    <a:pt x="5" y="0"/>
                    <a:pt x="3"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432"/>
            <p:cNvSpPr>
              <a:spLocks noEditPoints="1"/>
            </p:cNvSpPr>
            <p:nvPr/>
          </p:nvSpPr>
          <p:spPr bwMode="auto">
            <a:xfrm>
              <a:off x="3058" y="2554"/>
              <a:ext cx="14" cy="14"/>
            </a:xfrm>
            <a:custGeom>
              <a:avLst/>
              <a:gdLst>
                <a:gd name="T0" fmla="*/ 1 w 7"/>
                <a:gd name="T1" fmla="*/ 1 h 7"/>
                <a:gd name="T2" fmla="*/ 1 w 7"/>
                <a:gd name="T3" fmla="*/ 6 h 7"/>
                <a:gd name="T4" fmla="*/ 3 w 7"/>
                <a:gd name="T5" fmla="*/ 7 h 7"/>
                <a:gd name="T6" fmla="*/ 5 w 7"/>
                <a:gd name="T7" fmla="*/ 6 h 7"/>
                <a:gd name="T8" fmla="*/ 6 w 7"/>
                <a:gd name="T9" fmla="*/ 2 h 7"/>
                <a:gd name="T10" fmla="*/ 1 w 7"/>
                <a:gd name="T11" fmla="*/ 1 h 7"/>
                <a:gd name="T12" fmla="*/ 1 w 7"/>
                <a:gd name="T13" fmla="*/ 1 h 7"/>
                <a:gd name="T14" fmla="*/ 1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1" y="1"/>
                  </a:moveTo>
                  <a:cubicBezTo>
                    <a:pt x="0" y="2"/>
                    <a:pt x="0" y="4"/>
                    <a:pt x="1" y="6"/>
                  </a:cubicBezTo>
                  <a:cubicBezTo>
                    <a:pt x="1" y="6"/>
                    <a:pt x="2" y="7"/>
                    <a:pt x="3" y="7"/>
                  </a:cubicBezTo>
                  <a:cubicBezTo>
                    <a:pt x="4" y="7"/>
                    <a:pt x="5" y="7"/>
                    <a:pt x="5" y="6"/>
                  </a:cubicBezTo>
                  <a:cubicBezTo>
                    <a:pt x="7" y="5"/>
                    <a:pt x="7" y="3"/>
                    <a:pt x="6" y="2"/>
                  </a:cubicBezTo>
                  <a:cubicBezTo>
                    <a:pt x="4" y="0"/>
                    <a:pt x="2"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433"/>
            <p:cNvSpPr>
              <a:spLocks noEditPoints="1"/>
            </p:cNvSpPr>
            <p:nvPr/>
          </p:nvSpPr>
          <p:spPr bwMode="auto">
            <a:xfrm>
              <a:off x="3093" y="2512"/>
              <a:ext cx="13" cy="13"/>
            </a:xfrm>
            <a:custGeom>
              <a:avLst/>
              <a:gdLst>
                <a:gd name="T0" fmla="*/ 6 w 7"/>
                <a:gd name="T1" fmla="*/ 1 h 7"/>
                <a:gd name="T2" fmla="*/ 1 w 7"/>
                <a:gd name="T3" fmla="*/ 2 h 7"/>
                <a:gd name="T4" fmla="*/ 2 w 7"/>
                <a:gd name="T5" fmla="*/ 7 h 7"/>
                <a:gd name="T6" fmla="*/ 4 w 7"/>
                <a:gd name="T7" fmla="*/ 7 h 7"/>
                <a:gd name="T8" fmla="*/ 7 w 7"/>
                <a:gd name="T9" fmla="*/ 6 h 7"/>
                <a:gd name="T10" fmla="*/ 6 w 7"/>
                <a:gd name="T11" fmla="*/ 1 h 7"/>
                <a:gd name="T12" fmla="*/ 6 w 7"/>
                <a:gd name="T13" fmla="*/ 1 h 7"/>
                <a:gd name="T14" fmla="*/ 6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6" y="1"/>
                  </a:moveTo>
                  <a:cubicBezTo>
                    <a:pt x="4" y="0"/>
                    <a:pt x="2" y="1"/>
                    <a:pt x="1" y="2"/>
                  </a:cubicBezTo>
                  <a:cubicBezTo>
                    <a:pt x="0" y="4"/>
                    <a:pt x="1" y="6"/>
                    <a:pt x="2" y="7"/>
                  </a:cubicBezTo>
                  <a:cubicBezTo>
                    <a:pt x="3" y="7"/>
                    <a:pt x="3" y="7"/>
                    <a:pt x="4" y="7"/>
                  </a:cubicBezTo>
                  <a:cubicBezTo>
                    <a:pt x="5" y="7"/>
                    <a:pt x="6" y="7"/>
                    <a:pt x="7" y="6"/>
                  </a:cubicBezTo>
                  <a:cubicBezTo>
                    <a:pt x="7" y="4"/>
                    <a:pt x="7" y="2"/>
                    <a:pt x="6" y="1"/>
                  </a:cubicBezTo>
                  <a:close/>
                  <a:moveTo>
                    <a:pt x="6" y="1"/>
                  </a:moveTo>
                  <a:cubicBezTo>
                    <a:pt x="6" y="1"/>
                    <a:pt x="6" y="1"/>
                    <a:pt x="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434"/>
            <p:cNvSpPr>
              <a:spLocks noEditPoints="1"/>
            </p:cNvSpPr>
            <p:nvPr/>
          </p:nvSpPr>
          <p:spPr bwMode="auto">
            <a:xfrm>
              <a:off x="3072" y="2543"/>
              <a:ext cx="13" cy="11"/>
            </a:xfrm>
            <a:custGeom>
              <a:avLst/>
              <a:gdLst>
                <a:gd name="T0" fmla="*/ 1 w 7"/>
                <a:gd name="T1" fmla="*/ 1 h 6"/>
                <a:gd name="T2" fmla="*/ 1 w 7"/>
                <a:gd name="T3" fmla="*/ 5 h 6"/>
                <a:gd name="T4" fmla="*/ 3 w 7"/>
                <a:gd name="T5" fmla="*/ 6 h 6"/>
                <a:gd name="T6" fmla="*/ 5 w 7"/>
                <a:gd name="T7" fmla="*/ 5 h 6"/>
                <a:gd name="T8" fmla="*/ 5 w 7"/>
                <a:gd name="T9" fmla="*/ 1 h 6"/>
                <a:gd name="T10" fmla="*/ 1 w 7"/>
                <a:gd name="T11" fmla="*/ 1 h 6"/>
                <a:gd name="T12" fmla="*/ 1 w 7"/>
                <a:gd name="T13" fmla="*/ 1 h 6"/>
                <a:gd name="T14" fmla="*/ 1 w 7"/>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1" y="1"/>
                  </a:moveTo>
                  <a:cubicBezTo>
                    <a:pt x="0" y="2"/>
                    <a:pt x="0" y="4"/>
                    <a:pt x="1" y="5"/>
                  </a:cubicBezTo>
                  <a:cubicBezTo>
                    <a:pt x="1" y="6"/>
                    <a:pt x="2" y="6"/>
                    <a:pt x="3" y="6"/>
                  </a:cubicBezTo>
                  <a:cubicBezTo>
                    <a:pt x="4" y="6"/>
                    <a:pt x="5" y="6"/>
                    <a:pt x="5" y="5"/>
                  </a:cubicBezTo>
                  <a:cubicBezTo>
                    <a:pt x="7" y="4"/>
                    <a:pt x="7" y="2"/>
                    <a:pt x="5" y="1"/>
                  </a:cubicBezTo>
                  <a:cubicBezTo>
                    <a:pt x="4" y="0"/>
                    <a:pt x="2"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435"/>
            <p:cNvSpPr>
              <a:spLocks noEditPoints="1"/>
            </p:cNvSpPr>
            <p:nvPr/>
          </p:nvSpPr>
          <p:spPr bwMode="auto">
            <a:xfrm>
              <a:off x="3118" y="2445"/>
              <a:ext cx="13" cy="11"/>
            </a:xfrm>
            <a:custGeom>
              <a:avLst/>
              <a:gdLst>
                <a:gd name="T0" fmla="*/ 4 w 7"/>
                <a:gd name="T1" fmla="*/ 0 h 6"/>
                <a:gd name="T2" fmla="*/ 1 w 7"/>
                <a:gd name="T3" fmla="*/ 3 h 6"/>
                <a:gd name="T4" fmla="*/ 3 w 7"/>
                <a:gd name="T5" fmla="*/ 6 h 6"/>
                <a:gd name="T6" fmla="*/ 4 w 7"/>
                <a:gd name="T7" fmla="*/ 6 h 6"/>
                <a:gd name="T8" fmla="*/ 7 w 7"/>
                <a:gd name="T9" fmla="*/ 4 h 6"/>
                <a:gd name="T10" fmla="*/ 4 w 7"/>
                <a:gd name="T11" fmla="*/ 0 h 6"/>
                <a:gd name="T12" fmla="*/ 4 w 7"/>
                <a:gd name="T13" fmla="*/ 0 h 6"/>
                <a:gd name="T14" fmla="*/ 4 w 7"/>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4" y="0"/>
                  </a:moveTo>
                  <a:cubicBezTo>
                    <a:pt x="3" y="0"/>
                    <a:pt x="1" y="1"/>
                    <a:pt x="1" y="3"/>
                  </a:cubicBezTo>
                  <a:cubicBezTo>
                    <a:pt x="0" y="4"/>
                    <a:pt x="2" y="6"/>
                    <a:pt x="3" y="6"/>
                  </a:cubicBezTo>
                  <a:cubicBezTo>
                    <a:pt x="4" y="6"/>
                    <a:pt x="4" y="6"/>
                    <a:pt x="4" y="6"/>
                  </a:cubicBezTo>
                  <a:cubicBezTo>
                    <a:pt x="5" y="6"/>
                    <a:pt x="7" y="5"/>
                    <a:pt x="7" y="4"/>
                  </a:cubicBezTo>
                  <a:cubicBezTo>
                    <a:pt x="7" y="2"/>
                    <a:pt x="6" y="0"/>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436"/>
            <p:cNvSpPr>
              <a:spLocks noEditPoints="1"/>
            </p:cNvSpPr>
            <p:nvPr/>
          </p:nvSpPr>
          <p:spPr bwMode="auto">
            <a:xfrm>
              <a:off x="3116" y="2462"/>
              <a:ext cx="13" cy="13"/>
            </a:xfrm>
            <a:custGeom>
              <a:avLst/>
              <a:gdLst>
                <a:gd name="T0" fmla="*/ 4 w 7"/>
                <a:gd name="T1" fmla="*/ 0 h 7"/>
                <a:gd name="T2" fmla="*/ 0 w 7"/>
                <a:gd name="T3" fmla="*/ 3 h 7"/>
                <a:gd name="T4" fmla="*/ 2 w 7"/>
                <a:gd name="T5" fmla="*/ 7 h 7"/>
                <a:gd name="T6" fmla="*/ 3 w 7"/>
                <a:gd name="T7" fmla="*/ 7 h 7"/>
                <a:gd name="T8" fmla="*/ 6 w 7"/>
                <a:gd name="T9" fmla="*/ 4 h 7"/>
                <a:gd name="T10" fmla="*/ 4 w 7"/>
                <a:gd name="T11" fmla="*/ 0 h 7"/>
                <a:gd name="T12" fmla="*/ 4 w 7"/>
                <a:gd name="T13" fmla="*/ 0 h 7"/>
                <a:gd name="T14" fmla="*/ 4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4" y="0"/>
                  </a:moveTo>
                  <a:cubicBezTo>
                    <a:pt x="2" y="0"/>
                    <a:pt x="0" y="1"/>
                    <a:pt x="0" y="3"/>
                  </a:cubicBezTo>
                  <a:cubicBezTo>
                    <a:pt x="0" y="4"/>
                    <a:pt x="1" y="6"/>
                    <a:pt x="2" y="7"/>
                  </a:cubicBezTo>
                  <a:cubicBezTo>
                    <a:pt x="3" y="7"/>
                    <a:pt x="3" y="7"/>
                    <a:pt x="3" y="7"/>
                  </a:cubicBezTo>
                  <a:cubicBezTo>
                    <a:pt x="4" y="7"/>
                    <a:pt x="6" y="6"/>
                    <a:pt x="6" y="4"/>
                  </a:cubicBezTo>
                  <a:cubicBezTo>
                    <a:pt x="7" y="3"/>
                    <a:pt x="6" y="1"/>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437"/>
            <p:cNvSpPr>
              <a:spLocks noEditPoints="1"/>
            </p:cNvSpPr>
            <p:nvPr/>
          </p:nvSpPr>
          <p:spPr bwMode="auto">
            <a:xfrm>
              <a:off x="2851" y="2572"/>
              <a:ext cx="13" cy="13"/>
            </a:xfrm>
            <a:custGeom>
              <a:avLst/>
              <a:gdLst>
                <a:gd name="T0" fmla="*/ 5 w 7"/>
                <a:gd name="T1" fmla="*/ 1 h 7"/>
                <a:gd name="T2" fmla="*/ 1 w 7"/>
                <a:gd name="T3" fmla="*/ 2 h 7"/>
                <a:gd name="T4" fmla="*/ 2 w 7"/>
                <a:gd name="T5" fmla="*/ 6 h 7"/>
                <a:gd name="T6" fmla="*/ 4 w 7"/>
                <a:gd name="T7" fmla="*/ 7 h 7"/>
                <a:gd name="T8" fmla="*/ 6 w 7"/>
                <a:gd name="T9" fmla="*/ 5 h 7"/>
                <a:gd name="T10" fmla="*/ 5 w 7"/>
                <a:gd name="T11" fmla="*/ 1 h 7"/>
                <a:gd name="T12" fmla="*/ 5 w 7"/>
                <a:gd name="T13" fmla="*/ 1 h 7"/>
                <a:gd name="T14" fmla="*/ 5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1"/>
                  </a:moveTo>
                  <a:cubicBezTo>
                    <a:pt x="4" y="0"/>
                    <a:pt x="2" y="1"/>
                    <a:pt x="1" y="2"/>
                  </a:cubicBezTo>
                  <a:cubicBezTo>
                    <a:pt x="0" y="4"/>
                    <a:pt x="0" y="6"/>
                    <a:pt x="2" y="6"/>
                  </a:cubicBezTo>
                  <a:cubicBezTo>
                    <a:pt x="2" y="7"/>
                    <a:pt x="3" y="7"/>
                    <a:pt x="4" y="7"/>
                  </a:cubicBezTo>
                  <a:cubicBezTo>
                    <a:pt x="5" y="7"/>
                    <a:pt x="6" y="6"/>
                    <a:pt x="6" y="5"/>
                  </a:cubicBezTo>
                  <a:cubicBezTo>
                    <a:pt x="7" y="4"/>
                    <a:pt x="7" y="2"/>
                    <a:pt x="5" y="1"/>
                  </a:cubicBezTo>
                  <a:close/>
                  <a:moveTo>
                    <a:pt x="5" y="1"/>
                  </a:moveTo>
                  <a:cubicBezTo>
                    <a:pt x="5" y="1"/>
                    <a:pt x="5" y="1"/>
                    <a:pt x="5"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438"/>
            <p:cNvSpPr>
              <a:spLocks noEditPoints="1"/>
            </p:cNvSpPr>
            <p:nvPr/>
          </p:nvSpPr>
          <p:spPr bwMode="auto">
            <a:xfrm>
              <a:off x="3110" y="2479"/>
              <a:ext cx="13" cy="14"/>
            </a:xfrm>
            <a:custGeom>
              <a:avLst/>
              <a:gdLst>
                <a:gd name="T0" fmla="*/ 4 w 7"/>
                <a:gd name="T1" fmla="*/ 1 h 7"/>
                <a:gd name="T2" fmla="*/ 0 w 7"/>
                <a:gd name="T3" fmla="*/ 3 h 7"/>
                <a:gd name="T4" fmla="*/ 2 w 7"/>
                <a:gd name="T5" fmla="*/ 7 h 7"/>
                <a:gd name="T6" fmla="*/ 3 w 7"/>
                <a:gd name="T7" fmla="*/ 7 h 7"/>
                <a:gd name="T8" fmla="*/ 6 w 7"/>
                <a:gd name="T9" fmla="*/ 5 h 7"/>
                <a:gd name="T10" fmla="*/ 4 w 7"/>
                <a:gd name="T11" fmla="*/ 1 h 7"/>
                <a:gd name="T12" fmla="*/ 4 w 7"/>
                <a:gd name="T13" fmla="*/ 1 h 7"/>
                <a:gd name="T14" fmla="*/ 4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4" y="1"/>
                  </a:moveTo>
                  <a:cubicBezTo>
                    <a:pt x="3" y="0"/>
                    <a:pt x="1" y="1"/>
                    <a:pt x="0" y="3"/>
                  </a:cubicBezTo>
                  <a:cubicBezTo>
                    <a:pt x="0" y="4"/>
                    <a:pt x="0" y="6"/>
                    <a:pt x="2" y="7"/>
                  </a:cubicBezTo>
                  <a:cubicBezTo>
                    <a:pt x="2" y="7"/>
                    <a:pt x="3" y="7"/>
                    <a:pt x="3" y="7"/>
                  </a:cubicBezTo>
                  <a:cubicBezTo>
                    <a:pt x="5" y="7"/>
                    <a:pt x="6" y="6"/>
                    <a:pt x="6" y="5"/>
                  </a:cubicBezTo>
                  <a:cubicBezTo>
                    <a:pt x="7" y="3"/>
                    <a:pt x="6" y="1"/>
                    <a:pt x="4" y="1"/>
                  </a:cubicBezTo>
                  <a:close/>
                  <a:moveTo>
                    <a:pt x="4" y="1"/>
                  </a:moveTo>
                  <a:cubicBezTo>
                    <a:pt x="4" y="1"/>
                    <a:pt x="4" y="1"/>
                    <a:pt x="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439"/>
            <p:cNvSpPr>
              <a:spLocks noEditPoints="1"/>
            </p:cNvSpPr>
            <p:nvPr/>
          </p:nvSpPr>
          <p:spPr bwMode="auto">
            <a:xfrm>
              <a:off x="3102" y="2497"/>
              <a:ext cx="14" cy="13"/>
            </a:xfrm>
            <a:custGeom>
              <a:avLst/>
              <a:gdLst>
                <a:gd name="T0" fmla="*/ 5 w 7"/>
                <a:gd name="T1" fmla="*/ 1 h 7"/>
                <a:gd name="T2" fmla="*/ 1 w 7"/>
                <a:gd name="T3" fmla="*/ 2 h 7"/>
                <a:gd name="T4" fmla="*/ 2 w 7"/>
                <a:gd name="T5" fmla="*/ 6 h 7"/>
                <a:gd name="T6" fmla="*/ 3 w 7"/>
                <a:gd name="T7" fmla="*/ 7 h 7"/>
                <a:gd name="T8" fmla="*/ 6 w 7"/>
                <a:gd name="T9" fmla="*/ 5 h 7"/>
                <a:gd name="T10" fmla="*/ 5 w 7"/>
                <a:gd name="T11" fmla="*/ 1 h 7"/>
                <a:gd name="T12" fmla="*/ 5 w 7"/>
                <a:gd name="T13" fmla="*/ 1 h 7"/>
                <a:gd name="T14" fmla="*/ 5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1"/>
                  </a:moveTo>
                  <a:cubicBezTo>
                    <a:pt x="3" y="0"/>
                    <a:pt x="1" y="1"/>
                    <a:pt x="1" y="2"/>
                  </a:cubicBezTo>
                  <a:cubicBezTo>
                    <a:pt x="0" y="4"/>
                    <a:pt x="0" y="6"/>
                    <a:pt x="2" y="6"/>
                  </a:cubicBezTo>
                  <a:cubicBezTo>
                    <a:pt x="3" y="7"/>
                    <a:pt x="3" y="7"/>
                    <a:pt x="3" y="7"/>
                  </a:cubicBezTo>
                  <a:cubicBezTo>
                    <a:pt x="5" y="7"/>
                    <a:pt x="6" y="6"/>
                    <a:pt x="6" y="5"/>
                  </a:cubicBezTo>
                  <a:cubicBezTo>
                    <a:pt x="7" y="3"/>
                    <a:pt x="6" y="1"/>
                    <a:pt x="5" y="1"/>
                  </a:cubicBezTo>
                  <a:close/>
                  <a:moveTo>
                    <a:pt x="5" y="1"/>
                  </a:moveTo>
                  <a:cubicBezTo>
                    <a:pt x="5" y="1"/>
                    <a:pt x="5" y="1"/>
                    <a:pt x="5"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440"/>
            <p:cNvSpPr>
              <a:spLocks noEditPoints="1"/>
            </p:cNvSpPr>
            <p:nvPr/>
          </p:nvSpPr>
          <p:spPr bwMode="auto">
            <a:xfrm>
              <a:off x="2920" y="2597"/>
              <a:ext cx="13" cy="11"/>
            </a:xfrm>
            <a:custGeom>
              <a:avLst/>
              <a:gdLst>
                <a:gd name="T0" fmla="*/ 4 w 7"/>
                <a:gd name="T1" fmla="*/ 0 h 6"/>
                <a:gd name="T2" fmla="*/ 0 w 7"/>
                <a:gd name="T3" fmla="*/ 3 h 6"/>
                <a:gd name="T4" fmla="*/ 3 w 7"/>
                <a:gd name="T5" fmla="*/ 6 h 6"/>
                <a:gd name="T6" fmla="*/ 3 w 7"/>
                <a:gd name="T7" fmla="*/ 6 h 6"/>
                <a:gd name="T8" fmla="*/ 4 w 7"/>
                <a:gd name="T9" fmla="*/ 6 h 6"/>
                <a:gd name="T10" fmla="*/ 7 w 7"/>
                <a:gd name="T11" fmla="*/ 3 h 6"/>
                <a:gd name="T12" fmla="*/ 4 w 7"/>
                <a:gd name="T13" fmla="*/ 0 h 6"/>
                <a:gd name="T14" fmla="*/ 4 w 7"/>
                <a:gd name="T15" fmla="*/ 0 h 6"/>
                <a:gd name="T16" fmla="*/ 4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4" y="0"/>
                  </a:moveTo>
                  <a:cubicBezTo>
                    <a:pt x="2" y="0"/>
                    <a:pt x="1" y="1"/>
                    <a:pt x="0" y="3"/>
                  </a:cubicBezTo>
                  <a:cubicBezTo>
                    <a:pt x="0" y="4"/>
                    <a:pt x="2" y="6"/>
                    <a:pt x="3" y="6"/>
                  </a:cubicBezTo>
                  <a:cubicBezTo>
                    <a:pt x="3" y="6"/>
                    <a:pt x="3" y="6"/>
                    <a:pt x="3" y="6"/>
                  </a:cubicBezTo>
                  <a:cubicBezTo>
                    <a:pt x="4" y="6"/>
                    <a:pt x="4" y="6"/>
                    <a:pt x="4" y="6"/>
                  </a:cubicBezTo>
                  <a:cubicBezTo>
                    <a:pt x="5" y="6"/>
                    <a:pt x="7" y="5"/>
                    <a:pt x="7" y="3"/>
                  </a:cubicBezTo>
                  <a:cubicBezTo>
                    <a:pt x="7" y="2"/>
                    <a:pt x="6" y="0"/>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441"/>
            <p:cNvSpPr>
              <a:spLocks noEditPoints="1"/>
            </p:cNvSpPr>
            <p:nvPr/>
          </p:nvSpPr>
          <p:spPr bwMode="auto">
            <a:xfrm>
              <a:off x="2883" y="2587"/>
              <a:ext cx="16" cy="13"/>
            </a:xfrm>
            <a:custGeom>
              <a:avLst/>
              <a:gdLst>
                <a:gd name="T0" fmla="*/ 5 w 8"/>
                <a:gd name="T1" fmla="*/ 1 h 7"/>
                <a:gd name="T2" fmla="*/ 1 w 8"/>
                <a:gd name="T3" fmla="*/ 3 h 7"/>
                <a:gd name="T4" fmla="*/ 3 w 8"/>
                <a:gd name="T5" fmla="*/ 7 h 7"/>
                <a:gd name="T6" fmla="*/ 4 w 8"/>
                <a:gd name="T7" fmla="*/ 7 h 7"/>
                <a:gd name="T8" fmla="*/ 7 w 8"/>
                <a:gd name="T9" fmla="*/ 5 h 7"/>
                <a:gd name="T10" fmla="*/ 5 w 8"/>
                <a:gd name="T11" fmla="*/ 1 h 7"/>
                <a:gd name="T12" fmla="*/ 5 w 8"/>
                <a:gd name="T13" fmla="*/ 1 h 7"/>
                <a:gd name="T14" fmla="*/ 5 w 8"/>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5" y="1"/>
                  </a:moveTo>
                  <a:cubicBezTo>
                    <a:pt x="3" y="0"/>
                    <a:pt x="2" y="1"/>
                    <a:pt x="1" y="3"/>
                  </a:cubicBezTo>
                  <a:cubicBezTo>
                    <a:pt x="0" y="4"/>
                    <a:pt x="1" y="6"/>
                    <a:pt x="3" y="7"/>
                  </a:cubicBezTo>
                  <a:cubicBezTo>
                    <a:pt x="3" y="7"/>
                    <a:pt x="4" y="7"/>
                    <a:pt x="4" y="7"/>
                  </a:cubicBezTo>
                  <a:cubicBezTo>
                    <a:pt x="5" y="7"/>
                    <a:pt x="7" y="6"/>
                    <a:pt x="7" y="5"/>
                  </a:cubicBezTo>
                  <a:cubicBezTo>
                    <a:pt x="8" y="3"/>
                    <a:pt x="7" y="1"/>
                    <a:pt x="5" y="1"/>
                  </a:cubicBezTo>
                  <a:close/>
                  <a:moveTo>
                    <a:pt x="5" y="1"/>
                  </a:moveTo>
                  <a:cubicBezTo>
                    <a:pt x="5" y="1"/>
                    <a:pt x="5" y="1"/>
                    <a:pt x="5"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442"/>
            <p:cNvSpPr>
              <a:spLocks noEditPoints="1"/>
            </p:cNvSpPr>
            <p:nvPr/>
          </p:nvSpPr>
          <p:spPr bwMode="auto">
            <a:xfrm>
              <a:off x="2902" y="2593"/>
              <a:ext cx="14" cy="13"/>
            </a:xfrm>
            <a:custGeom>
              <a:avLst/>
              <a:gdLst>
                <a:gd name="T0" fmla="*/ 4 w 7"/>
                <a:gd name="T1" fmla="*/ 0 h 7"/>
                <a:gd name="T2" fmla="*/ 0 w 7"/>
                <a:gd name="T3" fmla="*/ 3 h 7"/>
                <a:gd name="T4" fmla="*/ 2 w 7"/>
                <a:gd name="T5" fmla="*/ 7 h 7"/>
                <a:gd name="T6" fmla="*/ 3 w 7"/>
                <a:gd name="T7" fmla="*/ 7 h 7"/>
                <a:gd name="T8" fmla="*/ 6 w 7"/>
                <a:gd name="T9" fmla="*/ 4 h 7"/>
                <a:gd name="T10" fmla="*/ 4 w 7"/>
                <a:gd name="T11" fmla="*/ 0 h 7"/>
                <a:gd name="T12" fmla="*/ 4 w 7"/>
                <a:gd name="T13" fmla="*/ 0 h 7"/>
                <a:gd name="T14" fmla="*/ 4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4" y="0"/>
                  </a:moveTo>
                  <a:cubicBezTo>
                    <a:pt x="2" y="0"/>
                    <a:pt x="0" y="1"/>
                    <a:pt x="0" y="3"/>
                  </a:cubicBezTo>
                  <a:cubicBezTo>
                    <a:pt x="0" y="4"/>
                    <a:pt x="1" y="6"/>
                    <a:pt x="2" y="7"/>
                  </a:cubicBezTo>
                  <a:cubicBezTo>
                    <a:pt x="3" y="7"/>
                    <a:pt x="3" y="7"/>
                    <a:pt x="3" y="7"/>
                  </a:cubicBezTo>
                  <a:cubicBezTo>
                    <a:pt x="5" y="7"/>
                    <a:pt x="6" y="6"/>
                    <a:pt x="6" y="4"/>
                  </a:cubicBezTo>
                  <a:cubicBezTo>
                    <a:pt x="7" y="2"/>
                    <a:pt x="6" y="1"/>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443"/>
            <p:cNvSpPr>
              <a:spLocks noEditPoints="1"/>
            </p:cNvSpPr>
            <p:nvPr/>
          </p:nvSpPr>
          <p:spPr bwMode="auto">
            <a:xfrm>
              <a:off x="2866" y="2581"/>
              <a:ext cx="15" cy="12"/>
            </a:xfrm>
            <a:custGeom>
              <a:avLst/>
              <a:gdLst>
                <a:gd name="T0" fmla="*/ 5 w 8"/>
                <a:gd name="T1" fmla="*/ 0 h 6"/>
                <a:gd name="T2" fmla="*/ 1 w 8"/>
                <a:gd name="T3" fmla="*/ 2 h 6"/>
                <a:gd name="T4" fmla="*/ 3 w 8"/>
                <a:gd name="T5" fmla="*/ 6 h 6"/>
                <a:gd name="T6" fmla="*/ 4 w 8"/>
                <a:gd name="T7" fmla="*/ 6 h 6"/>
                <a:gd name="T8" fmla="*/ 7 w 8"/>
                <a:gd name="T9" fmla="*/ 5 h 6"/>
                <a:gd name="T10" fmla="*/ 5 w 8"/>
                <a:gd name="T11" fmla="*/ 0 h 6"/>
                <a:gd name="T12" fmla="*/ 5 w 8"/>
                <a:gd name="T13" fmla="*/ 0 h 6"/>
                <a:gd name="T14" fmla="*/ 5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0"/>
                  </a:moveTo>
                  <a:cubicBezTo>
                    <a:pt x="4" y="0"/>
                    <a:pt x="2" y="0"/>
                    <a:pt x="1" y="2"/>
                  </a:cubicBezTo>
                  <a:cubicBezTo>
                    <a:pt x="0" y="3"/>
                    <a:pt x="1" y="5"/>
                    <a:pt x="3" y="6"/>
                  </a:cubicBezTo>
                  <a:cubicBezTo>
                    <a:pt x="3" y="6"/>
                    <a:pt x="4" y="6"/>
                    <a:pt x="4" y="6"/>
                  </a:cubicBezTo>
                  <a:cubicBezTo>
                    <a:pt x="5" y="6"/>
                    <a:pt x="6" y="6"/>
                    <a:pt x="7" y="5"/>
                  </a:cubicBezTo>
                  <a:cubicBezTo>
                    <a:pt x="8" y="3"/>
                    <a:pt x="7" y="1"/>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444"/>
            <p:cNvSpPr>
              <a:spLocks noEditPoints="1"/>
            </p:cNvSpPr>
            <p:nvPr/>
          </p:nvSpPr>
          <p:spPr bwMode="auto">
            <a:xfrm>
              <a:off x="2976" y="2595"/>
              <a:ext cx="13" cy="11"/>
            </a:xfrm>
            <a:custGeom>
              <a:avLst/>
              <a:gdLst>
                <a:gd name="T0" fmla="*/ 3 w 7"/>
                <a:gd name="T1" fmla="*/ 0 h 6"/>
                <a:gd name="T2" fmla="*/ 0 w 7"/>
                <a:gd name="T3" fmla="*/ 4 h 6"/>
                <a:gd name="T4" fmla="*/ 3 w 7"/>
                <a:gd name="T5" fmla="*/ 6 h 6"/>
                <a:gd name="T6" fmla="*/ 4 w 7"/>
                <a:gd name="T7" fmla="*/ 6 h 6"/>
                <a:gd name="T8" fmla="*/ 6 w 7"/>
                <a:gd name="T9" fmla="*/ 3 h 6"/>
                <a:gd name="T10" fmla="*/ 3 w 7"/>
                <a:gd name="T11" fmla="*/ 0 h 6"/>
                <a:gd name="T12" fmla="*/ 3 w 7"/>
                <a:gd name="T13" fmla="*/ 0 h 6"/>
                <a:gd name="T14" fmla="*/ 3 w 7"/>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3" y="0"/>
                  </a:moveTo>
                  <a:cubicBezTo>
                    <a:pt x="1" y="0"/>
                    <a:pt x="0" y="2"/>
                    <a:pt x="0" y="4"/>
                  </a:cubicBezTo>
                  <a:cubicBezTo>
                    <a:pt x="0" y="5"/>
                    <a:pt x="2" y="6"/>
                    <a:pt x="3" y="6"/>
                  </a:cubicBezTo>
                  <a:cubicBezTo>
                    <a:pt x="3" y="6"/>
                    <a:pt x="4" y="6"/>
                    <a:pt x="4" y="6"/>
                  </a:cubicBezTo>
                  <a:cubicBezTo>
                    <a:pt x="6" y="6"/>
                    <a:pt x="7" y="4"/>
                    <a:pt x="6" y="3"/>
                  </a:cubicBezTo>
                  <a:cubicBezTo>
                    <a:pt x="6" y="1"/>
                    <a:pt x="4" y="0"/>
                    <a:pt x="3" y="0"/>
                  </a:cubicBez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445"/>
            <p:cNvSpPr>
              <a:spLocks noEditPoints="1"/>
            </p:cNvSpPr>
            <p:nvPr/>
          </p:nvSpPr>
          <p:spPr bwMode="auto">
            <a:xfrm>
              <a:off x="2993" y="2589"/>
              <a:ext cx="13" cy="13"/>
            </a:xfrm>
            <a:custGeom>
              <a:avLst/>
              <a:gdLst>
                <a:gd name="T0" fmla="*/ 3 w 7"/>
                <a:gd name="T1" fmla="*/ 1 h 7"/>
                <a:gd name="T2" fmla="*/ 1 w 7"/>
                <a:gd name="T3" fmla="*/ 5 h 7"/>
                <a:gd name="T4" fmla="*/ 4 w 7"/>
                <a:gd name="T5" fmla="*/ 7 h 7"/>
                <a:gd name="T6" fmla="*/ 5 w 7"/>
                <a:gd name="T7" fmla="*/ 7 h 7"/>
                <a:gd name="T8" fmla="*/ 7 w 7"/>
                <a:gd name="T9" fmla="*/ 3 h 7"/>
                <a:gd name="T10" fmla="*/ 3 w 7"/>
                <a:gd name="T11" fmla="*/ 1 h 7"/>
                <a:gd name="T12" fmla="*/ 3 w 7"/>
                <a:gd name="T13" fmla="*/ 1 h 7"/>
                <a:gd name="T14" fmla="*/ 3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3" y="1"/>
                  </a:moveTo>
                  <a:cubicBezTo>
                    <a:pt x="1" y="1"/>
                    <a:pt x="0" y="3"/>
                    <a:pt x="1" y="5"/>
                  </a:cubicBezTo>
                  <a:cubicBezTo>
                    <a:pt x="1" y="6"/>
                    <a:pt x="2" y="7"/>
                    <a:pt x="4" y="7"/>
                  </a:cubicBezTo>
                  <a:cubicBezTo>
                    <a:pt x="4" y="7"/>
                    <a:pt x="4" y="7"/>
                    <a:pt x="5" y="7"/>
                  </a:cubicBezTo>
                  <a:cubicBezTo>
                    <a:pt x="6" y="6"/>
                    <a:pt x="7" y="5"/>
                    <a:pt x="7" y="3"/>
                  </a:cubicBezTo>
                  <a:cubicBezTo>
                    <a:pt x="6" y="1"/>
                    <a:pt x="4" y="0"/>
                    <a:pt x="3" y="1"/>
                  </a:cubicBezTo>
                  <a:close/>
                  <a:moveTo>
                    <a:pt x="3" y="1"/>
                  </a:moveTo>
                  <a:cubicBezTo>
                    <a:pt x="3" y="1"/>
                    <a:pt x="3"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446"/>
            <p:cNvSpPr>
              <a:spLocks noEditPoints="1"/>
            </p:cNvSpPr>
            <p:nvPr/>
          </p:nvSpPr>
          <p:spPr bwMode="auto">
            <a:xfrm>
              <a:off x="3010" y="2583"/>
              <a:ext cx="14" cy="14"/>
            </a:xfrm>
            <a:custGeom>
              <a:avLst/>
              <a:gdLst>
                <a:gd name="T0" fmla="*/ 2 w 7"/>
                <a:gd name="T1" fmla="*/ 1 h 7"/>
                <a:gd name="T2" fmla="*/ 1 w 7"/>
                <a:gd name="T3" fmla="*/ 5 h 7"/>
                <a:gd name="T4" fmla="*/ 4 w 7"/>
                <a:gd name="T5" fmla="*/ 7 h 7"/>
                <a:gd name="T6" fmla="*/ 5 w 7"/>
                <a:gd name="T7" fmla="*/ 7 h 7"/>
                <a:gd name="T8" fmla="*/ 7 w 7"/>
                <a:gd name="T9" fmla="*/ 2 h 7"/>
                <a:gd name="T10" fmla="*/ 2 w 7"/>
                <a:gd name="T11" fmla="*/ 1 h 7"/>
                <a:gd name="T12" fmla="*/ 2 w 7"/>
                <a:gd name="T13" fmla="*/ 1 h 7"/>
                <a:gd name="T14" fmla="*/ 2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1"/>
                  </a:moveTo>
                  <a:cubicBezTo>
                    <a:pt x="1" y="1"/>
                    <a:pt x="0" y="3"/>
                    <a:pt x="1" y="5"/>
                  </a:cubicBezTo>
                  <a:cubicBezTo>
                    <a:pt x="1" y="6"/>
                    <a:pt x="2" y="7"/>
                    <a:pt x="4" y="7"/>
                  </a:cubicBezTo>
                  <a:cubicBezTo>
                    <a:pt x="4" y="7"/>
                    <a:pt x="4" y="7"/>
                    <a:pt x="5" y="7"/>
                  </a:cubicBezTo>
                  <a:cubicBezTo>
                    <a:pt x="7" y="6"/>
                    <a:pt x="7" y="4"/>
                    <a:pt x="7" y="2"/>
                  </a:cubicBezTo>
                  <a:cubicBezTo>
                    <a:pt x="6" y="1"/>
                    <a:pt x="4"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447"/>
            <p:cNvSpPr>
              <a:spLocks noEditPoints="1"/>
            </p:cNvSpPr>
            <p:nvPr/>
          </p:nvSpPr>
          <p:spPr bwMode="auto">
            <a:xfrm>
              <a:off x="2956" y="2597"/>
              <a:ext cx="14" cy="13"/>
            </a:xfrm>
            <a:custGeom>
              <a:avLst/>
              <a:gdLst>
                <a:gd name="T0" fmla="*/ 4 w 7"/>
                <a:gd name="T1" fmla="*/ 0 h 7"/>
                <a:gd name="T2" fmla="*/ 1 w 7"/>
                <a:gd name="T3" fmla="*/ 4 h 7"/>
                <a:gd name="T4" fmla="*/ 4 w 7"/>
                <a:gd name="T5" fmla="*/ 7 h 7"/>
                <a:gd name="T6" fmla="*/ 4 w 7"/>
                <a:gd name="T7" fmla="*/ 7 h 7"/>
                <a:gd name="T8" fmla="*/ 4 w 7"/>
                <a:gd name="T9" fmla="*/ 7 h 7"/>
                <a:gd name="T10" fmla="*/ 7 w 7"/>
                <a:gd name="T11" fmla="*/ 3 h 7"/>
                <a:gd name="T12" fmla="*/ 4 w 7"/>
                <a:gd name="T13" fmla="*/ 0 h 7"/>
                <a:gd name="T14" fmla="*/ 4 w 7"/>
                <a:gd name="T15" fmla="*/ 0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0" y="2"/>
                    <a:pt x="1" y="4"/>
                  </a:cubicBezTo>
                  <a:cubicBezTo>
                    <a:pt x="1" y="5"/>
                    <a:pt x="2" y="7"/>
                    <a:pt x="4" y="7"/>
                  </a:cubicBezTo>
                  <a:cubicBezTo>
                    <a:pt x="4" y="7"/>
                    <a:pt x="4" y="7"/>
                    <a:pt x="4" y="7"/>
                  </a:cubicBezTo>
                  <a:cubicBezTo>
                    <a:pt x="4" y="7"/>
                    <a:pt x="4" y="7"/>
                    <a:pt x="4" y="7"/>
                  </a:cubicBezTo>
                  <a:cubicBezTo>
                    <a:pt x="6" y="7"/>
                    <a:pt x="7" y="5"/>
                    <a:pt x="7" y="3"/>
                  </a:cubicBezTo>
                  <a:cubicBezTo>
                    <a:pt x="7" y="1"/>
                    <a:pt x="5" y="0"/>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448"/>
            <p:cNvSpPr>
              <a:spLocks noEditPoints="1"/>
            </p:cNvSpPr>
            <p:nvPr/>
          </p:nvSpPr>
          <p:spPr bwMode="auto">
            <a:xfrm>
              <a:off x="3027" y="2575"/>
              <a:ext cx="14" cy="14"/>
            </a:xfrm>
            <a:custGeom>
              <a:avLst/>
              <a:gdLst>
                <a:gd name="T0" fmla="*/ 2 w 7"/>
                <a:gd name="T1" fmla="*/ 1 h 7"/>
                <a:gd name="T2" fmla="*/ 0 w 7"/>
                <a:gd name="T3" fmla="*/ 5 h 7"/>
                <a:gd name="T4" fmla="*/ 3 w 7"/>
                <a:gd name="T5" fmla="*/ 7 h 7"/>
                <a:gd name="T6" fmla="*/ 5 w 7"/>
                <a:gd name="T7" fmla="*/ 6 h 7"/>
                <a:gd name="T8" fmla="*/ 6 w 7"/>
                <a:gd name="T9" fmla="*/ 2 h 7"/>
                <a:gd name="T10" fmla="*/ 2 w 7"/>
                <a:gd name="T11" fmla="*/ 1 h 7"/>
                <a:gd name="T12" fmla="*/ 2 w 7"/>
                <a:gd name="T13" fmla="*/ 1 h 7"/>
                <a:gd name="T14" fmla="*/ 2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1"/>
                  </a:moveTo>
                  <a:cubicBezTo>
                    <a:pt x="0" y="2"/>
                    <a:pt x="0" y="3"/>
                    <a:pt x="0" y="5"/>
                  </a:cubicBezTo>
                  <a:cubicBezTo>
                    <a:pt x="1" y="6"/>
                    <a:pt x="2" y="7"/>
                    <a:pt x="3" y="7"/>
                  </a:cubicBezTo>
                  <a:cubicBezTo>
                    <a:pt x="4" y="7"/>
                    <a:pt x="4" y="7"/>
                    <a:pt x="5" y="6"/>
                  </a:cubicBezTo>
                  <a:cubicBezTo>
                    <a:pt x="6" y="5"/>
                    <a:pt x="7" y="4"/>
                    <a:pt x="6" y="2"/>
                  </a:cubicBezTo>
                  <a:cubicBezTo>
                    <a:pt x="5" y="0"/>
                    <a:pt x="3"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5" name="Group 451"/>
          <p:cNvGrpSpPr>
            <a:grpSpLocks noChangeAspect="1"/>
          </p:cNvGrpSpPr>
          <p:nvPr/>
        </p:nvGrpSpPr>
        <p:grpSpPr bwMode="auto">
          <a:xfrm>
            <a:off x="11431995" y="4080541"/>
            <a:ext cx="512064" cy="512064"/>
            <a:chOff x="5819" y="1615"/>
            <a:chExt cx="3876" cy="3876"/>
          </a:xfrm>
          <a:solidFill>
            <a:schemeClr val="accent1"/>
          </a:solidFill>
        </p:grpSpPr>
        <p:sp>
          <p:nvSpPr>
            <p:cNvPr id="457" name="Freeform 452"/>
            <p:cNvSpPr>
              <a:spLocks noEditPoints="1"/>
            </p:cNvSpPr>
            <p:nvPr/>
          </p:nvSpPr>
          <p:spPr bwMode="auto">
            <a:xfrm>
              <a:off x="5819" y="1615"/>
              <a:ext cx="3096" cy="3096"/>
            </a:xfrm>
            <a:custGeom>
              <a:avLst/>
              <a:gdLst>
                <a:gd name="T0" fmla="*/ 1596 w 1636"/>
                <a:gd name="T1" fmla="*/ 0 h 1636"/>
                <a:gd name="T2" fmla="*/ 40 w 1636"/>
                <a:gd name="T3" fmla="*/ 0 h 1636"/>
                <a:gd name="T4" fmla="*/ 0 w 1636"/>
                <a:gd name="T5" fmla="*/ 40 h 1636"/>
                <a:gd name="T6" fmla="*/ 0 w 1636"/>
                <a:gd name="T7" fmla="*/ 1596 h 1636"/>
                <a:gd name="T8" fmla="*/ 40 w 1636"/>
                <a:gd name="T9" fmla="*/ 1636 h 1636"/>
                <a:gd name="T10" fmla="*/ 1596 w 1636"/>
                <a:gd name="T11" fmla="*/ 1636 h 1636"/>
                <a:gd name="T12" fmla="*/ 1636 w 1636"/>
                <a:gd name="T13" fmla="*/ 1596 h 1636"/>
                <a:gd name="T14" fmla="*/ 1636 w 1636"/>
                <a:gd name="T15" fmla="*/ 40 h 1636"/>
                <a:gd name="T16" fmla="*/ 1596 w 1636"/>
                <a:gd name="T17" fmla="*/ 0 h 1636"/>
                <a:gd name="T18" fmla="*/ 524 w 1636"/>
                <a:gd name="T19" fmla="*/ 1556 h 1636"/>
                <a:gd name="T20" fmla="*/ 525 w 1636"/>
                <a:gd name="T21" fmla="*/ 1545 h 1636"/>
                <a:gd name="T22" fmla="*/ 525 w 1636"/>
                <a:gd name="T23" fmla="*/ 1485 h 1636"/>
                <a:gd name="T24" fmla="*/ 485 w 1636"/>
                <a:gd name="T25" fmla="*/ 1445 h 1636"/>
                <a:gd name="T26" fmla="*/ 445 w 1636"/>
                <a:gd name="T27" fmla="*/ 1485 h 1636"/>
                <a:gd name="T28" fmla="*/ 445 w 1636"/>
                <a:gd name="T29" fmla="*/ 1545 h 1636"/>
                <a:gd name="T30" fmla="*/ 447 w 1636"/>
                <a:gd name="T31" fmla="*/ 1556 h 1636"/>
                <a:gd name="T32" fmla="*/ 80 w 1636"/>
                <a:gd name="T33" fmla="*/ 1556 h 1636"/>
                <a:gd name="T34" fmla="*/ 80 w 1636"/>
                <a:gd name="T35" fmla="*/ 80 h 1636"/>
                <a:gd name="T36" fmla="*/ 1556 w 1636"/>
                <a:gd name="T37" fmla="*/ 80 h 1636"/>
                <a:gd name="T38" fmla="*/ 1556 w 1636"/>
                <a:gd name="T39" fmla="*/ 446 h 1636"/>
                <a:gd name="T40" fmla="*/ 1547 w 1636"/>
                <a:gd name="T41" fmla="*/ 445 h 1636"/>
                <a:gd name="T42" fmla="*/ 1487 w 1636"/>
                <a:gd name="T43" fmla="*/ 445 h 1636"/>
                <a:gd name="T44" fmla="*/ 1447 w 1636"/>
                <a:gd name="T45" fmla="*/ 485 h 1636"/>
                <a:gd name="T46" fmla="*/ 1487 w 1636"/>
                <a:gd name="T47" fmla="*/ 525 h 1636"/>
                <a:gd name="T48" fmla="*/ 1547 w 1636"/>
                <a:gd name="T49" fmla="*/ 525 h 1636"/>
                <a:gd name="T50" fmla="*/ 1556 w 1636"/>
                <a:gd name="T51" fmla="*/ 524 h 1636"/>
                <a:gd name="T52" fmla="*/ 1556 w 1636"/>
                <a:gd name="T53" fmla="*/ 1556 h 1636"/>
                <a:gd name="T54" fmla="*/ 524 w 1636"/>
                <a:gd name="T55" fmla="*/ 1556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36" h="1636">
                  <a:moveTo>
                    <a:pt x="1596" y="0"/>
                  </a:moveTo>
                  <a:cubicBezTo>
                    <a:pt x="40" y="0"/>
                    <a:pt x="40" y="0"/>
                    <a:pt x="40" y="0"/>
                  </a:cubicBezTo>
                  <a:cubicBezTo>
                    <a:pt x="18" y="0"/>
                    <a:pt x="0" y="18"/>
                    <a:pt x="0" y="40"/>
                  </a:cubicBezTo>
                  <a:cubicBezTo>
                    <a:pt x="0" y="1596"/>
                    <a:pt x="0" y="1596"/>
                    <a:pt x="0" y="1596"/>
                  </a:cubicBezTo>
                  <a:cubicBezTo>
                    <a:pt x="0" y="1618"/>
                    <a:pt x="18" y="1636"/>
                    <a:pt x="40" y="1636"/>
                  </a:cubicBezTo>
                  <a:cubicBezTo>
                    <a:pt x="1596" y="1636"/>
                    <a:pt x="1596" y="1636"/>
                    <a:pt x="1596" y="1636"/>
                  </a:cubicBezTo>
                  <a:cubicBezTo>
                    <a:pt x="1618" y="1636"/>
                    <a:pt x="1636" y="1618"/>
                    <a:pt x="1636" y="1596"/>
                  </a:cubicBezTo>
                  <a:cubicBezTo>
                    <a:pt x="1636" y="40"/>
                    <a:pt x="1636" y="40"/>
                    <a:pt x="1636" y="40"/>
                  </a:cubicBezTo>
                  <a:cubicBezTo>
                    <a:pt x="1636" y="18"/>
                    <a:pt x="1618" y="0"/>
                    <a:pt x="1596" y="0"/>
                  </a:cubicBezTo>
                  <a:close/>
                  <a:moveTo>
                    <a:pt x="524" y="1556"/>
                  </a:moveTo>
                  <a:cubicBezTo>
                    <a:pt x="525" y="1553"/>
                    <a:pt x="525" y="1549"/>
                    <a:pt x="525" y="1545"/>
                  </a:cubicBezTo>
                  <a:cubicBezTo>
                    <a:pt x="525" y="1485"/>
                    <a:pt x="525" y="1485"/>
                    <a:pt x="525" y="1485"/>
                  </a:cubicBezTo>
                  <a:cubicBezTo>
                    <a:pt x="525" y="1463"/>
                    <a:pt x="507" y="1445"/>
                    <a:pt x="485" y="1445"/>
                  </a:cubicBezTo>
                  <a:cubicBezTo>
                    <a:pt x="463" y="1445"/>
                    <a:pt x="445" y="1463"/>
                    <a:pt x="445" y="1485"/>
                  </a:cubicBezTo>
                  <a:cubicBezTo>
                    <a:pt x="445" y="1545"/>
                    <a:pt x="445" y="1545"/>
                    <a:pt x="445" y="1545"/>
                  </a:cubicBezTo>
                  <a:cubicBezTo>
                    <a:pt x="445" y="1549"/>
                    <a:pt x="446" y="1553"/>
                    <a:pt x="447" y="1556"/>
                  </a:cubicBezTo>
                  <a:cubicBezTo>
                    <a:pt x="80" y="1556"/>
                    <a:pt x="80" y="1556"/>
                    <a:pt x="80" y="1556"/>
                  </a:cubicBezTo>
                  <a:cubicBezTo>
                    <a:pt x="80" y="80"/>
                    <a:pt x="80" y="80"/>
                    <a:pt x="80" y="80"/>
                  </a:cubicBezTo>
                  <a:cubicBezTo>
                    <a:pt x="1556" y="80"/>
                    <a:pt x="1556" y="80"/>
                    <a:pt x="1556" y="80"/>
                  </a:cubicBezTo>
                  <a:cubicBezTo>
                    <a:pt x="1556" y="446"/>
                    <a:pt x="1556" y="446"/>
                    <a:pt x="1556" y="446"/>
                  </a:cubicBezTo>
                  <a:cubicBezTo>
                    <a:pt x="1553" y="446"/>
                    <a:pt x="1550" y="445"/>
                    <a:pt x="1547" y="445"/>
                  </a:cubicBezTo>
                  <a:cubicBezTo>
                    <a:pt x="1487" y="445"/>
                    <a:pt x="1487" y="445"/>
                    <a:pt x="1487" y="445"/>
                  </a:cubicBezTo>
                  <a:cubicBezTo>
                    <a:pt x="1465" y="445"/>
                    <a:pt x="1447" y="463"/>
                    <a:pt x="1447" y="485"/>
                  </a:cubicBezTo>
                  <a:cubicBezTo>
                    <a:pt x="1447" y="507"/>
                    <a:pt x="1465" y="525"/>
                    <a:pt x="1487" y="525"/>
                  </a:cubicBezTo>
                  <a:cubicBezTo>
                    <a:pt x="1547" y="525"/>
                    <a:pt x="1547" y="525"/>
                    <a:pt x="1547" y="525"/>
                  </a:cubicBezTo>
                  <a:cubicBezTo>
                    <a:pt x="1550" y="525"/>
                    <a:pt x="1553" y="525"/>
                    <a:pt x="1556" y="524"/>
                  </a:cubicBezTo>
                  <a:cubicBezTo>
                    <a:pt x="1556" y="1556"/>
                    <a:pt x="1556" y="1556"/>
                    <a:pt x="1556" y="1556"/>
                  </a:cubicBezTo>
                  <a:cubicBezTo>
                    <a:pt x="524" y="1556"/>
                    <a:pt x="524" y="1556"/>
                    <a:pt x="524" y="15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453"/>
            <p:cNvSpPr>
              <a:spLocks/>
            </p:cNvSpPr>
            <p:nvPr/>
          </p:nvSpPr>
          <p:spPr bwMode="auto">
            <a:xfrm>
              <a:off x="7725" y="2457"/>
              <a:ext cx="265" cy="152"/>
            </a:xfrm>
            <a:custGeom>
              <a:avLst/>
              <a:gdLst>
                <a:gd name="T0" fmla="*/ 40 w 140"/>
                <a:gd name="T1" fmla="*/ 80 h 80"/>
                <a:gd name="T2" fmla="*/ 100 w 140"/>
                <a:gd name="T3" fmla="*/ 80 h 80"/>
                <a:gd name="T4" fmla="*/ 140 w 140"/>
                <a:gd name="T5" fmla="*/ 40 h 80"/>
                <a:gd name="T6" fmla="*/ 100 w 140"/>
                <a:gd name="T7" fmla="*/ 0 h 80"/>
                <a:gd name="T8" fmla="*/ 40 w 140"/>
                <a:gd name="T9" fmla="*/ 0 h 80"/>
                <a:gd name="T10" fmla="*/ 0 w 140"/>
                <a:gd name="T11" fmla="*/ 40 h 80"/>
                <a:gd name="T12" fmla="*/ 40 w 140"/>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40" h="80">
                  <a:moveTo>
                    <a:pt x="40" y="80"/>
                  </a:moveTo>
                  <a:cubicBezTo>
                    <a:pt x="100" y="80"/>
                    <a:pt x="100" y="80"/>
                    <a:pt x="100" y="80"/>
                  </a:cubicBezTo>
                  <a:cubicBezTo>
                    <a:pt x="122" y="80"/>
                    <a:pt x="140" y="62"/>
                    <a:pt x="140" y="40"/>
                  </a:cubicBezTo>
                  <a:cubicBezTo>
                    <a:pt x="140" y="18"/>
                    <a:pt x="122" y="0"/>
                    <a:pt x="100" y="0"/>
                  </a:cubicBezTo>
                  <a:cubicBezTo>
                    <a:pt x="40" y="0"/>
                    <a:pt x="40" y="0"/>
                    <a:pt x="40" y="0"/>
                  </a:cubicBezTo>
                  <a:cubicBezTo>
                    <a:pt x="18" y="0"/>
                    <a:pt x="0" y="18"/>
                    <a:pt x="0" y="40"/>
                  </a:cubicBezTo>
                  <a:cubicBezTo>
                    <a:pt x="0" y="62"/>
                    <a:pt x="18"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454"/>
            <p:cNvSpPr>
              <a:spLocks/>
            </p:cNvSpPr>
            <p:nvPr/>
          </p:nvSpPr>
          <p:spPr bwMode="auto">
            <a:xfrm>
              <a:off x="7309" y="2457"/>
              <a:ext cx="264" cy="152"/>
            </a:xfrm>
            <a:custGeom>
              <a:avLst/>
              <a:gdLst>
                <a:gd name="T0" fmla="*/ 40 w 140"/>
                <a:gd name="T1" fmla="*/ 80 h 80"/>
                <a:gd name="T2" fmla="*/ 100 w 140"/>
                <a:gd name="T3" fmla="*/ 80 h 80"/>
                <a:gd name="T4" fmla="*/ 140 w 140"/>
                <a:gd name="T5" fmla="*/ 40 h 80"/>
                <a:gd name="T6" fmla="*/ 100 w 140"/>
                <a:gd name="T7" fmla="*/ 0 h 80"/>
                <a:gd name="T8" fmla="*/ 40 w 140"/>
                <a:gd name="T9" fmla="*/ 0 h 80"/>
                <a:gd name="T10" fmla="*/ 0 w 140"/>
                <a:gd name="T11" fmla="*/ 40 h 80"/>
                <a:gd name="T12" fmla="*/ 40 w 140"/>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40" h="80">
                  <a:moveTo>
                    <a:pt x="40" y="80"/>
                  </a:moveTo>
                  <a:cubicBezTo>
                    <a:pt x="100" y="80"/>
                    <a:pt x="100" y="80"/>
                    <a:pt x="100" y="80"/>
                  </a:cubicBezTo>
                  <a:cubicBezTo>
                    <a:pt x="122" y="80"/>
                    <a:pt x="140" y="62"/>
                    <a:pt x="140" y="40"/>
                  </a:cubicBezTo>
                  <a:cubicBezTo>
                    <a:pt x="140" y="18"/>
                    <a:pt x="122" y="0"/>
                    <a:pt x="100" y="0"/>
                  </a:cubicBezTo>
                  <a:cubicBezTo>
                    <a:pt x="40" y="0"/>
                    <a:pt x="40" y="0"/>
                    <a:pt x="40" y="0"/>
                  </a:cubicBezTo>
                  <a:cubicBezTo>
                    <a:pt x="18" y="0"/>
                    <a:pt x="0" y="18"/>
                    <a:pt x="0" y="40"/>
                  </a:cubicBezTo>
                  <a:cubicBezTo>
                    <a:pt x="0" y="62"/>
                    <a:pt x="18"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455"/>
            <p:cNvSpPr>
              <a:spLocks/>
            </p:cNvSpPr>
            <p:nvPr/>
          </p:nvSpPr>
          <p:spPr bwMode="auto">
            <a:xfrm>
              <a:off x="8554" y="5109"/>
              <a:ext cx="265" cy="151"/>
            </a:xfrm>
            <a:custGeom>
              <a:avLst/>
              <a:gdLst>
                <a:gd name="T0" fmla="*/ 100 w 140"/>
                <a:gd name="T1" fmla="*/ 0 h 80"/>
                <a:gd name="T2" fmla="*/ 40 w 140"/>
                <a:gd name="T3" fmla="*/ 0 h 80"/>
                <a:gd name="T4" fmla="*/ 0 w 140"/>
                <a:gd name="T5" fmla="*/ 40 h 80"/>
                <a:gd name="T6" fmla="*/ 40 w 140"/>
                <a:gd name="T7" fmla="*/ 80 h 80"/>
                <a:gd name="T8" fmla="*/ 100 w 140"/>
                <a:gd name="T9" fmla="*/ 80 h 80"/>
                <a:gd name="T10" fmla="*/ 140 w 140"/>
                <a:gd name="T11" fmla="*/ 40 h 80"/>
                <a:gd name="T12" fmla="*/ 100 w 14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40" h="80">
                  <a:moveTo>
                    <a:pt x="100" y="0"/>
                  </a:moveTo>
                  <a:cubicBezTo>
                    <a:pt x="40" y="0"/>
                    <a:pt x="40" y="0"/>
                    <a:pt x="40" y="0"/>
                  </a:cubicBezTo>
                  <a:cubicBezTo>
                    <a:pt x="18" y="0"/>
                    <a:pt x="0" y="18"/>
                    <a:pt x="0" y="40"/>
                  </a:cubicBezTo>
                  <a:cubicBezTo>
                    <a:pt x="0" y="63"/>
                    <a:pt x="18" y="80"/>
                    <a:pt x="40" y="80"/>
                  </a:cubicBezTo>
                  <a:cubicBezTo>
                    <a:pt x="100" y="80"/>
                    <a:pt x="100" y="80"/>
                    <a:pt x="100" y="80"/>
                  </a:cubicBezTo>
                  <a:cubicBezTo>
                    <a:pt x="122" y="80"/>
                    <a:pt x="140" y="63"/>
                    <a:pt x="140" y="40"/>
                  </a:cubicBezTo>
                  <a:cubicBezTo>
                    <a:pt x="140" y="18"/>
                    <a:pt x="122" y="0"/>
                    <a:pt x="1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456"/>
            <p:cNvSpPr>
              <a:spLocks/>
            </p:cNvSpPr>
            <p:nvPr/>
          </p:nvSpPr>
          <p:spPr bwMode="auto">
            <a:xfrm>
              <a:off x="7305" y="5109"/>
              <a:ext cx="265" cy="151"/>
            </a:xfrm>
            <a:custGeom>
              <a:avLst/>
              <a:gdLst>
                <a:gd name="T0" fmla="*/ 100 w 140"/>
                <a:gd name="T1" fmla="*/ 0 h 80"/>
                <a:gd name="T2" fmla="*/ 40 w 140"/>
                <a:gd name="T3" fmla="*/ 0 h 80"/>
                <a:gd name="T4" fmla="*/ 0 w 140"/>
                <a:gd name="T5" fmla="*/ 40 h 80"/>
                <a:gd name="T6" fmla="*/ 40 w 140"/>
                <a:gd name="T7" fmla="*/ 80 h 80"/>
                <a:gd name="T8" fmla="*/ 100 w 140"/>
                <a:gd name="T9" fmla="*/ 80 h 80"/>
                <a:gd name="T10" fmla="*/ 140 w 140"/>
                <a:gd name="T11" fmla="*/ 40 h 80"/>
                <a:gd name="T12" fmla="*/ 100 w 14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40" h="80">
                  <a:moveTo>
                    <a:pt x="100" y="0"/>
                  </a:moveTo>
                  <a:cubicBezTo>
                    <a:pt x="40" y="0"/>
                    <a:pt x="40" y="0"/>
                    <a:pt x="40" y="0"/>
                  </a:cubicBezTo>
                  <a:cubicBezTo>
                    <a:pt x="18" y="0"/>
                    <a:pt x="0" y="18"/>
                    <a:pt x="0" y="40"/>
                  </a:cubicBezTo>
                  <a:cubicBezTo>
                    <a:pt x="0" y="63"/>
                    <a:pt x="18" y="80"/>
                    <a:pt x="40" y="80"/>
                  </a:cubicBezTo>
                  <a:cubicBezTo>
                    <a:pt x="100" y="80"/>
                    <a:pt x="100" y="80"/>
                    <a:pt x="100" y="80"/>
                  </a:cubicBezTo>
                  <a:cubicBezTo>
                    <a:pt x="122" y="80"/>
                    <a:pt x="140" y="63"/>
                    <a:pt x="140" y="40"/>
                  </a:cubicBezTo>
                  <a:cubicBezTo>
                    <a:pt x="140" y="18"/>
                    <a:pt x="122" y="0"/>
                    <a:pt x="1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457"/>
            <p:cNvSpPr>
              <a:spLocks noEditPoints="1"/>
            </p:cNvSpPr>
            <p:nvPr/>
          </p:nvSpPr>
          <p:spPr bwMode="auto">
            <a:xfrm>
              <a:off x="6432" y="4766"/>
              <a:ext cx="721" cy="725"/>
            </a:xfrm>
            <a:custGeom>
              <a:avLst/>
              <a:gdLst>
                <a:gd name="T0" fmla="*/ 341 w 381"/>
                <a:gd name="T1" fmla="*/ 181 h 383"/>
                <a:gd name="T2" fmla="*/ 323 w 381"/>
                <a:gd name="T3" fmla="*/ 181 h 383"/>
                <a:gd name="T4" fmla="*/ 323 w 381"/>
                <a:gd name="T5" fmla="*/ 100 h 383"/>
                <a:gd name="T6" fmla="*/ 283 w 381"/>
                <a:gd name="T7" fmla="*/ 60 h 383"/>
                <a:gd name="T8" fmla="*/ 201 w 381"/>
                <a:gd name="T9" fmla="*/ 60 h 383"/>
                <a:gd name="T10" fmla="*/ 201 w 381"/>
                <a:gd name="T11" fmla="*/ 40 h 383"/>
                <a:gd name="T12" fmla="*/ 161 w 381"/>
                <a:gd name="T13" fmla="*/ 0 h 383"/>
                <a:gd name="T14" fmla="*/ 121 w 381"/>
                <a:gd name="T15" fmla="*/ 40 h 383"/>
                <a:gd name="T16" fmla="*/ 121 w 381"/>
                <a:gd name="T17" fmla="*/ 60 h 383"/>
                <a:gd name="T18" fmla="*/ 40 w 381"/>
                <a:gd name="T19" fmla="*/ 60 h 383"/>
                <a:gd name="T20" fmla="*/ 0 w 381"/>
                <a:gd name="T21" fmla="*/ 100 h 383"/>
                <a:gd name="T22" fmla="*/ 0 w 381"/>
                <a:gd name="T23" fmla="*/ 343 h 383"/>
                <a:gd name="T24" fmla="*/ 40 w 381"/>
                <a:gd name="T25" fmla="*/ 383 h 383"/>
                <a:gd name="T26" fmla="*/ 283 w 381"/>
                <a:gd name="T27" fmla="*/ 383 h 383"/>
                <a:gd name="T28" fmla="*/ 323 w 381"/>
                <a:gd name="T29" fmla="*/ 343 h 383"/>
                <a:gd name="T30" fmla="*/ 323 w 381"/>
                <a:gd name="T31" fmla="*/ 261 h 383"/>
                <a:gd name="T32" fmla="*/ 341 w 381"/>
                <a:gd name="T33" fmla="*/ 261 h 383"/>
                <a:gd name="T34" fmla="*/ 381 w 381"/>
                <a:gd name="T35" fmla="*/ 221 h 383"/>
                <a:gd name="T36" fmla="*/ 341 w 381"/>
                <a:gd name="T37" fmla="*/ 181 h 383"/>
                <a:gd name="T38" fmla="*/ 243 w 381"/>
                <a:gd name="T39" fmla="*/ 303 h 383"/>
                <a:gd name="T40" fmla="*/ 80 w 381"/>
                <a:gd name="T41" fmla="*/ 303 h 383"/>
                <a:gd name="T42" fmla="*/ 80 w 381"/>
                <a:gd name="T43" fmla="*/ 140 h 383"/>
                <a:gd name="T44" fmla="*/ 243 w 381"/>
                <a:gd name="T45" fmla="*/ 140 h 383"/>
                <a:gd name="T46" fmla="*/ 243 w 381"/>
                <a:gd name="T47" fmla="*/ 30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1" h="383">
                  <a:moveTo>
                    <a:pt x="341" y="181"/>
                  </a:moveTo>
                  <a:cubicBezTo>
                    <a:pt x="323" y="181"/>
                    <a:pt x="323" y="181"/>
                    <a:pt x="323" y="181"/>
                  </a:cubicBezTo>
                  <a:cubicBezTo>
                    <a:pt x="323" y="100"/>
                    <a:pt x="323" y="100"/>
                    <a:pt x="323" y="100"/>
                  </a:cubicBezTo>
                  <a:cubicBezTo>
                    <a:pt x="323" y="78"/>
                    <a:pt x="305" y="60"/>
                    <a:pt x="283" y="60"/>
                  </a:cubicBezTo>
                  <a:cubicBezTo>
                    <a:pt x="201" y="60"/>
                    <a:pt x="201" y="60"/>
                    <a:pt x="201" y="60"/>
                  </a:cubicBezTo>
                  <a:cubicBezTo>
                    <a:pt x="201" y="40"/>
                    <a:pt x="201" y="40"/>
                    <a:pt x="201" y="40"/>
                  </a:cubicBezTo>
                  <a:cubicBezTo>
                    <a:pt x="201" y="18"/>
                    <a:pt x="183" y="0"/>
                    <a:pt x="161" y="0"/>
                  </a:cubicBezTo>
                  <a:cubicBezTo>
                    <a:pt x="139" y="0"/>
                    <a:pt x="121" y="18"/>
                    <a:pt x="121" y="40"/>
                  </a:cubicBezTo>
                  <a:cubicBezTo>
                    <a:pt x="121" y="60"/>
                    <a:pt x="121" y="60"/>
                    <a:pt x="121" y="60"/>
                  </a:cubicBezTo>
                  <a:cubicBezTo>
                    <a:pt x="40" y="60"/>
                    <a:pt x="40" y="60"/>
                    <a:pt x="40" y="60"/>
                  </a:cubicBezTo>
                  <a:cubicBezTo>
                    <a:pt x="18" y="60"/>
                    <a:pt x="0" y="78"/>
                    <a:pt x="0" y="100"/>
                  </a:cubicBezTo>
                  <a:cubicBezTo>
                    <a:pt x="0" y="343"/>
                    <a:pt x="0" y="343"/>
                    <a:pt x="0" y="343"/>
                  </a:cubicBezTo>
                  <a:cubicBezTo>
                    <a:pt x="0" y="365"/>
                    <a:pt x="18" y="383"/>
                    <a:pt x="40" y="383"/>
                  </a:cubicBezTo>
                  <a:cubicBezTo>
                    <a:pt x="283" y="383"/>
                    <a:pt x="283" y="383"/>
                    <a:pt x="283" y="383"/>
                  </a:cubicBezTo>
                  <a:cubicBezTo>
                    <a:pt x="305" y="383"/>
                    <a:pt x="323" y="365"/>
                    <a:pt x="323" y="343"/>
                  </a:cubicBezTo>
                  <a:cubicBezTo>
                    <a:pt x="323" y="261"/>
                    <a:pt x="323" y="261"/>
                    <a:pt x="323" y="261"/>
                  </a:cubicBezTo>
                  <a:cubicBezTo>
                    <a:pt x="341" y="261"/>
                    <a:pt x="341" y="261"/>
                    <a:pt x="341" y="261"/>
                  </a:cubicBezTo>
                  <a:cubicBezTo>
                    <a:pt x="363" y="261"/>
                    <a:pt x="381" y="244"/>
                    <a:pt x="381" y="221"/>
                  </a:cubicBezTo>
                  <a:cubicBezTo>
                    <a:pt x="381" y="199"/>
                    <a:pt x="363" y="181"/>
                    <a:pt x="341" y="181"/>
                  </a:cubicBezTo>
                  <a:close/>
                  <a:moveTo>
                    <a:pt x="243" y="303"/>
                  </a:moveTo>
                  <a:cubicBezTo>
                    <a:pt x="80" y="303"/>
                    <a:pt x="80" y="303"/>
                    <a:pt x="80" y="303"/>
                  </a:cubicBezTo>
                  <a:cubicBezTo>
                    <a:pt x="80" y="140"/>
                    <a:pt x="80" y="140"/>
                    <a:pt x="80" y="140"/>
                  </a:cubicBezTo>
                  <a:cubicBezTo>
                    <a:pt x="243" y="140"/>
                    <a:pt x="243" y="140"/>
                    <a:pt x="243" y="140"/>
                  </a:cubicBezTo>
                  <a:lnTo>
                    <a:pt x="243"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458"/>
            <p:cNvSpPr>
              <a:spLocks/>
            </p:cNvSpPr>
            <p:nvPr/>
          </p:nvSpPr>
          <p:spPr bwMode="auto">
            <a:xfrm>
              <a:off x="8141" y="2457"/>
              <a:ext cx="265" cy="152"/>
            </a:xfrm>
            <a:custGeom>
              <a:avLst/>
              <a:gdLst>
                <a:gd name="T0" fmla="*/ 40 w 140"/>
                <a:gd name="T1" fmla="*/ 80 h 80"/>
                <a:gd name="T2" fmla="*/ 100 w 140"/>
                <a:gd name="T3" fmla="*/ 80 h 80"/>
                <a:gd name="T4" fmla="*/ 140 w 140"/>
                <a:gd name="T5" fmla="*/ 40 h 80"/>
                <a:gd name="T6" fmla="*/ 100 w 140"/>
                <a:gd name="T7" fmla="*/ 0 h 80"/>
                <a:gd name="T8" fmla="*/ 40 w 140"/>
                <a:gd name="T9" fmla="*/ 0 h 80"/>
                <a:gd name="T10" fmla="*/ 0 w 140"/>
                <a:gd name="T11" fmla="*/ 40 h 80"/>
                <a:gd name="T12" fmla="*/ 40 w 140"/>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40" h="80">
                  <a:moveTo>
                    <a:pt x="40" y="80"/>
                  </a:moveTo>
                  <a:cubicBezTo>
                    <a:pt x="100" y="80"/>
                    <a:pt x="100" y="80"/>
                    <a:pt x="100" y="80"/>
                  </a:cubicBezTo>
                  <a:cubicBezTo>
                    <a:pt x="122" y="80"/>
                    <a:pt x="140" y="62"/>
                    <a:pt x="140" y="40"/>
                  </a:cubicBezTo>
                  <a:cubicBezTo>
                    <a:pt x="140" y="18"/>
                    <a:pt x="122" y="0"/>
                    <a:pt x="100" y="0"/>
                  </a:cubicBezTo>
                  <a:cubicBezTo>
                    <a:pt x="40" y="0"/>
                    <a:pt x="40" y="0"/>
                    <a:pt x="40" y="0"/>
                  </a:cubicBezTo>
                  <a:cubicBezTo>
                    <a:pt x="18" y="0"/>
                    <a:pt x="0" y="18"/>
                    <a:pt x="0" y="40"/>
                  </a:cubicBezTo>
                  <a:cubicBezTo>
                    <a:pt x="0" y="62"/>
                    <a:pt x="18"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459"/>
            <p:cNvSpPr>
              <a:spLocks/>
            </p:cNvSpPr>
            <p:nvPr/>
          </p:nvSpPr>
          <p:spPr bwMode="auto">
            <a:xfrm>
              <a:off x="8137" y="5109"/>
              <a:ext cx="265" cy="151"/>
            </a:xfrm>
            <a:custGeom>
              <a:avLst/>
              <a:gdLst>
                <a:gd name="T0" fmla="*/ 100 w 140"/>
                <a:gd name="T1" fmla="*/ 0 h 80"/>
                <a:gd name="T2" fmla="*/ 40 w 140"/>
                <a:gd name="T3" fmla="*/ 0 h 80"/>
                <a:gd name="T4" fmla="*/ 0 w 140"/>
                <a:gd name="T5" fmla="*/ 40 h 80"/>
                <a:gd name="T6" fmla="*/ 40 w 140"/>
                <a:gd name="T7" fmla="*/ 80 h 80"/>
                <a:gd name="T8" fmla="*/ 100 w 140"/>
                <a:gd name="T9" fmla="*/ 80 h 80"/>
                <a:gd name="T10" fmla="*/ 140 w 140"/>
                <a:gd name="T11" fmla="*/ 40 h 80"/>
                <a:gd name="T12" fmla="*/ 100 w 14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40" h="80">
                  <a:moveTo>
                    <a:pt x="100" y="0"/>
                  </a:moveTo>
                  <a:cubicBezTo>
                    <a:pt x="40" y="0"/>
                    <a:pt x="40" y="0"/>
                    <a:pt x="40" y="0"/>
                  </a:cubicBezTo>
                  <a:cubicBezTo>
                    <a:pt x="18" y="0"/>
                    <a:pt x="0" y="18"/>
                    <a:pt x="0" y="40"/>
                  </a:cubicBezTo>
                  <a:cubicBezTo>
                    <a:pt x="0" y="63"/>
                    <a:pt x="18" y="80"/>
                    <a:pt x="40" y="80"/>
                  </a:cubicBezTo>
                  <a:cubicBezTo>
                    <a:pt x="100" y="80"/>
                    <a:pt x="100" y="80"/>
                    <a:pt x="100" y="80"/>
                  </a:cubicBezTo>
                  <a:cubicBezTo>
                    <a:pt x="122" y="80"/>
                    <a:pt x="140" y="63"/>
                    <a:pt x="140" y="40"/>
                  </a:cubicBezTo>
                  <a:cubicBezTo>
                    <a:pt x="140" y="18"/>
                    <a:pt x="122" y="0"/>
                    <a:pt x="1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460"/>
            <p:cNvSpPr>
              <a:spLocks/>
            </p:cNvSpPr>
            <p:nvPr/>
          </p:nvSpPr>
          <p:spPr bwMode="auto">
            <a:xfrm>
              <a:off x="6661" y="3933"/>
              <a:ext cx="152" cy="265"/>
            </a:xfrm>
            <a:custGeom>
              <a:avLst/>
              <a:gdLst>
                <a:gd name="T0" fmla="*/ 40 w 80"/>
                <a:gd name="T1" fmla="*/ 0 h 140"/>
                <a:gd name="T2" fmla="*/ 0 w 80"/>
                <a:gd name="T3" fmla="*/ 40 h 140"/>
                <a:gd name="T4" fmla="*/ 0 w 80"/>
                <a:gd name="T5" fmla="*/ 100 h 140"/>
                <a:gd name="T6" fmla="*/ 40 w 80"/>
                <a:gd name="T7" fmla="*/ 140 h 140"/>
                <a:gd name="T8" fmla="*/ 80 w 80"/>
                <a:gd name="T9" fmla="*/ 100 h 140"/>
                <a:gd name="T10" fmla="*/ 80 w 80"/>
                <a:gd name="T11" fmla="*/ 40 h 140"/>
                <a:gd name="T12" fmla="*/ 40 w 80"/>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80" h="140">
                  <a:moveTo>
                    <a:pt x="40" y="0"/>
                  </a:moveTo>
                  <a:cubicBezTo>
                    <a:pt x="18" y="0"/>
                    <a:pt x="0" y="18"/>
                    <a:pt x="0" y="40"/>
                  </a:cubicBezTo>
                  <a:cubicBezTo>
                    <a:pt x="0" y="100"/>
                    <a:pt x="0" y="100"/>
                    <a:pt x="0" y="100"/>
                  </a:cubicBezTo>
                  <a:cubicBezTo>
                    <a:pt x="0" y="122"/>
                    <a:pt x="18" y="140"/>
                    <a:pt x="40" y="140"/>
                  </a:cubicBezTo>
                  <a:cubicBezTo>
                    <a:pt x="62" y="140"/>
                    <a:pt x="80" y="122"/>
                    <a:pt x="80" y="100"/>
                  </a:cubicBezTo>
                  <a:cubicBezTo>
                    <a:pt x="80" y="40"/>
                    <a:pt x="80" y="40"/>
                    <a:pt x="80" y="40"/>
                  </a:cubicBezTo>
                  <a:cubicBezTo>
                    <a:pt x="80" y="18"/>
                    <a:pt x="62"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461"/>
            <p:cNvSpPr>
              <a:spLocks/>
            </p:cNvSpPr>
            <p:nvPr/>
          </p:nvSpPr>
          <p:spPr bwMode="auto">
            <a:xfrm>
              <a:off x="7721" y="5109"/>
              <a:ext cx="265" cy="151"/>
            </a:xfrm>
            <a:custGeom>
              <a:avLst/>
              <a:gdLst>
                <a:gd name="T0" fmla="*/ 100 w 140"/>
                <a:gd name="T1" fmla="*/ 0 h 80"/>
                <a:gd name="T2" fmla="*/ 40 w 140"/>
                <a:gd name="T3" fmla="*/ 0 h 80"/>
                <a:gd name="T4" fmla="*/ 0 w 140"/>
                <a:gd name="T5" fmla="*/ 40 h 80"/>
                <a:gd name="T6" fmla="*/ 40 w 140"/>
                <a:gd name="T7" fmla="*/ 80 h 80"/>
                <a:gd name="T8" fmla="*/ 100 w 140"/>
                <a:gd name="T9" fmla="*/ 80 h 80"/>
                <a:gd name="T10" fmla="*/ 140 w 140"/>
                <a:gd name="T11" fmla="*/ 40 h 80"/>
                <a:gd name="T12" fmla="*/ 100 w 14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40" h="80">
                  <a:moveTo>
                    <a:pt x="100" y="0"/>
                  </a:moveTo>
                  <a:cubicBezTo>
                    <a:pt x="40" y="0"/>
                    <a:pt x="40" y="0"/>
                    <a:pt x="40" y="0"/>
                  </a:cubicBezTo>
                  <a:cubicBezTo>
                    <a:pt x="18" y="0"/>
                    <a:pt x="0" y="18"/>
                    <a:pt x="0" y="40"/>
                  </a:cubicBezTo>
                  <a:cubicBezTo>
                    <a:pt x="0" y="63"/>
                    <a:pt x="18" y="80"/>
                    <a:pt x="40" y="80"/>
                  </a:cubicBezTo>
                  <a:cubicBezTo>
                    <a:pt x="100" y="80"/>
                    <a:pt x="100" y="80"/>
                    <a:pt x="100" y="80"/>
                  </a:cubicBezTo>
                  <a:cubicBezTo>
                    <a:pt x="122" y="80"/>
                    <a:pt x="140" y="63"/>
                    <a:pt x="140" y="40"/>
                  </a:cubicBezTo>
                  <a:cubicBezTo>
                    <a:pt x="140" y="18"/>
                    <a:pt x="122" y="0"/>
                    <a:pt x="1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462"/>
            <p:cNvSpPr>
              <a:spLocks/>
            </p:cNvSpPr>
            <p:nvPr/>
          </p:nvSpPr>
          <p:spPr bwMode="auto">
            <a:xfrm>
              <a:off x="9313" y="3521"/>
              <a:ext cx="151" cy="265"/>
            </a:xfrm>
            <a:custGeom>
              <a:avLst/>
              <a:gdLst>
                <a:gd name="T0" fmla="*/ 0 w 80"/>
                <a:gd name="T1" fmla="*/ 100 h 140"/>
                <a:gd name="T2" fmla="*/ 40 w 80"/>
                <a:gd name="T3" fmla="*/ 140 h 140"/>
                <a:gd name="T4" fmla="*/ 80 w 80"/>
                <a:gd name="T5" fmla="*/ 100 h 140"/>
                <a:gd name="T6" fmla="*/ 80 w 80"/>
                <a:gd name="T7" fmla="*/ 40 h 140"/>
                <a:gd name="T8" fmla="*/ 40 w 80"/>
                <a:gd name="T9" fmla="*/ 0 h 140"/>
                <a:gd name="T10" fmla="*/ 0 w 80"/>
                <a:gd name="T11" fmla="*/ 40 h 140"/>
                <a:gd name="T12" fmla="*/ 0 w 80"/>
                <a:gd name="T13" fmla="*/ 100 h 140"/>
              </a:gdLst>
              <a:ahLst/>
              <a:cxnLst>
                <a:cxn ang="0">
                  <a:pos x="T0" y="T1"/>
                </a:cxn>
                <a:cxn ang="0">
                  <a:pos x="T2" y="T3"/>
                </a:cxn>
                <a:cxn ang="0">
                  <a:pos x="T4" y="T5"/>
                </a:cxn>
                <a:cxn ang="0">
                  <a:pos x="T6" y="T7"/>
                </a:cxn>
                <a:cxn ang="0">
                  <a:pos x="T8" y="T9"/>
                </a:cxn>
                <a:cxn ang="0">
                  <a:pos x="T10" y="T11"/>
                </a:cxn>
                <a:cxn ang="0">
                  <a:pos x="T12" y="T13"/>
                </a:cxn>
              </a:cxnLst>
              <a:rect l="0" t="0" r="r" b="b"/>
              <a:pathLst>
                <a:path w="80" h="140">
                  <a:moveTo>
                    <a:pt x="0" y="100"/>
                  </a:moveTo>
                  <a:cubicBezTo>
                    <a:pt x="0" y="122"/>
                    <a:pt x="18" y="140"/>
                    <a:pt x="40" y="140"/>
                  </a:cubicBezTo>
                  <a:cubicBezTo>
                    <a:pt x="63" y="140"/>
                    <a:pt x="80" y="122"/>
                    <a:pt x="80" y="100"/>
                  </a:cubicBezTo>
                  <a:cubicBezTo>
                    <a:pt x="80" y="40"/>
                    <a:pt x="80" y="40"/>
                    <a:pt x="80" y="40"/>
                  </a:cubicBezTo>
                  <a:cubicBezTo>
                    <a:pt x="80" y="18"/>
                    <a:pt x="63" y="0"/>
                    <a:pt x="40" y="0"/>
                  </a:cubicBezTo>
                  <a:cubicBezTo>
                    <a:pt x="18" y="0"/>
                    <a:pt x="0" y="18"/>
                    <a:pt x="0" y="40"/>
                  </a:cubicBezTo>
                  <a:lnTo>
                    <a:pt x="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463"/>
            <p:cNvSpPr>
              <a:spLocks/>
            </p:cNvSpPr>
            <p:nvPr/>
          </p:nvSpPr>
          <p:spPr bwMode="auto">
            <a:xfrm>
              <a:off x="9313" y="3937"/>
              <a:ext cx="151" cy="265"/>
            </a:xfrm>
            <a:custGeom>
              <a:avLst/>
              <a:gdLst>
                <a:gd name="T0" fmla="*/ 0 w 80"/>
                <a:gd name="T1" fmla="*/ 100 h 140"/>
                <a:gd name="T2" fmla="*/ 40 w 80"/>
                <a:gd name="T3" fmla="*/ 140 h 140"/>
                <a:gd name="T4" fmla="*/ 80 w 80"/>
                <a:gd name="T5" fmla="*/ 100 h 140"/>
                <a:gd name="T6" fmla="*/ 80 w 80"/>
                <a:gd name="T7" fmla="*/ 40 h 140"/>
                <a:gd name="T8" fmla="*/ 40 w 80"/>
                <a:gd name="T9" fmla="*/ 0 h 140"/>
                <a:gd name="T10" fmla="*/ 0 w 80"/>
                <a:gd name="T11" fmla="*/ 40 h 140"/>
                <a:gd name="T12" fmla="*/ 0 w 80"/>
                <a:gd name="T13" fmla="*/ 100 h 140"/>
              </a:gdLst>
              <a:ahLst/>
              <a:cxnLst>
                <a:cxn ang="0">
                  <a:pos x="T0" y="T1"/>
                </a:cxn>
                <a:cxn ang="0">
                  <a:pos x="T2" y="T3"/>
                </a:cxn>
                <a:cxn ang="0">
                  <a:pos x="T4" y="T5"/>
                </a:cxn>
                <a:cxn ang="0">
                  <a:pos x="T6" y="T7"/>
                </a:cxn>
                <a:cxn ang="0">
                  <a:pos x="T8" y="T9"/>
                </a:cxn>
                <a:cxn ang="0">
                  <a:pos x="T10" y="T11"/>
                </a:cxn>
                <a:cxn ang="0">
                  <a:pos x="T12" y="T13"/>
                </a:cxn>
              </a:cxnLst>
              <a:rect l="0" t="0" r="r" b="b"/>
              <a:pathLst>
                <a:path w="80" h="140">
                  <a:moveTo>
                    <a:pt x="0" y="100"/>
                  </a:moveTo>
                  <a:cubicBezTo>
                    <a:pt x="0" y="122"/>
                    <a:pt x="18" y="140"/>
                    <a:pt x="40" y="140"/>
                  </a:cubicBezTo>
                  <a:cubicBezTo>
                    <a:pt x="63" y="140"/>
                    <a:pt x="80" y="122"/>
                    <a:pt x="80" y="100"/>
                  </a:cubicBezTo>
                  <a:cubicBezTo>
                    <a:pt x="80" y="40"/>
                    <a:pt x="80" y="40"/>
                    <a:pt x="80" y="40"/>
                  </a:cubicBezTo>
                  <a:cubicBezTo>
                    <a:pt x="80" y="18"/>
                    <a:pt x="63" y="0"/>
                    <a:pt x="40" y="0"/>
                  </a:cubicBezTo>
                  <a:cubicBezTo>
                    <a:pt x="18" y="0"/>
                    <a:pt x="0" y="18"/>
                    <a:pt x="0" y="40"/>
                  </a:cubicBezTo>
                  <a:lnTo>
                    <a:pt x="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464"/>
            <p:cNvSpPr>
              <a:spLocks/>
            </p:cNvSpPr>
            <p:nvPr/>
          </p:nvSpPr>
          <p:spPr bwMode="auto">
            <a:xfrm>
              <a:off x="9313" y="3104"/>
              <a:ext cx="151" cy="265"/>
            </a:xfrm>
            <a:custGeom>
              <a:avLst/>
              <a:gdLst>
                <a:gd name="T0" fmla="*/ 40 w 80"/>
                <a:gd name="T1" fmla="*/ 140 h 140"/>
                <a:gd name="T2" fmla="*/ 80 w 80"/>
                <a:gd name="T3" fmla="*/ 100 h 140"/>
                <a:gd name="T4" fmla="*/ 80 w 80"/>
                <a:gd name="T5" fmla="*/ 40 h 140"/>
                <a:gd name="T6" fmla="*/ 40 w 80"/>
                <a:gd name="T7" fmla="*/ 0 h 140"/>
                <a:gd name="T8" fmla="*/ 0 w 80"/>
                <a:gd name="T9" fmla="*/ 40 h 140"/>
                <a:gd name="T10" fmla="*/ 0 w 80"/>
                <a:gd name="T11" fmla="*/ 100 h 140"/>
                <a:gd name="T12" fmla="*/ 40 w 80"/>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80" h="140">
                  <a:moveTo>
                    <a:pt x="40" y="140"/>
                  </a:moveTo>
                  <a:cubicBezTo>
                    <a:pt x="63" y="140"/>
                    <a:pt x="80" y="122"/>
                    <a:pt x="80" y="100"/>
                  </a:cubicBezTo>
                  <a:cubicBezTo>
                    <a:pt x="80" y="40"/>
                    <a:pt x="80" y="40"/>
                    <a:pt x="80" y="40"/>
                  </a:cubicBezTo>
                  <a:cubicBezTo>
                    <a:pt x="80" y="18"/>
                    <a:pt x="63" y="0"/>
                    <a:pt x="40" y="0"/>
                  </a:cubicBezTo>
                  <a:cubicBezTo>
                    <a:pt x="18" y="0"/>
                    <a:pt x="0" y="18"/>
                    <a:pt x="0" y="40"/>
                  </a:cubicBezTo>
                  <a:cubicBezTo>
                    <a:pt x="0" y="100"/>
                    <a:pt x="0" y="100"/>
                    <a:pt x="0" y="100"/>
                  </a:cubicBezTo>
                  <a:cubicBezTo>
                    <a:pt x="0" y="122"/>
                    <a:pt x="18" y="140"/>
                    <a:pt x="40"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465"/>
            <p:cNvSpPr>
              <a:spLocks/>
            </p:cNvSpPr>
            <p:nvPr/>
          </p:nvSpPr>
          <p:spPr bwMode="auto">
            <a:xfrm>
              <a:off x="6661" y="3517"/>
              <a:ext cx="152" cy="265"/>
            </a:xfrm>
            <a:custGeom>
              <a:avLst/>
              <a:gdLst>
                <a:gd name="T0" fmla="*/ 40 w 80"/>
                <a:gd name="T1" fmla="*/ 0 h 140"/>
                <a:gd name="T2" fmla="*/ 0 w 80"/>
                <a:gd name="T3" fmla="*/ 40 h 140"/>
                <a:gd name="T4" fmla="*/ 0 w 80"/>
                <a:gd name="T5" fmla="*/ 100 h 140"/>
                <a:gd name="T6" fmla="*/ 40 w 80"/>
                <a:gd name="T7" fmla="*/ 140 h 140"/>
                <a:gd name="T8" fmla="*/ 80 w 80"/>
                <a:gd name="T9" fmla="*/ 100 h 140"/>
                <a:gd name="T10" fmla="*/ 80 w 80"/>
                <a:gd name="T11" fmla="*/ 40 h 140"/>
                <a:gd name="T12" fmla="*/ 40 w 80"/>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80" h="140">
                  <a:moveTo>
                    <a:pt x="40" y="0"/>
                  </a:moveTo>
                  <a:cubicBezTo>
                    <a:pt x="18" y="0"/>
                    <a:pt x="0" y="18"/>
                    <a:pt x="0" y="40"/>
                  </a:cubicBezTo>
                  <a:cubicBezTo>
                    <a:pt x="0" y="100"/>
                    <a:pt x="0" y="100"/>
                    <a:pt x="0" y="100"/>
                  </a:cubicBezTo>
                  <a:cubicBezTo>
                    <a:pt x="0" y="122"/>
                    <a:pt x="18" y="140"/>
                    <a:pt x="40" y="140"/>
                  </a:cubicBezTo>
                  <a:cubicBezTo>
                    <a:pt x="62" y="140"/>
                    <a:pt x="80" y="122"/>
                    <a:pt x="80" y="100"/>
                  </a:cubicBezTo>
                  <a:cubicBezTo>
                    <a:pt x="80" y="40"/>
                    <a:pt x="80" y="40"/>
                    <a:pt x="80" y="40"/>
                  </a:cubicBezTo>
                  <a:cubicBezTo>
                    <a:pt x="80" y="18"/>
                    <a:pt x="62"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466"/>
            <p:cNvSpPr>
              <a:spLocks/>
            </p:cNvSpPr>
            <p:nvPr/>
          </p:nvSpPr>
          <p:spPr bwMode="auto">
            <a:xfrm>
              <a:off x="9313" y="4354"/>
              <a:ext cx="151" cy="265"/>
            </a:xfrm>
            <a:custGeom>
              <a:avLst/>
              <a:gdLst>
                <a:gd name="T0" fmla="*/ 0 w 80"/>
                <a:gd name="T1" fmla="*/ 100 h 140"/>
                <a:gd name="T2" fmla="*/ 40 w 80"/>
                <a:gd name="T3" fmla="*/ 140 h 140"/>
                <a:gd name="T4" fmla="*/ 80 w 80"/>
                <a:gd name="T5" fmla="*/ 100 h 140"/>
                <a:gd name="T6" fmla="*/ 80 w 80"/>
                <a:gd name="T7" fmla="*/ 40 h 140"/>
                <a:gd name="T8" fmla="*/ 40 w 80"/>
                <a:gd name="T9" fmla="*/ 0 h 140"/>
                <a:gd name="T10" fmla="*/ 0 w 80"/>
                <a:gd name="T11" fmla="*/ 40 h 140"/>
                <a:gd name="T12" fmla="*/ 0 w 80"/>
                <a:gd name="T13" fmla="*/ 100 h 140"/>
              </a:gdLst>
              <a:ahLst/>
              <a:cxnLst>
                <a:cxn ang="0">
                  <a:pos x="T0" y="T1"/>
                </a:cxn>
                <a:cxn ang="0">
                  <a:pos x="T2" y="T3"/>
                </a:cxn>
                <a:cxn ang="0">
                  <a:pos x="T4" y="T5"/>
                </a:cxn>
                <a:cxn ang="0">
                  <a:pos x="T6" y="T7"/>
                </a:cxn>
                <a:cxn ang="0">
                  <a:pos x="T8" y="T9"/>
                </a:cxn>
                <a:cxn ang="0">
                  <a:pos x="T10" y="T11"/>
                </a:cxn>
                <a:cxn ang="0">
                  <a:pos x="T12" y="T13"/>
                </a:cxn>
              </a:cxnLst>
              <a:rect l="0" t="0" r="r" b="b"/>
              <a:pathLst>
                <a:path w="80" h="140">
                  <a:moveTo>
                    <a:pt x="0" y="100"/>
                  </a:moveTo>
                  <a:cubicBezTo>
                    <a:pt x="0" y="122"/>
                    <a:pt x="18" y="140"/>
                    <a:pt x="40" y="140"/>
                  </a:cubicBezTo>
                  <a:cubicBezTo>
                    <a:pt x="63" y="140"/>
                    <a:pt x="80" y="122"/>
                    <a:pt x="80" y="100"/>
                  </a:cubicBezTo>
                  <a:cubicBezTo>
                    <a:pt x="80" y="40"/>
                    <a:pt x="80" y="40"/>
                    <a:pt x="80" y="40"/>
                  </a:cubicBezTo>
                  <a:cubicBezTo>
                    <a:pt x="80" y="18"/>
                    <a:pt x="63" y="0"/>
                    <a:pt x="40" y="0"/>
                  </a:cubicBezTo>
                  <a:cubicBezTo>
                    <a:pt x="18" y="0"/>
                    <a:pt x="0" y="18"/>
                    <a:pt x="0" y="40"/>
                  </a:cubicBezTo>
                  <a:lnTo>
                    <a:pt x="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467"/>
            <p:cNvSpPr>
              <a:spLocks/>
            </p:cNvSpPr>
            <p:nvPr/>
          </p:nvSpPr>
          <p:spPr bwMode="auto">
            <a:xfrm>
              <a:off x="6661" y="3101"/>
              <a:ext cx="152" cy="265"/>
            </a:xfrm>
            <a:custGeom>
              <a:avLst/>
              <a:gdLst>
                <a:gd name="T0" fmla="*/ 40 w 80"/>
                <a:gd name="T1" fmla="*/ 0 h 140"/>
                <a:gd name="T2" fmla="*/ 0 w 80"/>
                <a:gd name="T3" fmla="*/ 40 h 140"/>
                <a:gd name="T4" fmla="*/ 0 w 80"/>
                <a:gd name="T5" fmla="*/ 100 h 140"/>
                <a:gd name="T6" fmla="*/ 40 w 80"/>
                <a:gd name="T7" fmla="*/ 140 h 140"/>
                <a:gd name="T8" fmla="*/ 80 w 80"/>
                <a:gd name="T9" fmla="*/ 100 h 140"/>
                <a:gd name="T10" fmla="*/ 80 w 80"/>
                <a:gd name="T11" fmla="*/ 40 h 140"/>
                <a:gd name="T12" fmla="*/ 40 w 80"/>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80" h="140">
                  <a:moveTo>
                    <a:pt x="40" y="0"/>
                  </a:moveTo>
                  <a:cubicBezTo>
                    <a:pt x="18" y="0"/>
                    <a:pt x="0" y="18"/>
                    <a:pt x="0" y="40"/>
                  </a:cubicBezTo>
                  <a:cubicBezTo>
                    <a:pt x="0" y="100"/>
                    <a:pt x="0" y="100"/>
                    <a:pt x="0" y="100"/>
                  </a:cubicBezTo>
                  <a:cubicBezTo>
                    <a:pt x="0" y="122"/>
                    <a:pt x="18" y="140"/>
                    <a:pt x="40" y="140"/>
                  </a:cubicBezTo>
                  <a:cubicBezTo>
                    <a:pt x="62" y="140"/>
                    <a:pt x="80" y="122"/>
                    <a:pt x="80" y="100"/>
                  </a:cubicBezTo>
                  <a:cubicBezTo>
                    <a:pt x="80" y="40"/>
                    <a:pt x="80" y="40"/>
                    <a:pt x="80" y="40"/>
                  </a:cubicBezTo>
                  <a:cubicBezTo>
                    <a:pt x="80" y="18"/>
                    <a:pt x="62"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468"/>
            <p:cNvSpPr>
              <a:spLocks noEditPoints="1"/>
            </p:cNvSpPr>
            <p:nvPr/>
          </p:nvSpPr>
          <p:spPr bwMode="auto">
            <a:xfrm>
              <a:off x="6432" y="2228"/>
              <a:ext cx="725" cy="721"/>
            </a:xfrm>
            <a:custGeom>
              <a:avLst/>
              <a:gdLst>
                <a:gd name="T0" fmla="*/ 343 w 383"/>
                <a:gd name="T1" fmla="*/ 121 h 381"/>
                <a:gd name="T2" fmla="*/ 323 w 383"/>
                <a:gd name="T3" fmla="*/ 121 h 381"/>
                <a:gd name="T4" fmla="*/ 323 w 383"/>
                <a:gd name="T5" fmla="*/ 40 h 381"/>
                <a:gd name="T6" fmla="*/ 283 w 383"/>
                <a:gd name="T7" fmla="*/ 0 h 381"/>
                <a:gd name="T8" fmla="*/ 40 w 383"/>
                <a:gd name="T9" fmla="*/ 0 h 381"/>
                <a:gd name="T10" fmla="*/ 0 w 383"/>
                <a:gd name="T11" fmla="*/ 40 h 381"/>
                <a:gd name="T12" fmla="*/ 0 w 383"/>
                <a:gd name="T13" fmla="*/ 283 h 381"/>
                <a:gd name="T14" fmla="*/ 40 w 383"/>
                <a:gd name="T15" fmla="*/ 323 h 381"/>
                <a:gd name="T16" fmla="*/ 121 w 383"/>
                <a:gd name="T17" fmla="*/ 323 h 381"/>
                <a:gd name="T18" fmla="*/ 121 w 383"/>
                <a:gd name="T19" fmla="*/ 341 h 381"/>
                <a:gd name="T20" fmla="*/ 161 w 383"/>
                <a:gd name="T21" fmla="*/ 381 h 381"/>
                <a:gd name="T22" fmla="*/ 201 w 383"/>
                <a:gd name="T23" fmla="*/ 341 h 381"/>
                <a:gd name="T24" fmla="*/ 201 w 383"/>
                <a:gd name="T25" fmla="*/ 323 h 381"/>
                <a:gd name="T26" fmla="*/ 283 w 383"/>
                <a:gd name="T27" fmla="*/ 323 h 381"/>
                <a:gd name="T28" fmla="*/ 323 w 383"/>
                <a:gd name="T29" fmla="*/ 283 h 381"/>
                <a:gd name="T30" fmla="*/ 323 w 383"/>
                <a:gd name="T31" fmla="*/ 201 h 381"/>
                <a:gd name="T32" fmla="*/ 343 w 383"/>
                <a:gd name="T33" fmla="*/ 201 h 381"/>
                <a:gd name="T34" fmla="*/ 383 w 383"/>
                <a:gd name="T35" fmla="*/ 161 h 381"/>
                <a:gd name="T36" fmla="*/ 343 w 383"/>
                <a:gd name="T37" fmla="*/ 121 h 381"/>
                <a:gd name="T38" fmla="*/ 243 w 383"/>
                <a:gd name="T39" fmla="*/ 243 h 381"/>
                <a:gd name="T40" fmla="*/ 80 w 383"/>
                <a:gd name="T41" fmla="*/ 243 h 381"/>
                <a:gd name="T42" fmla="*/ 80 w 383"/>
                <a:gd name="T43" fmla="*/ 80 h 381"/>
                <a:gd name="T44" fmla="*/ 243 w 383"/>
                <a:gd name="T45" fmla="*/ 80 h 381"/>
                <a:gd name="T46" fmla="*/ 243 w 383"/>
                <a:gd name="T47" fmla="*/ 243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 h="381">
                  <a:moveTo>
                    <a:pt x="343" y="121"/>
                  </a:moveTo>
                  <a:cubicBezTo>
                    <a:pt x="323" y="121"/>
                    <a:pt x="323" y="121"/>
                    <a:pt x="323" y="121"/>
                  </a:cubicBezTo>
                  <a:cubicBezTo>
                    <a:pt x="323" y="40"/>
                    <a:pt x="323" y="40"/>
                    <a:pt x="323" y="40"/>
                  </a:cubicBezTo>
                  <a:cubicBezTo>
                    <a:pt x="323" y="18"/>
                    <a:pt x="305" y="0"/>
                    <a:pt x="283" y="0"/>
                  </a:cubicBezTo>
                  <a:cubicBezTo>
                    <a:pt x="40" y="0"/>
                    <a:pt x="40" y="0"/>
                    <a:pt x="40" y="0"/>
                  </a:cubicBezTo>
                  <a:cubicBezTo>
                    <a:pt x="18" y="0"/>
                    <a:pt x="0" y="18"/>
                    <a:pt x="0" y="40"/>
                  </a:cubicBezTo>
                  <a:cubicBezTo>
                    <a:pt x="0" y="283"/>
                    <a:pt x="0" y="283"/>
                    <a:pt x="0" y="283"/>
                  </a:cubicBezTo>
                  <a:cubicBezTo>
                    <a:pt x="0" y="305"/>
                    <a:pt x="18" y="323"/>
                    <a:pt x="40" y="323"/>
                  </a:cubicBezTo>
                  <a:cubicBezTo>
                    <a:pt x="121" y="323"/>
                    <a:pt x="121" y="323"/>
                    <a:pt x="121" y="323"/>
                  </a:cubicBezTo>
                  <a:cubicBezTo>
                    <a:pt x="121" y="341"/>
                    <a:pt x="121" y="341"/>
                    <a:pt x="121" y="341"/>
                  </a:cubicBezTo>
                  <a:cubicBezTo>
                    <a:pt x="121" y="363"/>
                    <a:pt x="139" y="381"/>
                    <a:pt x="161" y="381"/>
                  </a:cubicBezTo>
                  <a:cubicBezTo>
                    <a:pt x="183" y="381"/>
                    <a:pt x="201" y="363"/>
                    <a:pt x="201" y="341"/>
                  </a:cubicBezTo>
                  <a:cubicBezTo>
                    <a:pt x="201" y="323"/>
                    <a:pt x="201" y="323"/>
                    <a:pt x="201" y="323"/>
                  </a:cubicBezTo>
                  <a:cubicBezTo>
                    <a:pt x="283" y="323"/>
                    <a:pt x="283" y="323"/>
                    <a:pt x="283" y="323"/>
                  </a:cubicBezTo>
                  <a:cubicBezTo>
                    <a:pt x="305" y="323"/>
                    <a:pt x="323" y="305"/>
                    <a:pt x="323" y="283"/>
                  </a:cubicBezTo>
                  <a:cubicBezTo>
                    <a:pt x="323" y="201"/>
                    <a:pt x="323" y="201"/>
                    <a:pt x="323" y="201"/>
                  </a:cubicBezTo>
                  <a:cubicBezTo>
                    <a:pt x="343" y="201"/>
                    <a:pt x="343" y="201"/>
                    <a:pt x="343" y="201"/>
                  </a:cubicBezTo>
                  <a:cubicBezTo>
                    <a:pt x="365" y="201"/>
                    <a:pt x="383" y="183"/>
                    <a:pt x="383" y="161"/>
                  </a:cubicBezTo>
                  <a:cubicBezTo>
                    <a:pt x="383" y="139"/>
                    <a:pt x="365" y="121"/>
                    <a:pt x="343" y="121"/>
                  </a:cubicBezTo>
                  <a:close/>
                  <a:moveTo>
                    <a:pt x="243" y="243"/>
                  </a:moveTo>
                  <a:cubicBezTo>
                    <a:pt x="80" y="243"/>
                    <a:pt x="80" y="243"/>
                    <a:pt x="80" y="243"/>
                  </a:cubicBezTo>
                  <a:cubicBezTo>
                    <a:pt x="80" y="80"/>
                    <a:pt x="80" y="80"/>
                    <a:pt x="80" y="80"/>
                  </a:cubicBezTo>
                  <a:cubicBezTo>
                    <a:pt x="243" y="80"/>
                    <a:pt x="243" y="80"/>
                    <a:pt x="243" y="80"/>
                  </a:cubicBezTo>
                  <a:lnTo>
                    <a:pt x="243"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469"/>
            <p:cNvSpPr>
              <a:spLocks noEditPoints="1"/>
            </p:cNvSpPr>
            <p:nvPr/>
          </p:nvSpPr>
          <p:spPr bwMode="auto">
            <a:xfrm>
              <a:off x="8970" y="4770"/>
              <a:ext cx="725" cy="721"/>
            </a:xfrm>
            <a:custGeom>
              <a:avLst/>
              <a:gdLst>
                <a:gd name="T0" fmla="*/ 343 w 383"/>
                <a:gd name="T1" fmla="*/ 58 h 381"/>
                <a:gd name="T2" fmla="*/ 261 w 383"/>
                <a:gd name="T3" fmla="*/ 58 h 381"/>
                <a:gd name="T4" fmla="*/ 261 w 383"/>
                <a:gd name="T5" fmla="*/ 40 h 381"/>
                <a:gd name="T6" fmla="*/ 221 w 383"/>
                <a:gd name="T7" fmla="*/ 0 h 381"/>
                <a:gd name="T8" fmla="*/ 181 w 383"/>
                <a:gd name="T9" fmla="*/ 40 h 381"/>
                <a:gd name="T10" fmla="*/ 181 w 383"/>
                <a:gd name="T11" fmla="*/ 58 h 381"/>
                <a:gd name="T12" fmla="*/ 100 w 383"/>
                <a:gd name="T13" fmla="*/ 58 h 381"/>
                <a:gd name="T14" fmla="*/ 60 w 383"/>
                <a:gd name="T15" fmla="*/ 98 h 381"/>
                <a:gd name="T16" fmla="*/ 60 w 383"/>
                <a:gd name="T17" fmla="*/ 179 h 381"/>
                <a:gd name="T18" fmla="*/ 40 w 383"/>
                <a:gd name="T19" fmla="*/ 179 h 381"/>
                <a:gd name="T20" fmla="*/ 0 w 383"/>
                <a:gd name="T21" fmla="*/ 219 h 381"/>
                <a:gd name="T22" fmla="*/ 40 w 383"/>
                <a:gd name="T23" fmla="*/ 259 h 381"/>
                <a:gd name="T24" fmla="*/ 60 w 383"/>
                <a:gd name="T25" fmla="*/ 259 h 381"/>
                <a:gd name="T26" fmla="*/ 60 w 383"/>
                <a:gd name="T27" fmla="*/ 341 h 381"/>
                <a:gd name="T28" fmla="*/ 100 w 383"/>
                <a:gd name="T29" fmla="*/ 381 h 381"/>
                <a:gd name="T30" fmla="*/ 343 w 383"/>
                <a:gd name="T31" fmla="*/ 381 h 381"/>
                <a:gd name="T32" fmla="*/ 383 w 383"/>
                <a:gd name="T33" fmla="*/ 341 h 381"/>
                <a:gd name="T34" fmla="*/ 383 w 383"/>
                <a:gd name="T35" fmla="*/ 98 h 381"/>
                <a:gd name="T36" fmla="*/ 343 w 383"/>
                <a:gd name="T37" fmla="*/ 58 h 381"/>
                <a:gd name="T38" fmla="*/ 303 w 383"/>
                <a:gd name="T39" fmla="*/ 301 h 381"/>
                <a:gd name="T40" fmla="*/ 140 w 383"/>
                <a:gd name="T41" fmla="*/ 301 h 381"/>
                <a:gd name="T42" fmla="*/ 140 w 383"/>
                <a:gd name="T43" fmla="*/ 138 h 381"/>
                <a:gd name="T44" fmla="*/ 303 w 383"/>
                <a:gd name="T45" fmla="*/ 138 h 381"/>
                <a:gd name="T46" fmla="*/ 303 w 383"/>
                <a:gd name="T47" fmla="*/ 30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 h="381">
                  <a:moveTo>
                    <a:pt x="343" y="58"/>
                  </a:moveTo>
                  <a:cubicBezTo>
                    <a:pt x="261" y="58"/>
                    <a:pt x="261" y="58"/>
                    <a:pt x="261" y="58"/>
                  </a:cubicBezTo>
                  <a:cubicBezTo>
                    <a:pt x="261" y="40"/>
                    <a:pt x="261" y="40"/>
                    <a:pt x="261" y="40"/>
                  </a:cubicBezTo>
                  <a:cubicBezTo>
                    <a:pt x="261" y="18"/>
                    <a:pt x="244" y="0"/>
                    <a:pt x="221" y="0"/>
                  </a:cubicBezTo>
                  <a:cubicBezTo>
                    <a:pt x="199" y="0"/>
                    <a:pt x="181" y="18"/>
                    <a:pt x="181" y="40"/>
                  </a:cubicBezTo>
                  <a:cubicBezTo>
                    <a:pt x="181" y="58"/>
                    <a:pt x="181" y="58"/>
                    <a:pt x="181" y="58"/>
                  </a:cubicBezTo>
                  <a:cubicBezTo>
                    <a:pt x="100" y="58"/>
                    <a:pt x="100" y="58"/>
                    <a:pt x="100" y="58"/>
                  </a:cubicBezTo>
                  <a:cubicBezTo>
                    <a:pt x="78" y="58"/>
                    <a:pt x="60" y="76"/>
                    <a:pt x="60" y="98"/>
                  </a:cubicBezTo>
                  <a:cubicBezTo>
                    <a:pt x="60" y="179"/>
                    <a:pt x="60" y="179"/>
                    <a:pt x="60" y="179"/>
                  </a:cubicBezTo>
                  <a:cubicBezTo>
                    <a:pt x="40" y="179"/>
                    <a:pt x="40" y="179"/>
                    <a:pt x="40" y="179"/>
                  </a:cubicBezTo>
                  <a:cubicBezTo>
                    <a:pt x="18" y="179"/>
                    <a:pt x="0" y="197"/>
                    <a:pt x="0" y="219"/>
                  </a:cubicBezTo>
                  <a:cubicBezTo>
                    <a:pt x="0" y="242"/>
                    <a:pt x="18" y="259"/>
                    <a:pt x="40" y="259"/>
                  </a:cubicBezTo>
                  <a:cubicBezTo>
                    <a:pt x="60" y="259"/>
                    <a:pt x="60" y="259"/>
                    <a:pt x="60" y="259"/>
                  </a:cubicBezTo>
                  <a:cubicBezTo>
                    <a:pt x="60" y="341"/>
                    <a:pt x="60" y="341"/>
                    <a:pt x="60" y="341"/>
                  </a:cubicBezTo>
                  <a:cubicBezTo>
                    <a:pt x="60" y="363"/>
                    <a:pt x="78" y="381"/>
                    <a:pt x="100" y="381"/>
                  </a:cubicBezTo>
                  <a:cubicBezTo>
                    <a:pt x="343" y="381"/>
                    <a:pt x="343" y="381"/>
                    <a:pt x="343" y="381"/>
                  </a:cubicBezTo>
                  <a:cubicBezTo>
                    <a:pt x="365" y="381"/>
                    <a:pt x="383" y="363"/>
                    <a:pt x="383" y="341"/>
                  </a:cubicBezTo>
                  <a:cubicBezTo>
                    <a:pt x="383" y="98"/>
                    <a:pt x="383" y="98"/>
                    <a:pt x="383" y="98"/>
                  </a:cubicBezTo>
                  <a:cubicBezTo>
                    <a:pt x="383" y="76"/>
                    <a:pt x="365" y="58"/>
                    <a:pt x="343" y="58"/>
                  </a:cubicBezTo>
                  <a:close/>
                  <a:moveTo>
                    <a:pt x="303" y="301"/>
                  </a:moveTo>
                  <a:cubicBezTo>
                    <a:pt x="140" y="301"/>
                    <a:pt x="140" y="301"/>
                    <a:pt x="140" y="301"/>
                  </a:cubicBezTo>
                  <a:cubicBezTo>
                    <a:pt x="140" y="138"/>
                    <a:pt x="140" y="138"/>
                    <a:pt x="140" y="138"/>
                  </a:cubicBezTo>
                  <a:cubicBezTo>
                    <a:pt x="303" y="138"/>
                    <a:pt x="303" y="138"/>
                    <a:pt x="303" y="138"/>
                  </a:cubicBezTo>
                  <a:lnTo>
                    <a:pt x="303"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470"/>
            <p:cNvSpPr>
              <a:spLocks noEditPoints="1"/>
            </p:cNvSpPr>
            <p:nvPr/>
          </p:nvSpPr>
          <p:spPr bwMode="auto">
            <a:xfrm>
              <a:off x="8974" y="2228"/>
              <a:ext cx="721" cy="725"/>
            </a:xfrm>
            <a:custGeom>
              <a:avLst/>
              <a:gdLst>
                <a:gd name="T0" fmla="*/ 341 w 381"/>
                <a:gd name="T1" fmla="*/ 0 h 383"/>
                <a:gd name="T2" fmla="*/ 98 w 381"/>
                <a:gd name="T3" fmla="*/ 0 h 383"/>
                <a:gd name="T4" fmla="*/ 58 w 381"/>
                <a:gd name="T5" fmla="*/ 40 h 383"/>
                <a:gd name="T6" fmla="*/ 58 w 381"/>
                <a:gd name="T7" fmla="*/ 121 h 383"/>
                <a:gd name="T8" fmla="*/ 40 w 381"/>
                <a:gd name="T9" fmla="*/ 121 h 383"/>
                <a:gd name="T10" fmla="*/ 0 w 381"/>
                <a:gd name="T11" fmla="*/ 161 h 383"/>
                <a:gd name="T12" fmla="*/ 40 w 381"/>
                <a:gd name="T13" fmla="*/ 201 h 383"/>
                <a:gd name="T14" fmla="*/ 58 w 381"/>
                <a:gd name="T15" fmla="*/ 201 h 383"/>
                <a:gd name="T16" fmla="*/ 58 w 381"/>
                <a:gd name="T17" fmla="*/ 283 h 383"/>
                <a:gd name="T18" fmla="*/ 98 w 381"/>
                <a:gd name="T19" fmla="*/ 323 h 383"/>
                <a:gd name="T20" fmla="*/ 179 w 381"/>
                <a:gd name="T21" fmla="*/ 323 h 383"/>
                <a:gd name="T22" fmla="*/ 179 w 381"/>
                <a:gd name="T23" fmla="*/ 343 h 383"/>
                <a:gd name="T24" fmla="*/ 219 w 381"/>
                <a:gd name="T25" fmla="*/ 383 h 383"/>
                <a:gd name="T26" fmla="*/ 259 w 381"/>
                <a:gd name="T27" fmla="*/ 343 h 383"/>
                <a:gd name="T28" fmla="*/ 259 w 381"/>
                <a:gd name="T29" fmla="*/ 323 h 383"/>
                <a:gd name="T30" fmla="*/ 341 w 381"/>
                <a:gd name="T31" fmla="*/ 323 h 383"/>
                <a:gd name="T32" fmla="*/ 381 w 381"/>
                <a:gd name="T33" fmla="*/ 283 h 383"/>
                <a:gd name="T34" fmla="*/ 381 w 381"/>
                <a:gd name="T35" fmla="*/ 40 h 383"/>
                <a:gd name="T36" fmla="*/ 341 w 381"/>
                <a:gd name="T37" fmla="*/ 0 h 383"/>
                <a:gd name="T38" fmla="*/ 301 w 381"/>
                <a:gd name="T39" fmla="*/ 243 h 383"/>
                <a:gd name="T40" fmla="*/ 138 w 381"/>
                <a:gd name="T41" fmla="*/ 243 h 383"/>
                <a:gd name="T42" fmla="*/ 138 w 381"/>
                <a:gd name="T43" fmla="*/ 80 h 383"/>
                <a:gd name="T44" fmla="*/ 301 w 381"/>
                <a:gd name="T45" fmla="*/ 80 h 383"/>
                <a:gd name="T46" fmla="*/ 301 w 381"/>
                <a:gd name="T47" fmla="*/ 24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1" h="383">
                  <a:moveTo>
                    <a:pt x="341" y="0"/>
                  </a:moveTo>
                  <a:cubicBezTo>
                    <a:pt x="98" y="0"/>
                    <a:pt x="98" y="0"/>
                    <a:pt x="98" y="0"/>
                  </a:cubicBezTo>
                  <a:cubicBezTo>
                    <a:pt x="76" y="0"/>
                    <a:pt x="58" y="18"/>
                    <a:pt x="58" y="40"/>
                  </a:cubicBezTo>
                  <a:cubicBezTo>
                    <a:pt x="58" y="121"/>
                    <a:pt x="58" y="121"/>
                    <a:pt x="58" y="121"/>
                  </a:cubicBezTo>
                  <a:cubicBezTo>
                    <a:pt x="40" y="121"/>
                    <a:pt x="40" y="121"/>
                    <a:pt x="40" y="121"/>
                  </a:cubicBezTo>
                  <a:cubicBezTo>
                    <a:pt x="18" y="121"/>
                    <a:pt x="0" y="139"/>
                    <a:pt x="0" y="161"/>
                  </a:cubicBezTo>
                  <a:cubicBezTo>
                    <a:pt x="0" y="183"/>
                    <a:pt x="18" y="201"/>
                    <a:pt x="40" y="201"/>
                  </a:cubicBezTo>
                  <a:cubicBezTo>
                    <a:pt x="58" y="201"/>
                    <a:pt x="58" y="201"/>
                    <a:pt x="58" y="201"/>
                  </a:cubicBezTo>
                  <a:cubicBezTo>
                    <a:pt x="58" y="283"/>
                    <a:pt x="58" y="283"/>
                    <a:pt x="58" y="283"/>
                  </a:cubicBezTo>
                  <a:cubicBezTo>
                    <a:pt x="58" y="305"/>
                    <a:pt x="76" y="323"/>
                    <a:pt x="98" y="323"/>
                  </a:cubicBezTo>
                  <a:cubicBezTo>
                    <a:pt x="179" y="323"/>
                    <a:pt x="179" y="323"/>
                    <a:pt x="179" y="323"/>
                  </a:cubicBezTo>
                  <a:cubicBezTo>
                    <a:pt x="179" y="343"/>
                    <a:pt x="179" y="343"/>
                    <a:pt x="179" y="343"/>
                  </a:cubicBezTo>
                  <a:cubicBezTo>
                    <a:pt x="179" y="365"/>
                    <a:pt x="197" y="383"/>
                    <a:pt x="219" y="383"/>
                  </a:cubicBezTo>
                  <a:cubicBezTo>
                    <a:pt x="242" y="383"/>
                    <a:pt x="259" y="365"/>
                    <a:pt x="259" y="343"/>
                  </a:cubicBezTo>
                  <a:cubicBezTo>
                    <a:pt x="259" y="323"/>
                    <a:pt x="259" y="323"/>
                    <a:pt x="259" y="323"/>
                  </a:cubicBezTo>
                  <a:cubicBezTo>
                    <a:pt x="341" y="323"/>
                    <a:pt x="341" y="323"/>
                    <a:pt x="341" y="323"/>
                  </a:cubicBezTo>
                  <a:cubicBezTo>
                    <a:pt x="363" y="323"/>
                    <a:pt x="381" y="305"/>
                    <a:pt x="381" y="283"/>
                  </a:cubicBezTo>
                  <a:cubicBezTo>
                    <a:pt x="381" y="40"/>
                    <a:pt x="381" y="40"/>
                    <a:pt x="381" y="40"/>
                  </a:cubicBezTo>
                  <a:cubicBezTo>
                    <a:pt x="381" y="18"/>
                    <a:pt x="363" y="0"/>
                    <a:pt x="341" y="0"/>
                  </a:cubicBezTo>
                  <a:close/>
                  <a:moveTo>
                    <a:pt x="301" y="243"/>
                  </a:moveTo>
                  <a:cubicBezTo>
                    <a:pt x="138" y="243"/>
                    <a:pt x="138" y="243"/>
                    <a:pt x="138" y="243"/>
                  </a:cubicBezTo>
                  <a:cubicBezTo>
                    <a:pt x="138" y="80"/>
                    <a:pt x="138" y="80"/>
                    <a:pt x="138" y="80"/>
                  </a:cubicBezTo>
                  <a:cubicBezTo>
                    <a:pt x="301" y="80"/>
                    <a:pt x="301" y="80"/>
                    <a:pt x="301" y="80"/>
                  </a:cubicBezTo>
                  <a:lnTo>
                    <a:pt x="301"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471"/>
            <p:cNvSpPr>
              <a:spLocks noEditPoints="1"/>
            </p:cNvSpPr>
            <p:nvPr/>
          </p:nvSpPr>
          <p:spPr bwMode="auto">
            <a:xfrm>
              <a:off x="7146" y="2910"/>
              <a:ext cx="1423" cy="1413"/>
            </a:xfrm>
            <a:custGeom>
              <a:avLst/>
              <a:gdLst>
                <a:gd name="T0" fmla="*/ 693 w 752"/>
                <a:gd name="T1" fmla="*/ 435 h 747"/>
                <a:gd name="T2" fmla="*/ 561 w 752"/>
                <a:gd name="T3" fmla="*/ 247 h 747"/>
                <a:gd name="T4" fmla="*/ 505 w 752"/>
                <a:gd name="T5" fmla="*/ 247 h 747"/>
                <a:gd name="T6" fmla="*/ 512 w 752"/>
                <a:gd name="T7" fmla="*/ 161 h 747"/>
                <a:gd name="T8" fmla="*/ 51 w 752"/>
                <a:gd name="T9" fmla="*/ 1 h 747"/>
                <a:gd name="T10" fmla="*/ 46 w 752"/>
                <a:gd name="T11" fmla="*/ 0 h 747"/>
                <a:gd name="T12" fmla="*/ 40 w 752"/>
                <a:gd name="T13" fmla="*/ 0 h 747"/>
                <a:gd name="T14" fmla="*/ 36 w 752"/>
                <a:gd name="T15" fmla="*/ 0 h 747"/>
                <a:gd name="T16" fmla="*/ 31 w 752"/>
                <a:gd name="T17" fmla="*/ 1 h 747"/>
                <a:gd name="T18" fmla="*/ 21 w 752"/>
                <a:gd name="T19" fmla="*/ 5 h 747"/>
                <a:gd name="T20" fmla="*/ 17 w 752"/>
                <a:gd name="T21" fmla="*/ 8 h 747"/>
                <a:gd name="T22" fmla="*/ 12 w 752"/>
                <a:gd name="T23" fmla="*/ 11 h 747"/>
                <a:gd name="T24" fmla="*/ 8 w 752"/>
                <a:gd name="T25" fmla="*/ 16 h 747"/>
                <a:gd name="T26" fmla="*/ 5 w 752"/>
                <a:gd name="T27" fmla="*/ 20 h 747"/>
                <a:gd name="T28" fmla="*/ 1 w 752"/>
                <a:gd name="T29" fmla="*/ 30 h 747"/>
                <a:gd name="T30" fmla="*/ 1 w 752"/>
                <a:gd name="T31" fmla="*/ 35 h 747"/>
                <a:gd name="T32" fmla="*/ 0 w 752"/>
                <a:gd name="T33" fmla="*/ 40 h 747"/>
                <a:gd name="T34" fmla="*/ 1 w 752"/>
                <a:gd name="T35" fmla="*/ 46 h 747"/>
                <a:gd name="T36" fmla="*/ 2 w 752"/>
                <a:gd name="T37" fmla="*/ 50 h 747"/>
                <a:gd name="T38" fmla="*/ 156 w 752"/>
                <a:gd name="T39" fmla="*/ 512 h 747"/>
                <a:gd name="T40" fmla="*/ 253 w 752"/>
                <a:gd name="T41" fmla="*/ 499 h 747"/>
                <a:gd name="T42" fmla="*/ 248 w 752"/>
                <a:gd name="T43" fmla="*/ 561 h 747"/>
                <a:gd name="T44" fmla="*/ 407 w 752"/>
                <a:gd name="T45" fmla="*/ 704 h 747"/>
                <a:gd name="T46" fmla="*/ 451 w 752"/>
                <a:gd name="T47" fmla="*/ 677 h 747"/>
                <a:gd name="T48" fmla="*/ 538 w 752"/>
                <a:gd name="T49" fmla="*/ 747 h 747"/>
                <a:gd name="T50" fmla="*/ 736 w 752"/>
                <a:gd name="T51" fmla="*/ 566 h 747"/>
                <a:gd name="T52" fmla="*/ 677 w 752"/>
                <a:gd name="T53" fmla="*/ 450 h 747"/>
                <a:gd name="T54" fmla="*/ 118 w 752"/>
                <a:gd name="T55" fmla="*/ 174 h 747"/>
                <a:gd name="T56" fmla="*/ 210 w 752"/>
                <a:gd name="T57" fmla="*/ 249 h 747"/>
                <a:gd name="T58" fmla="*/ 238 w 752"/>
                <a:gd name="T59" fmla="*/ 181 h 747"/>
                <a:gd name="T60" fmla="*/ 428 w 752"/>
                <a:gd name="T61" fmla="*/ 185 h 747"/>
                <a:gd name="T62" fmla="*/ 348 w 752"/>
                <a:gd name="T63" fmla="*/ 404 h 747"/>
                <a:gd name="T64" fmla="*/ 333 w 752"/>
                <a:gd name="T65" fmla="*/ 532 h 747"/>
                <a:gd name="T66" fmla="*/ 608 w 752"/>
                <a:gd name="T67" fmla="*/ 407 h 747"/>
                <a:gd name="T68" fmla="*/ 333 w 752"/>
                <a:gd name="T69" fmla="*/ 532 h 747"/>
                <a:gd name="T70" fmla="*/ 508 w 752"/>
                <a:gd name="T71" fmla="*/ 620 h 747"/>
                <a:gd name="T72" fmla="*/ 651 w 752"/>
                <a:gd name="T73" fmla="*/ 537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2" h="747">
                  <a:moveTo>
                    <a:pt x="677" y="450"/>
                  </a:moveTo>
                  <a:cubicBezTo>
                    <a:pt x="693" y="435"/>
                    <a:pt x="693" y="435"/>
                    <a:pt x="693" y="435"/>
                  </a:cubicBezTo>
                  <a:cubicBezTo>
                    <a:pt x="708" y="420"/>
                    <a:pt x="708" y="394"/>
                    <a:pt x="693" y="379"/>
                  </a:cubicBezTo>
                  <a:cubicBezTo>
                    <a:pt x="561" y="247"/>
                    <a:pt x="561" y="247"/>
                    <a:pt x="561" y="247"/>
                  </a:cubicBezTo>
                  <a:cubicBezTo>
                    <a:pt x="554" y="240"/>
                    <a:pt x="543" y="235"/>
                    <a:pt x="533" y="235"/>
                  </a:cubicBezTo>
                  <a:cubicBezTo>
                    <a:pt x="522" y="235"/>
                    <a:pt x="512" y="240"/>
                    <a:pt x="505" y="247"/>
                  </a:cubicBezTo>
                  <a:cubicBezTo>
                    <a:pt x="499" y="253"/>
                    <a:pt x="499" y="253"/>
                    <a:pt x="499" y="253"/>
                  </a:cubicBezTo>
                  <a:cubicBezTo>
                    <a:pt x="512" y="161"/>
                    <a:pt x="512" y="161"/>
                    <a:pt x="512" y="161"/>
                  </a:cubicBezTo>
                  <a:cubicBezTo>
                    <a:pt x="515" y="141"/>
                    <a:pt x="503" y="122"/>
                    <a:pt x="483" y="117"/>
                  </a:cubicBezTo>
                  <a:cubicBezTo>
                    <a:pt x="51" y="1"/>
                    <a:pt x="51" y="1"/>
                    <a:pt x="51" y="1"/>
                  </a:cubicBezTo>
                  <a:cubicBezTo>
                    <a:pt x="50" y="1"/>
                    <a:pt x="50" y="1"/>
                    <a:pt x="50" y="1"/>
                  </a:cubicBezTo>
                  <a:cubicBezTo>
                    <a:pt x="49" y="1"/>
                    <a:pt x="47" y="0"/>
                    <a:pt x="46" y="0"/>
                  </a:cubicBezTo>
                  <a:cubicBezTo>
                    <a:pt x="46" y="0"/>
                    <a:pt x="45" y="0"/>
                    <a:pt x="45" y="0"/>
                  </a:cubicBezTo>
                  <a:cubicBezTo>
                    <a:pt x="43" y="0"/>
                    <a:pt x="42" y="0"/>
                    <a:pt x="40" y="0"/>
                  </a:cubicBezTo>
                  <a:cubicBezTo>
                    <a:pt x="40" y="0"/>
                    <a:pt x="40" y="0"/>
                    <a:pt x="40" y="0"/>
                  </a:cubicBezTo>
                  <a:cubicBezTo>
                    <a:pt x="38" y="0"/>
                    <a:pt x="37" y="0"/>
                    <a:pt x="36" y="0"/>
                  </a:cubicBezTo>
                  <a:cubicBezTo>
                    <a:pt x="35" y="0"/>
                    <a:pt x="35" y="0"/>
                    <a:pt x="34" y="0"/>
                  </a:cubicBezTo>
                  <a:cubicBezTo>
                    <a:pt x="33" y="0"/>
                    <a:pt x="32" y="1"/>
                    <a:pt x="31" y="1"/>
                  </a:cubicBezTo>
                  <a:cubicBezTo>
                    <a:pt x="30" y="1"/>
                    <a:pt x="30" y="1"/>
                    <a:pt x="30" y="1"/>
                  </a:cubicBezTo>
                  <a:cubicBezTo>
                    <a:pt x="27" y="2"/>
                    <a:pt x="24" y="3"/>
                    <a:pt x="21" y="5"/>
                  </a:cubicBezTo>
                  <a:cubicBezTo>
                    <a:pt x="20" y="5"/>
                    <a:pt x="20" y="5"/>
                    <a:pt x="20" y="5"/>
                  </a:cubicBezTo>
                  <a:cubicBezTo>
                    <a:pt x="19" y="6"/>
                    <a:pt x="18" y="7"/>
                    <a:pt x="17" y="8"/>
                  </a:cubicBezTo>
                  <a:cubicBezTo>
                    <a:pt x="16" y="8"/>
                    <a:pt x="16" y="8"/>
                    <a:pt x="16" y="8"/>
                  </a:cubicBezTo>
                  <a:cubicBezTo>
                    <a:pt x="14" y="9"/>
                    <a:pt x="13" y="10"/>
                    <a:pt x="12" y="11"/>
                  </a:cubicBezTo>
                  <a:cubicBezTo>
                    <a:pt x="11" y="13"/>
                    <a:pt x="10" y="14"/>
                    <a:pt x="9" y="15"/>
                  </a:cubicBezTo>
                  <a:cubicBezTo>
                    <a:pt x="9" y="15"/>
                    <a:pt x="8" y="16"/>
                    <a:pt x="8" y="16"/>
                  </a:cubicBezTo>
                  <a:cubicBezTo>
                    <a:pt x="7" y="17"/>
                    <a:pt x="7" y="18"/>
                    <a:pt x="6" y="19"/>
                  </a:cubicBezTo>
                  <a:cubicBezTo>
                    <a:pt x="6" y="20"/>
                    <a:pt x="6" y="20"/>
                    <a:pt x="5" y="20"/>
                  </a:cubicBezTo>
                  <a:cubicBezTo>
                    <a:pt x="4" y="23"/>
                    <a:pt x="3" y="26"/>
                    <a:pt x="2" y="29"/>
                  </a:cubicBezTo>
                  <a:cubicBezTo>
                    <a:pt x="2" y="29"/>
                    <a:pt x="2" y="30"/>
                    <a:pt x="1" y="30"/>
                  </a:cubicBezTo>
                  <a:cubicBezTo>
                    <a:pt x="1" y="31"/>
                    <a:pt x="1" y="32"/>
                    <a:pt x="1" y="34"/>
                  </a:cubicBezTo>
                  <a:cubicBezTo>
                    <a:pt x="1" y="34"/>
                    <a:pt x="1" y="35"/>
                    <a:pt x="1" y="35"/>
                  </a:cubicBezTo>
                  <a:cubicBezTo>
                    <a:pt x="0" y="36"/>
                    <a:pt x="0" y="38"/>
                    <a:pt x="0" y="39"/>
                  </a:cubicBezTo>
                  <a:cubicBezTo>
                    <a:pt x="0" y="39"/>
                    <a:pt x="0" y="40"/>
                    <a:pt x="0" y="40"/>
                  </a:cubicBezTo>
                  <a:cubicBezTo>
                    <a:pt x="0" y="41"/>
                    <a:pt x="0" y="43"/>
                    <a:pt x="1" y="44"/>
                  </a:cubicBezTo>
                  <a:cubicBezTo>
                    <a:pt x="1" y="45"/>
                    <a:pt x="1" y="45"/>
                    <a:pt x="1" y="46"/>
                  </a:cubicBezTo>
                  <a:cubicBezTo>
                    <a:pt x="1" y="47"/>
                    <a:pt x="1" y="48"/>
                    <a:pt x="1" y="49"/>
                  </a:cubicBezTo>
                  <a:cubicBezTo>
                    <a:pt x="2" y="50"/>
                    <a:pt x="2" y="50"/>
                    <a:pt x="2" y="50"/>
                  </a:cubicBezTo>
                  <a:cubicBezTo>
                    <a:pt x="117" y="482"/>
                    <a:pt x="117" y="482"/>
                    <a:pt x="117" y="482"/>
                  </a:cubicBezTo>
                  <a:cubicBezTo>
                    <a:pt x="122" y="500"/>
                    <a:pt x="138" y="512"/>
                    <a:pt x="156" y="512"/>
                  </a:cubicBezTo>
                  <a:cubicBezTo>
                    <a:pt x="158" y="512"/>
                    <a:pt x="160" y="512"/>
                    <a:pt x="162" y="512"/>
                  </a:cubicBezTo>
                  <a:cubicBezTo>
                    <a:pt x="253" y="499"/>
                    <a:pt x="253" y="499"/>
                    <a:pt x="253" y="499"/>
                  </a:cubicBezTo>
                  <a:cubicBezTo>
                    <a:pt x="248" y="504"/>
                    <a:pt x="248" y="504"/>
                    <a:pt x="248" y="504"/>
                  </a:cubicBezTo>
                  <a:cubicBezTo>
                    <a:pt x="232" y="520"/>
                    <a:pt x="232" y="545"/>
                    <a:pt x="248" y="561"/>
                  </a:cubicBezTo>
                  <a:cubicBezTo>
                    <a:pt x="379" y="692"/>
                    <a:pt x="379" y="692"/>
                    <a:pt x="379" y="692"/>
                  </a:cubicBezTo>
                  <a:cubicBezTo>
                    <a:pt x="387" y="700"/>
                    <a:pt x="397" y="704"/>
                    <a:pt x="407" y="704"/>
                  </a:cubicBezTo>
                  <a:cubicBezTo>
                    <a:pt x="418" y="704"/>
                    <a:pt x="428" y="700"/>
                    <a:pt x="436" y="692"/>
                  </a:cubicBezTo>
                  <a:cubicBezTo>
                    <a:pt x="451" y="677"/>
                    <a:pt x="451" y="677"/>
                    <a:pt x="451" y="677"/>
                  </a:cubicBezTo>
                  <a:cubicBezTo>
                    <a:pt x="510" y="736"/>
                    <a:pt x="510" y="736"/>
                    <a:pt x="510" y="736"/>
                  </a:cubicBezTo>
                  <a:cubicBezTo>
                    <a:pt x="517" y="743"/>
                    <a:pt x="528" y="747"/>
                    <a:pt x="538" y="747"/>
                  </a:cubicBezTo>
                  <a:cubicBezTo>
                    <a:pt x="548" y="747"/>
                    <a:pt x="558" y="743"/>
                    <a:pt x="566" y="736"/>
                  </a:cubicBezTo>
                  <a:cubicBezTo>
                    <a:pt x="736" y="566"/>
                    <a:pt x="736" y="566"/>
                    <a:pt x="736" y="566"/>
                  </a:cubicBezTo>
                  <a:cubicBezTo>
                    <a:pt x="752" y="550"/>
                    <a:pt x="752" y="525"/>
                    <a:pt x="736" y="509"/>
                  </a:cubicBezTo>
                  <a:lnTo>
                    <a:pt x="677" y="450"/>
                  </a:lnTo>
                  <a:close/>
                  <a:moveTo>
                    <a:pt x="186" y="427"/>
                  </a:moveTo>
                  <a:cubicBezTo>
                    <a:pt x="118" y="174"/>
                    <a:pt x="118" y="174"/>
                    <a:pt x="118" y="174"/>
                  </a:cubicBezTo>
                  <a:cubicBezTo>
                    <a:pt x="182" y="238"/>
                    <a:pt x="182" y="238"/>
                    <a:pt x="182" y="238"/>
                  </a:cubicBezTo>
                  <a:cubicBezTo>
                    <a:pt x="190" y="246"/>
                    <a:pt x="200" y="249"/>
                    <a:pt x="210" y="249"/>
                  </a:cubicBezTo>
                  <a:cubicBezTo>
                    <a:pt x="220" y="249"/>
                    <a:pt x="230" y="246"/>
                    <a:pt x="238" y="238"/>
                  </a:cubicBezTo>
                  <a:cubicBezTo>
                    <a:pt x="254" y="222"/>
                    <a:pt x="254" y="197"/>
                    <a:pt x="238" y="181"/>
                  </a:cubicBezTo>
                  <a:cubicBezTo>
                    <a:pt x="174" y="117"/>
                    <a:pt x="174" y="117"/>
                    <a:pt x="174" y="117"/>
                  </a:cubicBezTo>
                  <a:cubicBezTo>
                    <a:pt x="428" y="185"/>
                    <a:pt x="428" y="185"/>
                    <a:pt x="428" y="185"/>
                  </a:cubicBezTo>
                  <a:cubicBezTo>
                    <a:pt x="405" y="347"/>
                    <a:pt x="405" y="347"/>
                    <a:pt x="405" y="347"/>
                  </a:cubicBezTo>
                  <a:cubicBezTo>
                    <a:pt x="348" y="404"/>
                    <a:pt x="348" y="404"/>
                    <a:pt x="348" y="404"/>
                  </a:cubicBezTo>
                  <a:lnTo>
                    <a:pt x="186" y="427"/>
                  </a:lnTo>
                  <a:close/>
                  <a:moveTo>
                    <a:pt x="333" y="532"/>
                  </a:moveTo>
                  <a:cubicBezTo>
                    <a:pt x="533" y="332"/>
                    <a:pt x="533" y="332"/>
                    <a:pt x="533" y="332"/>
                  </a:cubicBezTo>
                  <a:cubicBezTo>
                    <a:pt x="608" y="407"/>
                    <a:pt x="608" y="407"/>
                    <a:pt x="608" y="407"/>
                  </a:cubicBezTo>
                  <a:cubicBezTo>
                    <a:pt x="407" y="607"/>
                    <a:pt x="407" y="607"/>
                    <a:pt x="407" y="607"/>
                  </a:cubicBezTo>
                  <a:lnTo>
                    <a:pt x="333" y="532"/>
                  </a:lnTo>
                  <a:close/>
                  <a:moveTo>
                    <a:pt x="538" y="651"/>
                  </a:moveTo>
                  <a:cubicBezTo>
                    <a:pt x="508" y="620"/>
                    <a:pt x="508" y="620"/>
                    <a:pt x="508" y="620"/>
                  </a:cubicBezTo>
                  <a:cubicBezTo>
                    <a:pt x="621" y="507"/>
                    <a:pt x="621" y="507"/>
                    <a:pt x="621" y="507"/>
                  </a:cubicBezTo>
                  <a:cubicBezTo>
                    <a:pt x="651" y="537"/>
                    <a:pt x="651" y="537"/>
                    <a:pt x="651" y="537"/>
                  </a:cubicBezTo>
                  <a:lnTo>
                    <a:pt x="538" y="6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2" name="Group 480"/>
          <p:cNvGrpSpPr>
            <a:grpSpLocks noChangeAspect="1"/>
          </p:cNvGrpSpPr>
          <p:nvPr/>
        </p:nvGrpSpPr>
        <p:grpSpPr bwMode="auto">
          <a:xfrm>
            <a:off x="7440690" y="4080541"/>
            <a:ext cx="574645" cy="512064"/>
            <a:chOff x="2951" y="3316"/>
            <a:chExt cx="3875" cy="3453"/>
          </a:xfrm>
          <a:solidFill>
            <a:schemeClr val="accent1"/>
          </a:solidFill>
        </p:grpSpPr>
        <p:sp>
          <p:nvSpPr>
            <p:cNvPr id="484" name="Freeform 481"/>
            <p:cNvSpPr>
              <a:spLocks/>
            </p:cNvSpPr>
            <p:nvPr/>
          </p:nvSpPr>
          <p:spPr bwMode="auto">
            <a:xfrm>
              <a:off x="4232" y="4128"/>
              <a:ext cx="151" cy="152"/>
            </a:xfrm>
            <a:custGeom>
              <a:avLst/>
              <a:gdLst>
                <a:gd name="T0" fmla="*/ 68 w 80"/>
                <a:gd name="T1" fmla="*/ 12 h 80"/>
                <a:gd name="T2" fmla="*/ 40 w 80"/>
                <a:gd name="T3" fmla="*/ 0 h 80"/>
                <a:gd name="T4" fmla="*/ 12 w 80"/>
                <a:gd name="T5" fmla="*/ 12 h 80"/>
                <a:gd name="T6" fmla="*/ 0 w 80"/>
                <a:gd name="T7" fmla="*/ 40 h 80"/>
                <a:gd name="T8" fmla="*/ 12 w 80"/>
                <a:gd name="T9" fmla="*/ 68 h 80"/>
                <a:gd name="T10" fmla="*/ 40 w 80"/>
                <a:gd name="T11" fmla="*/ 80 h 80"/>
                <a:gd name="T12" fmla="*/ 68 w 80"/>
                <a:gd name="T13" fmla="*/ 68 h 80"/>
                <a:gd name="T14" fmla="*/ 80 w 80"/>
                <a:gd name="T15" fmla="*/ 40 h 80"/>
                <a:gd name="T16" fmla="*/ 68 w 80"/>
                <a:gd name="T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68" y="12"/>
                  </a:moveTo>
                  <a:cubicBezTo>
                    <a:pt x="61" y="4"/>
                    <a:pt x="50" y="0"/>
                    <a:pt x="40" y="0"/>
                  </a:cubicBezTo>
                  <a:cubicBezTo>
                    <a:pt x="29" y="0"/>
                    <a:pt x="19" y="4"/>
                    <a:pt x="12" y="12"/>
                  </a:cubicBezTo>
                  <a:cubicBezTo>
                    <a:pt x="4" y="19"/>
                    <a:pt x="0" y="30"/>
                    <a:pt x="0" y="40"/>
                  </a:cubicBezTo>
                  <a:cubicBezTo>
                    <a:pt x="0" y="51"/>
                    <a:pt x="4" y="61"/>
                    <a:pt x="12" y="68"/>
                  </a:cubicBezTo>
                  <a:cubicBezTo>
                    <a:pt x="19" y="76"/>
                    <a:pt x="29" y="80"/>
                    <a:pt x="40" y="80"/>
                  </a:cubicBezTo>
                  <a:cubicBezTo>
                    <a:pt x="50" y="80"/>
                    <a:pt x="61" y="76"/>
                    <a:pt x="68" y="68"/>
                  </a:cubicBezTo>
                  <a:cubicBezTo>
                    <a:pt x="76" y="61"/>
                    <a:pt x="80" y="51"/>
                    <a:pt x="80" y="40"/>
                  </a:cubicBezTo>
                  <a:cubicBezTo>
                    <a:pt x="80" y="30"/>
                    <a:pt x="76" y="19"/>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482"/>
            <p:cNvSpPr>
              <a:spLocks noEditPoints="1"/>
            </p:cNvSpPr>
            <p:nvPr/>
          </p:nvSpPr>
          <p:spPr bwMode="auto">
            <a:xfrm>
              <a:off x="2951" y="3316"/>
              <a:ext cx="3875" cy="3453"/>
            </a:xfrm>
            <a:custGeom>
              <a:avLst/>
              <a:gdLst>
                <a:gd name="T0" fmla="*/ 1491 w 2048"/>
                <a:gd name="T1" fmla="*/ 40 h 1824"/>
                <a:gd name="T2" fmla="*/ 1073 w 2048"/>
                <a:gd name="T3" fmla="*/ 40 h 1824"/>
                <a:gd name="T4" fmla="*/ 824 w 2048"/>
                <a:gd name="T5" fmla="*/ 16 h 1824"/>
                <a:gd name="T6" fmla="*/ 594 w 2048"/>
                <a:gd name="T7" fmla="*/ 246 h 1824"/>
                <a:gd name="T8" fmla="*/ 0 w 2048"/>
                <a:gd name="T9" fmla="*/ 1690 h 1824"/>
                <a:gd name="T10" fmla="*/ 1914 w 2048"/>
                <a:gd name="T11" fmla="*/ 1824 h 1824"/>
                <a:gd name="T12" fmla="*/ 2048 w 2048"/>
                <a:gd name="T13" fmla="*/ 380 h 1824"/>
                <a:gd name="T14" fmla="*/ 1968 w 2048"/>
                <a:gd name="T15" fmla="*/ 380 h 1824"/>
                <a:gd name="T16" fmla="*/ 1930 w 2048"/>
                <a:gd name="T17" fmla="*/ 1409 h 1824"/>
                <a:gd name="T18" fmla="*/ 1503 w 2048"/>
                <a:gd name="T19" fmla="*/ 763 h 1824"/>
                <a:gd name="T20" fmla="*/ 1914 w 2048"/>
                <a:gd name="T21" fmla="*/ 326 h 1824"/>
                <a:gd name="T22" fmla="*/ 1731 w 2048"/>
                <a:gd name="T23" fmla="*/ 1071 h 1824"/>
                <a:gd name="T24" fmla="*/ 1718 w 2048"/>
                <a:gd name="T25" fmla="*/ 1267 h 1824"/>
                <a:gd name="T26" fmla="*/ 1491 w 2048"/>
                <a:gd name="T27" fmla="*/ 1440 h 1824"/>
                <a:gd name="T28" fmla="*/ 1411 w 2048"/>
                <a:gd name="T29" fmla="*/ 80 h 1824"/>
                <a:gd name="T30" fmla="*/ 1244 w 2048"/>
                <a:gd name="T31" fmla="*/ 228 h 1824"/>
                <a:gd name="T32" fmla="*/ 1411 w 2048"/>
                <a:gd name="T33" fmla="*/ 268 h 1824"/>
                <a:gd name="T34" fmla="*/ 1279 w 2048"/>
                <a:gd name="T35" fmla="*/ 447 h 1824"/>
                <a:gd name="T36" fmla="*/ 1411 w 2048"/>
                <a:gd name="T37" fmla="*/ 627 h 1824"/>
                <a:gd name="T38" fmla="*/ 1284 w 2048"/>
                <a:gd name="T39" fmla="*/ 707 h 1824"/>
                <a:gd name="T40" fmla="*/ 1411 w 2048"/>
                <a:gd name="T41" fmla="*/ 846 h 1824"/>
                <a:gd name="T42" fmla="*/ 1319 w 2048"/>
                <a:gd name="T43" fmla="*/ 926 h 1824"/>
                <a:gd name="T44" fmla="*/ 1284 w 2048"/>
                <a:gd name="T45" fmla="*/ 1065 h 1824"/>
                <a:gd name="T46" fmla="*/ 1411 w 2048"/>
                <a:gd name="T47" fmla="*/ 1145 h 1824"/>
                <a:gd name="T48" fmla="*/ 1279 w 2048"/>
                <a:gd name="T49" fmla="*/ 1324 h 1824"/>
                <a:gd name="T50" fmla="*/ 1411 w 2048"/>
                <a:gd name="T51" fmla="*/ 1440 h 1824"/>
                <a:gd name="T52" fmla="*/ 1153 w 2048"/>
                <a:gd name="T53" fmla="*/ 80 h 1824"/>
                <a:gd name="T54" fmla="*/ 1073 w 2048"/>
                <a:gd name="T55" fmla="*/ 582 h 1824"/>
                <a:gd name="T56" fmla="*/ 907 w 2048"/>
                <a:gd name="T57" fmla="*/ 1440 h 1824"/>
                <a:gd name="T58" fmla="*/ 947 w 2048"/>
                <a:gd name="T59" fmla="*/ 357 h 1824"/>
                <a:gd name="T60" fmla="*/ 717 w 2048"/>
                <a:gd name="T61" fmla="*/ 590 h 1824"/>
                <a:gd name="T62" fmla="*/ 637 w 2048"/>
                <a:gd name="T63" fmla="*/ 1440 h 1824"/>
                <a:gd name="T64" fmla="*/ 827 w 2048"/>
                <a:gd name="T65" fmla="*/ 357 h 1824"/>
                <a:gd name="T66" fmla="*/ 757 w 2048"/>
                <a:gd name="T67" fmla="*/ 630 h 1824"/>
                <a:gd name="T68" fmla="*/ 198 w 2048"/>
                <a:gd name="T69" fmla="*/ 1409 h 1824"/>
                <a:gd name="T70" fmla="*/ 360 w 2048"/>
                <a:gd name="T71" fmla="*/ 1203 h 1824"/>
                <a:gd name="T72" fmla="*/ 557 w 2048"/>
                <a:gd name="T73" fmla="*/ 844 h 1824"/>
                <a:gd name="T74" fmla="*/ 1073 w 2048"/>
                <a:gd name="T75" fmla="*/ 502 h 1824"/>
                <a:gd name="T76" fmla="*/ 1073 w 2048"/>
                <a:gd name="T77" fmla="*/ 326 h 1824"/>
                <a:gd name="T78" fmla="*/ 914 w 2048"/>
                <a:gd name="T79" fmla="*/ 277 h 1824"/>
                <a:gd name="T80" fmla="*/ 80 w 2048"/>
                <a:gd name="T81" fmla="*/ 380 h 1824"/>
                <a:gd name="T82" fmla="*/ 557 w 2048"/>
                <a:gd name="T83" fmla="*/ 764 h 1824"/>
                <a:gd name="T84" fmla="*/ 265 w 2048"/>
                <a:gd name="T85" fmla="*/ 1200 h 1824"/>
                <a:gd name="T86" fmla="*/ 80 w 2048"/>
                <a:gd name="T87" fmla="*/ 1440 h 1824"/>
                <a:gd name="T88" fmla="*/ 1968 w 2048"/>
                <a:gd name="T89" fmla="*/ 1690 h 1824"/>
                <a:gd name="T90" fmla="*/ 80 w 2048"/>
                <a:gd name="T91" fmla="*/ 1690 h 1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48" h="1824">
                  <a:moveTo>
                    <a:pt x="1914" y="246"/>
                  </a:moveTo>
                  <a:cubicBezTo>
                    <a:pt x="1491" y="246"/>
                    <a:pt x="1491" y="246"/>
                    <a:pt x="1491" y="246"/>
                  </a:cubicBezTo>
                  <a:cubicBezTo>
                    <a:pt x="1491" y="40"/>
                    <a:pt x="1491" y="40"/>
                    <a:pt x="1491" y="40"/>
                  </a:cubicBezTo>
                  <a:cubicBezTo>
                    <a:pt x="1491" y="18"/>
                    <a:pt x="1474" y="0"/>
                    <a:pt x="1451" y="0"/>
                  </a:cubicBezTo>
                  <a:cubicBezTo>
                    <a:pt x="1113" y="0"/>
                    <a:pt x="1113" y="0"/>
                    <a:pt x="1113" y="0"/>
                  </a:cubicBezTo>
                  <a:cubicBezTo>
                    <a:pt x="1091" y="0"/>
                    <a:pt x="1073" y="18"/>
                    <a:pt x="1073" y="40"/>
                  </a:cubicBezTo>
                  <a:cubicBezTo>
                    <a:pt x="1073" y="246"/>
                    <a:pt x="1073" y="246"/>
                    <a:pt x="1073" y="246"/>
                  </a:cubicBezTo>
                  <a:cubicBezTo>
                    <a:pt x="990" y="246"/>
                    <a:pt x="990" y="246"/>
                    <a:pt x="990" y="246"/>
                  </a:cubicBezTo>
                  <a:cubicBezTo>
                    <a:pt x="824" y="16"/>
                    <a:pt x="824" y="16"/>
                    <a:pt x="824" y="16"/>
                  </a:cubicBezTo>
                  <a:cubicBezTo>
                    <a:pt x="817" y="6"/>
                    <a:pt x="805" y="0"/>
                    <a:pt x="792" y="0"/>
                  </a:cubicBezTo>
                  <a:cubicBezTo>
                    <a:pt x="779" y="0"/>
                    <a:pt x="767" y="6"/>
                    <a:pt x="759" y="16"/>
                  </a:cubicBezTo>
                  <a:cubicBezTo>
                    <a:pt x="594" y="246"/>
                    <a:pt x="594" y="246"/>
                    <a:pt x="594" y="246"/>
                  </a:cubicBezTo>
                  <a:cubicBezTo>
                    <a:pt x="134" y="246"/>
                    <a:pt x="134" y="246"/>
                    <a:pt x="134" y="246"/>
                  </a:cubicBezTo>
                  <a:cubicBezTo>
                    <a:pt x="60" y="246"/>
                    <a:pt x="0" y="306"/>
                    <a:pt x="0" y="380"/>
                  </a:cubicBezTo>
                  <a:cubicBezTo>
                    <a:pt x="0" y="1690"/>
                    <a:pt x="0" y="1690"/>
                    <a:pt x="0" y="1690"/>
                  </a:cubicBezTo>
                  <a:cubicBezTo>
                    <a:pt x="0" y="1690"/>
                    <a:pt x="0" y="1690"/>
                    <a:pt x="0" y="1690"/>
                  </a:cubicBezTo>
                  <a:cubicBezTo>
                    <a:pt x="0" y="1764"/>
                    <a:pt x="60" y="1824"/>
                    <a:pt x="134" y="1824"/>
                  </a:cubicBezTo>
                  <a:cubicBezTo>
                    <a:pt x="1914" y="1824"/>
                    <a:pt x="1914" y="1824"/>
                    <a:pt x="1914" y="1824"/>
                  </a:cubicBezTo>
                  <a:cubicBezTo>
                    <a:pt x="1988" y="1824"/>
                    <a:pt x="2048" y="1764"/>
                    <a:pt x="2048" y="1690"/>
                  </a:cubicBezTo>
                  <a:cubicBezTo>
                    <a:pt x="2048" y="1690"/>
                    <a:pt x="2048" y="1690"/>
                    <a:pt x="2048" y="1690"/>
                  </a:cubicBezTo>
                  <a:cubicBezTo>
                    <a:pt x="2048" y="380"/>
                    <a:pt x="2048" y="380"/>
                    <a:pt x="2048" y="380"/>
                  </a:cubicBezTo>
                  <a:cubicBezTo>
                    <a:pt x="2048" y="306"/>
                    <a:pt x="1988" y="246"/>
                    <a:pt x="1914" y="246"/>
                  </a:cubicBezTo>
                  <a:close/>
                  <a:moveTo>
                    <a:pt x="1914" y="326"/>
                  </a:moveTo>
                  <a:cubicBezTo>
                    <a:pt x="1944" y="326"/>
                    <a:pt x="1968" y="351"/>
                    <a:pt x="1968" y="380"/>
                  </a:cubicBezTo>
                  <a:cubicBezTo>
                    <a:pt x="1968" y="1440"/>
                    <a:pt x="1968" y="1440"/>
                    <a:pt x="1968" y="1440"/>
                  </a:cubicBezTo>
                  <a:cubicBezTo>
                    <a:pt x="1927" y="1440"/>
                    <a:pt x="1927" y="1440"/>
                    <a:pt x="1927" y="1440"/>
                  </a:cubicBezTo>
                  <a:cubicBezTo>
                    <a:pt x="1929" y="1430"/>
                    <a:pt x="1930" y="1419"/>
                    <a:pt x="1930" y="1409"/>
                  </a:cubicBezTo>
                  <a:cubicBezTo>
                    <a:pt x="1930" y="1313"/>
                    <a:pt x="1868" y="1231"/>
                    <a:pt x="1783" y="1200"/>
                  </a:cubicBezTo>
                  <a:cubicBezTo>
                    <a:pt x="1801" y="1159"/>
                    <a:pt x="1811" y="1116"/>
                    <a:pt x="1811" y="1071"/>
                  </a:cubicBezTo>
                  <a:cubicBezTo>
                    <a:pt x="1811" y="901"/>
                    <a:pt x="1673" y="763"/>
                    <a:pt x="1503" y="763"/>
                  </a:cubicBezTo>
                  <a:cubicBezTo>
                    <a:pt x="1499" y="763"/>
                    <a:pt x="1495" y="764"/>
                    <a:pt x="1491" y="764"/>
                  </a:cubicBezTo>
                  <a:cubicBezTo>
                    <a:pt x="1491" y="326"/>
                    <a:pt x="1491" y="326"/>
                    <a:pt x="1491" y="326"/>
                  </a:cubicBezTo>
                  <a:lnTo>
                    <a:pt x="1914" y="326"/>
                  </a:lnTo>
                  <a:close/>
                  <a:moveTo>
                    <a:pt x="1491" y="844"/>
                  </a:moveTo>
                  <a:cubicBezTo>
                    <a:pt x="1495" y="844"/>
                    <a:pt x="1499" y="843"/>
                    <a:pt x="1503" y="843"/>
                  </a:cubicBezTo>
                  <a:cubicBezTo>
                    <a:pt x="1629" y="843"/>
                    <a:pt x="1731" y="945"/>
                    <a:pt x="1731" y="1071"/>
                  </a:cubicBezTo>
                  <a:cubicBezTo>
                    <a:pt x="1731" y="1119"/>
                    <a:pt x="1716" y="1165"/>
                    <a:pt x="1688" y="1203"/>
                  </a:cubicBezTo>
                  <a:cubicBezTo>
                    <a:pt x="1679" y="1215"/>
                    <a:pt x="1678" y="1231"/>
                    <a:pt x="1684" y="1244"/>
                  </a:cubicBezTo>
                  <a:cubicBezTo>
                    <a:pt x="1690" y="1257"/>
                    <a:pt x="1703" y="1266"/>
                    <a:pt x="1718" y="1267"/>
                  </a:cubicBezTo>
                  <a:cubicBezTo>
                    <a:pt x="1792" y="1272"/>
                    <a:pt x="1850" y="1334"/>
                    <a:pt x="1850" y="1409"/>
                  </a:cubicBezTo>
                  <a:cubicBezTo>
                    <a:pt x="1850" y="1420"/>
                    <a:pt x="1848" y="1430"/>
                    <a:pt x="1846" y="1440"/>
                  </a:cubicBezTo>
                  <a:cubicBezTo>
                    <a:pt x="1491" y="1440"/>
                    <a:pt x="1491" y="1440"/>
                    <a:pt x="1491" y="1440"/>
                  </a:cubicBezTo>
                  <a:cubicBezTo>
                    <a:pt x="1491" y="844"/>
                    <a:pt x="1491" y="844"/>
                    <a:pt x="1491" y="844"/>
                  </a:cubicBezTo>
                  <a:close/>
                  <a:moveTo>
                    <a:pt x="1153" y="80"/>
                  </a:moveTo>
                  <a:cubicBezTo>
                    <a:pt x="1411" y="80"/>
                    <a:pt x="1411" y="80"/>
                    <a:pt x="1411" y="80"/>
                  </a:cubicBezTo>
                  <a:cubicBezTo>
                    <a:pt x="1411" y="188"/>
                    <a:pt x="1411" y="188"/>
                    <a:pt x="1411" y="188"/>
                  </a:cubicBezTo>
                  <a:cubicBezTo>
                    <a:pt x="1284" y="188"/>
                    <a:pt x="1284" y="188"/>
                    <a:pt x="1284" y="188"/>
                  </a:cubicBezTo>
                  <a:cubicBezTo>
                    <a:pt x="1262" y="188"/>
                    <a:pt x="1244" y="206"/>
                    <a:pt x="1244" y="228"/>
                  </a:cubicBezTo>
                  <a:cubicBezTo>
                    <a:pt x="1244" y="250"/>
                    <a:pt x="1262" y="268"/>
                    <a:pt x="1284" y="268"/>
                  </a:cubicBezTo>
                  <a:cubicBezTo>
                    <a:pt x="1411" y="268"/>
                    <a:pt x="1411" y="268"/>
                    <a:pt x="1411" y="268"/>
                  </a:cubicBezTo>
                  <a:cubicBezTo>
                    <a:pt x="1411" y="268"/>
                    <a:pt x="1411" y="268"/>
                    <a:pt x="1411" y="268"/>
                  </a:cubicBezTo>
                  <a:cubicBezTo>
                    <a:pt x="1411" y="407"/>
                    <a:pt x="1411" y="407"/>
                    <a:pt x="1411" y="407"/>
                  </a:cubicBezTo>
                  <a:cubicBezTo>
                    <a:pt x="1319" y="407"/>
                    <a:pt x="1319" y="407"/>
                    <a:pt x="1319" y="407"/>
                  </a:cubicBezTo>
                  <a:cubicBezTo>
                    <a:pt x="1297" y="407"/>
                    <a:pt x="1279" y="425"/>
                    <a:pt x="1279" y="447"/>
                  </a:cubicBezTo>
                  <a:cubicBezTo>
                    <a:pt x="1279" y="470"/>
                    <a:pt x="1297" y="487"/>
                    <a:pt x="1319" y="487"/>
                  </a:cubicBezTo>
                  <a:cubicBezTo>
                    <a:pt x="1411" y="487"/>
                    <a:pt x="1411" y="487"/>
                    <a:pt x="1411" y="487"/>
                  </a:cubicBezTo>
                  <a:cubicBezTo>
                    <a:pt x="1411" y="627"/>
                    <a:pt x="1411" y="627"/>
                    <a:pt x="1411" y="627"/>
                  </a:cubicBezTo>
                  <a:cubicBezTo>
                    <a:pt x="1284" y="627"/>
                    <a:pt x="1284" y="627"/>
                    <a:pt x="1284" y="627"/>
                  </a:cubicBezTo>
                  <a:cubicBezTo>
                    <a:pt x="1262" y="627"/>
                    <a:pt x="1244" y="645"/>
                    <a:pt x="1244" y="667"/>
                  </a:cubicBezTo>
                  <a:cubicBezTo>
                    <a:pt x="1244" y="689"/>
                    <a:pt x="1262" y="707"/>
                    <a:pt x="1284" y="707"/>
                  </a:cubicBezTo>
                  <a:cubicBezTo>
                    <a:pt x="1411" y="707"/>
                    <a:pt x="1411" y="707"/>
                    <a:pt x="1411" y="707"/>
                  </a:cubicBezTo>
                  <a:cubicBezTo>
                    <a:pt x="1411" y="846"/>
                    <a:pt x="1411" y="846"/>
                    <a:pt x="1411" y="846"/>
                  </a:cubicBezTo>
                  <a:cubicBezTo>
                    <a:pt x="1411" y="846"/>
                    <a:pt x="1411" y="846"/>
                    <a:pt x="1411" y="846"/>
                  </a:cubicBezTo>
                  <a:cubicBezTo>
                    <a:pt x="1319" y="846"/>
                    <a:pt x="1319" y="846"/>
                    <a:pt x="1319" y="846"/>
                  </a:cubicBezTo>
                  <a:cubicBezTo>
                    <a:pt x="1297" y="846"/>
                    <a:pt x="1279" y="864"/>
                    <a:pt x="1279" y="886"/>
                  </a:cubicBezTo>
                  <a:cubicBezTo>
                    <a:pt x="1279" y="908"/>
                    <a:pt x="1297" y="926"/>
                    <a:pt x="1319" y="926"/>
                  </a:cubicBezTo>
                  <a:cubicBezTo>
                    <a:pt x="1411" y="926"/>
                    <a:pt x="1411" y="926"/>
                    <a:pt x="1411" y="926"/>
                  </a:cubicBezTo>
                  <a:cubicBezTo>
                    <a:pt x="1411" y="1065"/>
                    <a:pt x="1411" y="1065"/>
                    <a:pt x="1411" y="1065"/>
                  </a:cubicBezTo>
                  <a:cubicBezTo>
                    <a:pt x="1284" y="1065"/>
                    <a:pt x="1284" y="1065"/>
                    <a:pt x="1284" y="1065"/>
                  </a:cubicBezTo>
                  <a:cubicBezTo>
                    <a:pt x="1262" y="1065"/>
                    <a:pt x="1244" y="1083"/>
                    <a:pt x="1244" y="1105"/>
                  </a:cubicBezTo>
                  <a:cubicBezTo>
                    <a:pt x="1244" y="1127"/>
                    <a:pt x="1262" y="1145"/>
                    <a:pt x="1284" y="1145"/>
                  </a:cubicBezTo>
                  <a:cubicBezTo>
                    <a:pt x="1411" y="1145"/>
                    <a:pt x="1411" y="1145"/>
                    <a:pt x="1411" y="1145"/>
                  </a:cubicBezTo>
                  <a:cubicBezTo>
                    <a:pt x="1411" y="1284"/>
                    <a:pt x="1411" y="1284"/>
                    <a:pt x="1411" y="1284"/>
                  </a:cubicBezTo>
                  <a:cubicBezTo>
                    <a:pt x="1319" y="1284"/>
                    <a:pt x="1319" y="1284"/>
                    <a:pt x="1319" y="1284"/>
                  </a:cubicBezTo>
                  <a:cubicBezTo>
                    <a:pt x="1297" y="1284"/>
                    <a:pt x="1279" y="1302"/>
                    <a:pt x="1279" y="1324"/>
                  </a:cubicBezTo>
                  <a:cubicBezTo>
                    <a:pt x="1279" y="1346"/>
                    <a:pt x="1297" y="1364"/>
                    <a:pt x="1319" y="1364"/>
                  </a:cubicBezTo>
                  <a:cubicBezTo>
                    <a:pt x="1411" y="1364"/>
                    <a:pt x="1411" y="1364"/>
                    <a:pt x="1411" y="1364"/>
                  </a:cubicBezTo>
                  <a:cubicBezTo>
                    <a:pt x="1411" y="1440"/>
                    <a:pt x="1411" y="1440"/>
                    <a:pt x="1411" y="1440"/>
                  </a:cubicBezTo>
                  <a:cubicBezTo>
                    <a:pt x="1153" y="1440"/>
                    <a:pt x="1153" y="1440"/>
                    <a:pt x="1153" y="1440"/>
                  </a:cubicBezTo>
                  <a:cubicBezTo>
                    <a:pt x="1153" y="1440"/>
                    <a:pt x="1153" y="1440"/>
                    <a:pt x="1153" y="1440"/>
                  </a:cubicBezTo>
                  <a:cubicBezTo>
                    <a:pt x="1153" y="80"/>
                    <a:pt x="1153" y="80"/>
                    <a:pt x="1153" y="80"/>
                  </a:cubicBezTo>
                  <a:close/>
                  <a:moveTo>
                    <a:pt x="1027" y="1440"/>
                  </a:moveTo>
                  <a:cubicBezTo>
                    <a:pt x="1027" y="579"/>
                    <a:pt x="1027" y="579"/>
                    <a:pt x="1027" y="579"/>
                  </a:cubicBezTo>
                  <a:cubicBezTo>
                    <a:pt x="1042" y="579"/>
                    <a:pt x="1058" y="580"/>
                    <a:pt x="1073" y="582"/>
                  </a:cubicBezTo>
                  <a:cubicBezTo>
                    <a:pt x="1073" y="1440"/>
                    <a:pt x="1073" y="1440"/>
                    <a:pt x="1073" y="1440"/>
                  </a:cubicBezTo>
                  <a:cubicBezTo>
                    <a:pt x="1027" y="1440"/>
                    <a:pt x="1027" y="1440"/>
                    <a:pt x="1027" y="1440"/>
                  </a:cubicBezTo>
                  <a:close/>
                  <a:moveTo>
                    <a:pt x="907" y="1440"/>
                  </a:moveTo>
                  <a:cubicBezTo>
                    <a:pt x="907" y="357"/>
                    <a:pt x="907" y="357"/>
                    <a:pt x="907" y="357"/>
                  </a:cubicBezTo>
                  <a:cubicBezTo>
                    <a:pt x="947" y="357"/>
                    <a:pt x="947" y="357"/>
                    <a:pt x="947" y="357"/>
                  </a:cubicBezTo>
                  <a:cubicBezTo>
                    <a:pt x="947" y="357"/>
                    <a:pt x="947" y="357"/>
                    <a:pt x="947" y="357"/>
                  </a:cubicBezTo>
                  <a:cubicBezTo>
                    <a:pt x="947" y="1440"/>
                    <a:pt x="947" y="1440"/>
                    <a:pt x="947" y="1440"/>
                  </a:cubicBezTo>
                  <a:lnTo>
                    <a:pt x="907" y="1440"/>
                  </a:lnTo>
                  <a:close/>
                  <a:moveTo>
                    <a:pt x="717" y="590"/>
                  </a:moveTo>
                  <a:cubicBezTo>
                    <a:pt x="695" y="590"/>
                    <a:pt x="677" y="608"/>
                    <a:pt x="677" y="630"/>
                  </a:cubicBezTo>
                  <a:cubicBezTo>
                    <a:pt x="677" y="1440"/>
                    <a:pt x="677" y="1440"/>
                    <a:pt x="677" y="1440"/>
                  </a:cubicBezTo>
                  <a:cubicBezTo>
                    <a:pt x="637" y="1440"/>
                    <a:pt x="637" y="1440"/>
                    <a:pt x="637" y="1440"/>
                  </a:cubicBezTo>
                  <a:cubicBezTo>
                    <a:pt x="637" y="809"/>
                    <a:pt x="637" y="809"/>
                    <a:pt x="637" y="809"/>
                  </a:cubicBezTo>
                  <a:cubicBezTo>
                    <a:pt x="637" y="357"/>
                    <a:pt x="637" y="357"/>
                    <a:pt x="637" y="357"/>
                  </a:cubicBezTo>
                  <a:cubicBezTo>
                    <a:pt x="827" y="357"/>
                    <a:pt x="827" y="357"/>
                    <a:pt x="827" y="357"/>
                  </a:cubicBezTo>
                  <a:cubicBezTo>
                    <a:pt x="827" y="1440"/>
                    <a:pt x="827" y="1440"/>
                    <a:pt x="827" y="1440"/>
                  </a:cubicBezTo>
                  <a:cubicBezTo>
                    <a:pt x="757" y="1440"/>
                    <a:pt x="757" y="1440"/>
                    <a:pt x="757" y="1440"/>
                  </a:cubicBezTo>
                  <a:cubicBezTo>
                    <a:pt x="757" y="630"/>
                    <a:pt x="757" y="630"/>
                    <a:pt x="757" y="630"/>
                  </a:cubicBezTo>
                  <a:cubicBezTo>
                    <a:pt x="757" y="608"/>
                    <a:pt x="739" y="590"/>
                    <a:pt x="717" y="590"/>
                  </a:cubicBezTo>
                  <a:close/>
                  <a:moveTo>
                    <a:pt x="202" y="1440"/>
                  </a:moveTo>
                  <a:cubicBezTo>
                    <a:pt x="200" y="1430"/>
                    <a:pt x="198" y="1420"/>
                    <a:pt x="198" y="1409"/>
                  </a:cubicBezTo>
                  <a:cubicBezTo>
                    <a:pt x="198" y="1334"/>
                    <a:pt x="256" y="1272"/>
                    <a:pt x="330" y="1267"/>
                  </a:cubicBezTo>
                  <a:cubicBezTo>
                    <a:pt x="345" y="1266"/>
                    <a:pt x="358" y="1257"/>
                    <a:pt x="364" y="1244"/>
                  </a:cubicBezTo>
                  <a:cubicBezTo>
                    <a:pt x="370" y="1231"/>
                    <a:pt x="369" y="1215"/>
                    <a:pt x="360" y="1203"/>
                  </a:cubicBezTo>
                  <a:cubicBezTo>
                    <a:pt x="332" y="1165"/>
                    <a:pt x="317" y="1119"/>
                    <a:pt x="317" y="1071"/>
                  </a:cubicBezTo>
                  <a:cubicBezTo>
                    <a:pt x="317" y="945"/>
                    <a:pt x="419" y="843"/>
                    <a:pt x="545" y="843"/>
                  </a:cubicBezTo>
                  <a:cubicBezTo>
                    <a:pt x="549" y="843"/>
                    <a:pt x="553" y="844"/>
                    <a:pt x="557" y="844"/>
                  </a:cubicBezTo>
                  <a:cubicBezTo>
                    <a:pt x="557" y="1440"/>
                    <a:pt x="557" y="1440"/>
                    <a:pt x="557" y="1440"/>
                  </a:cubicBezTo>
                  <a:cubicBezTo>
                    <a:pt x="202" y="1440"/>
                    <a:pt x="202" y="1440"/>
                    <a:pt x="202" y="1440"/>
                  </a:cubicBezTo>
                  <a:close/>
                  <a:moveTo>
                    <a:pt x="1073" y="502"/>
                  </a:moveTo>
                  <a:cubicBezTo>
                    <a:pt x="1058" y="500"/>
                    <a:pt x="1042" y="499"/>
                    <a:pt x="1027" y="499"/>
                  </a:cubicBezTo>
                  <a:cubicBezTo>
                    <a:pt x="1027" y="326"/>
                    <a:pt x="1027" y="326"/>
                    <a:pt x="1027" y="326"/>
                  </a:cubicBezTo>
                  <a:cubicBezTo>
                    <a:pt x="1073" y="326"/>
                    <a:pt x="1073" y="326"/>
                    <a:pt x="1073" y="326"/>
                  </a:cubicBezTo>
                  <a:lnTo>
                    <a:pt x="1073" y="502"/>
                  </a:lnTo>
                  <a:close/>
                  <a:moveTo>
                    <a:pt x="792" y="108"/>
                  </a:moveTo>
                  <a:cubicBezTo>
                    <a:pt x="914" y="277"/>
                    <a:pt x="914" y="277"/>
                    <a:pt x="914" y="277"/>
                  </a:cubicBezTo>
                  <a:cubicBezTo>
                    <a:pt x="670" y="277"/>
                    <a:pt x="670" y="277"/>
                    <a:pt x="670" y="277"/>
                  </a:cubicBezTo>
                  <a:lnTo>
                    <a:pt x="792" y="108"/>
                  </a:lnTo>
                  <a:close/>
                  <a:moveTo>
                    <a:pt x="80" y="380"/>
                  </a:moveTo>
                  <a:cubicBezTo>
                    <a:pt x="80" y="351"/>
                    <a:pt x="104" y="326"/>
                    <a:pt x="134" y="326"/>
                  </a:cubicBezTo>
                  <a:cubicBezTo>
                    <a:pt x="557" y="326"/>
                    <a:pt x="557" y="326"/>
                    <a:pt x="557" y="326"/>
                  </a:cubicBezTo>
                  <a:cubicBezTo>
                    <a:pt x="557" y="764"/>
                    <a:pt x="557" y="764"/>
                    <a:pt x="557" y="764"/>
                  </a:cubicBezTo>
                  <a:cubicBezTo>
                    <a:pt x="553" y="764"/>
                    <a:pt x="549" y="763"/>
                    <a:pt x="545" y="763"/>
                  </a:cubicBezTo>
                  <a:cubicBezTo>
                    <a:pt x="375" y="763"/>
                    <a:pt x="237" y="901"/>
                    <a:pt x="237" y="1071"/>
                  </a:cubicBezTo>
                  <a:cubicBezTo>
                    <a:pt x="237" y="1116"/>
                    <a:pt x="247" y="1159"/>
                    <a:pt x="265" y="1200"/>
                  </a:cubicBezTo>
                  <a:cubicBezTo>
                    <a:pt x="180" y="1231"/>
                    <a:pt x="118" y="1313"/>
                    <a:pt x="118" y="1409"/>
                  </a:cubicBezTo>
                  <a:cubicBezTo>
                    <a:pt x="118" y="1419"/>
                    <a:pt x="119" y="1430"/>
                    <a:pt x="121" y="1440"/>
                  </a:cubicBezTo>
                  <a:cubicBezTo>
                    <a:pt x="80" y="1440"/>
                    <a:pt x="80" y="1440"/>
                    <a:pt x="80" y="1440"/>
                  </a:cubicBezTo>
                  <a:lnTo>
                    <a:pt x="80" y="380"/>
                  </a:lnTo>
                  <a:close/>
                  <a:moveTo>
                    <a:pt x="1968" y="1520"/>
                  </a:moveTo>
                  <a:cubicBezTo>
                    <a:pt x="1968" y="1690"/>
                    <a:pt x="1968" y="1690"/>
                    <a:pt x="1968" y="1690"/>
                  </a:cubicBezTo>
                  <a:cubicBezTo>
                    <a:pt x="1968" y="1720"/>
                    <a:pt x="1944" y="1744"/>
                    <a:pt x="1914" y="1744"/>
                  </a:cubicBezTo>
                  <a:cubicBezTo>
                    <a:pt x="134" y="1744"/>
                    <a:pt x="134" y="1744"/>
                    <a:pt x="134" y="1744"/>
                  </a:cubicBezTo>
                  <a:cubicBezTo>
                    <a:pt x="104" y="1744"/>
                    <a:pt x="80" y="1720"/>
                    <a:pt x="80" y="1690"/>
                  </a:cubicBezTo>
                  <a:cubicBezTo>
                    <a:pt x="80" y="1520"/>
                    <a:pt x="80" y="1520"/>
                    <a:pt x="80" y="1520"/>
                  </a:cubicBezTo>
                  <a:cubicBezTo>
                    <a:pt x="1968" y="1520"/>
                    <a:pt x="1968" y="1520"/>
                    <a:pt x="1968" y="15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83"/>
            <p:cNvSpPr>
              <a:spLocks/>
            </p:cNvSpPr>
            <p:nvPr/>
          </p:nvSpPr>
          <p:spPr bwMode="auto">
            <a:xfrm>
              <a:off x="6402" y="6330"/>
              <a:ext cx="152" cy="151"/>
            </a:xfrm>
            <a:custGeom>
              <a:avLst/>
              <a:gdLst>
                <a:gd name="T0" fmla="*/ 32 w 80"/>
                <a:gd name="T1" fmla="*/ 1 h 80"/>
                <a:gd name="T2" fmla="*/ 24 w 80"/>
                <a:gd name="T3" fmla="*/ 3 h 80"/>
                <a:gd name="T4" fmla="*/ 17 w 80"/>
                <a:gd name="T5" fmla="*/ 7 h 80"/>
                <a:gd name="T6" fmla="*/ 11 w 80"/>
                <a:gd name="T7" fmla="*/ 12 h 80"/>
                <a:gd name="T8" fmla="*/ 6 w 80"/>
                <a:gd name="T9" fmla="*/ 18 h 80"/>
                <a:gd name="T10" fmla="*/ 3 w 80"/>
                <a:gd name="T11" fmla="*/ 25 h 80"/>
                <a:gd name="T12" fmla="*/ 0 w 80"/>
                <a:gd name="T13" fmla="*/ 32 h 80"/>
                <a:gd name="T14" fmla="*/ 0 w 80"/>
                <a:gd name="T15" fmla="*/ 40 h 80"/>
                <a:gd name="T16" fmla="*/ 0 w 80"/>
                <a:gd name="T17" fmla="*/ 48 h 80"/>
                <a:gd name="T18" fmla="*/ 3 w 80"/>
                <a:gd name="T19" fmla="*/ 55 h 80"/>
                <a:gd name="T20" fmla="*/ 6 w 80"/>
                <a:gd name="T21" fmla="*/ 62 h 80"/>
                <a:gd name="T22" fmla="*/ 11 w 80"/>
                <a:gd name="T23" fmla="*/ 68 h 80"/>
                <a:gd name="T24" fmla="*/ 17 w 80"/>
                <a:gd name="T25" fmla="*/ 73 h 80"/>
                <a:gd name="T26" fmla="*/ 24 w 80"/>
                <a:gd name="T27" fmla="*/ 77 h 80"/>
                <a:gd name="T28" fmla="*/ 32 w 80"/>
                <a:gd name="T29" fmla="*/ 79 h 80"/>
                <a:gd name="T30" fmla="*/ 40 w 80"/>
                <a:gd name="T31" fmla="*/ 80 h 80"/>
                <a:gd name="T32" fmla="*/ 47 w 80"/>
                <a:gd name="T33" fmla="*/ 79 h 80"/>
                <a:gd name="T34" fmla="*/ 55 w 80"/>
                <a:gd name="T35" fmla="*/ 77 h 80"/>
                <a:gd name="T36" fmla="*/ 62 w 80"/>
                <a:gd name="T37" fmla="*/ 73 h 80"/>
                <a:gd name="T38" fmla="*/ 68 w 80"/>
                <a:gd name="T39" fmla="*/ 68 h 80"/>
                <a:gd name="T40" fmla="*/ 73 w 80"/>
                <a:gd name="T41" fmla="*/ 62 h 80"/>
                <a:gd name="T42" fmla="*/ 77 w 80"/>
                <a:gd name="T43" fmla="*/ 55 h 80"/>
                <a:gd name="T44" fmla="*/ 79 w 80"/>
                <a:gd name="T45" fmla="*/ 48 h 80"/>
                <a:gd name="T46" fmla="*/ 80 w 80"/>
                <a:gd name="T47" fmla="*/ 40 h 80"/>
                <a:gd name="T48" fmla="*/ 79 w 80"/>
                <a:gd name="T49" fmla="*/ 32 h 80"/>
                <a:gd name="T50" fmla="*/ 77 w 80"/>
                <a:gd name="T51" fmla="*/ 25 h 80"/>
                <a:gd name="T52" fmla="*/ 73 w 80"/>
                <a:gd name="T53" fmla="*/ 18 h 80"/>
                <a:gd name="T54" fmla="*/ 68 w 80"/>
                <a:gd name="T55" fmla="*/ 12 h 80"/>
                <a:gd name="T56" fmla="*/ 62 w 80"/>
                <a:gd name="T57" fmla="*/ 7 h 80"/>
                <a:gd name="T58" fmla="*/ 55 w 80"/>
                <a:gd name="T59" fmla="*/ 3 h 80"/>
                <a:gd name="T60" fmla="*/ 47 w 80"/>
                <a:gd name="T61" fmla="*/ 1 h 80"/>
                <a:gd name="T62" fmla="*/ 32 w 80"/>
                <a:gd name="T63" fmla="*/ 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 h="80">
                  <a:moveTo>
                    <a:pt x="32" y="1"/>
                  </a:moveTo>
                  <a:cubicBezTo>
                    <a:pt x="29" y="1"/>
                    <a:pt x="27" y="2"/>
                    <a:pt x="24" y="3"/>
                  </a:cubicBezTo>
                  <a:cubicBezTo>
                    <a:pt x="22" y="4"/>
                    <a:pt x="20" y="5"/>
                    <a:pt x="17" y="7"/>
                  </a:cubicBezTo>
                  <a:cubicBezTo>
                    <a:pt x="15" y="8"/>
                    <a:pt x="13" y="10"/>
                    <a:pt x="11" y="12"/>
                  </a:cubicBezTo>
                  <a:cubicBezTo>
                    <a:pt x="9" y="13"/>
                    <a:pt x="8" y="15"/>
                    <a:pt x="6" y="18"/>
                  </a:cubicBezTo>
                  <a:cubicBezTo>
                    <a:pt x="5" y="20"/>
                    <a:pt x="4" y="22"/>
                    <a:pt x="3" y="25"/>
                  </a:cubicBezTo>
                  <a:cubicBezTo>
                    <a:pt x="2" y="27"/>
                    <a:pt x="1" y="29"/>
                    <a:pt x="0" y="32"/>
                  </a:cubicBezTo>
                  <a:cubicBezTo>
                    <a:pt x="0" y="35"/>
                    <a:pt x="0" y="37"/>
                    <a:pt x="0" y="40"/>
                  </a:cubicBezTo>
                  <a:cubicBezTo>
                    <a:pt x="0" y="42"/>
                    <a:pt x="0" y="45"/>
                    <a:pt x="0" y="48"/>
                  </a:cubicBezTo>
                  <a:cubicBezTo>
                    <a:pt x="1" y="50"/>
                    <a:pt x="2" y="53"/>
                    <a:pt x="3" y="55"/>
                  </a:cubicBezTo>
                  <a:cubicBezTo>
                    <a:pt x="4" y="58"/>
                    <a:pt x="5" y="60"/>
                    <a:pt x="6" y="62"/>
                  </a:cubicBezTo>
                  <a:cubicBezTo>
                    <a:pt x="8" y="64"/>
                    <a:pt x="9" y="66"/>
                    <a:pt x="11" y="68"/>
                  </a:cubicBezTo>
                  <a:cubicBezTo>
                    <a:pt x="13" y="70"/>
                    <a:pt x="15" y="72"/>
                    <a:pt x="17" y="73"/>
                  </a:cubicBezTo>
                  <a:cubicBezTo>
                    <a:pt x="20" y="75"/>
                    <a:pt x="22" y="76"/>
                    <a:pt x="24" y="77"/>
                  </a:cubicBezTo>
                  <a:cubicBezTo>
                    <a:pt x="27" y="78"/>
                    <a:pt x="29" y="79"/>
                    <a:pt x="32" y="79"/>
                  </a:cubicBezTo>
                  <a:cubicBezTo>
                    <a:pt x="34" y="80"/>
                    <a:pt x="37" y="80"/>
                    <a:pt x="40" y="80"/>
                  </a:cubicBezTo>
                  <a:cubicBezTo>
                    <a:pt x="42" y="80"/>
                    <a:pt x="45" y="80"/>
                    <a:pt x="47" y="79"/>
                  </a:cubicBezTo>
                  <a:cubicBezTo>
                    <a:pt x="50" y="79"/>
                    <a:pt x="53" y="78"/>
                    <a:pt x="55" y="77"/>
                  </a:cubicBezTo>
                  <a:cubicBezTo>
                    <a:pt x="57" y="76"/>
                    <a:pt x="60" y="75"/>
                    <a:pt x="62" y="73"/>
                  </a:cubicBezTo>
                  <a:cubicBezTo>
                    <a:pt x="64" y="72"/>
                    <a:pt x="66" y="70"/>
                    <a:pt x="68" y="68"/>
                  </a:cubicBezTo>
                  <a:cubicBezTo>
                    <a:pt x="70" y="66"/>
                    <a:pt x="71" y="64"/>
                    <a:pt x="73" y="62"/>
                  </a:cubicBezTo>
                  <a:cubicBezTo>
                    <a:pt x="74" y="60"/>
                    <a:pt x="76" y="58"/>
                    <a:pt x="77" y="55"/>
                  </a:cubicBezTo>
                  <a:cubicBezTo>
                    <a:pt x="78" y="53"/>
                    <a:pt x="78" y="50"/>
                    <a:pt x="79" y="48"/>
                  </a:cubicBezTo>
                  <a:cubicBezTo>
                    <a:pt x="79" y="45"/>
                    <a:pt x="80" y="42"/>
                    <a:pt x="80" y="40"/>
                  </a:cubicBezTo>
                  <a:cubicBezTo>
                    <a:pt x="80" y="37"/>
                    <a:pt x="79" y="35"/>
                    <a:pt x="79" y="32"/>
                  </a:cubicBezTo>
                  <a:cubicBezTo>
                    <a:pt x="78" y="29"/>
                    <a:pt x="78" y="27"/>
                    <a:pt x="77" y="25"/>
                  </a:cubicBezTo>
                  <a:cubicBezTo>
                    <a:pt x="76" y="22"/>
                    <a:pt x="74" y="20"/>
                    <a:pt x="73" y="18"/>
                  </a:cubicBezTo>
                  <a:cubicBezTo>
                    <a:pt x="71" y="15"/>
                    <a:pt x="70" y="13"/>
                    <a:pt x="68" y="12"/>
                  </a:cubicBezTo>
                  <a:cubicBezTo>
                    <a:pt x="66" y="10"/>
                    <a:pt x="64" y="8"/>
                    <a:pt x="62" y="7"/>
                  </a:cubicBezTo>
                  <a:cubicBezTo>
                    <a:pt x="60" y="5"/>
                    <a:pt x="57" y="4"/>
                    <a:pt x="55" y="3"/>
                  </a:cubicBezTo>
                  <a:cubicBezTo>
                    <a:pt x="53" y="2"/>
                    <a:pt x="50" y="1"/>
                    <a:pt x="47" y="1"/>
                  </a:cubicBezTo>
                  <a:cubicBezTo>
                    <a:pt x="42" y="0"/>
                    <a:pt x="37" y="0"/>
                    <a:pt x="3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84"/>
            <p:cNvSpPr>
              <a:spLocks/>
            </p:cNvSpPr>
            <p:nvPr/>
          </p:nvSpPr>
          <p:spPr bwMode="auto">
            <a:xfrm>
              <a:off x="3263" y="6330"/>
              <a:ext cx="3001" cy="151"/>
            </a:xfrm>
            <a:custGeom>
              <a:avLst/>
              <a:gdLst>
                <a:gd name="T0" fmla="*/ 1546 w 1586"/>
                <a:gd name="T1" fmla="*/ 0 h 80"/>
                <a:gd name="T2" fmla="*/ 40 w 1586"/>
                <a:gd name="T3" fmla="*/ 0 h 80"/>
                <a:gd name="T4" fmla="*/ 0 w 1586"/>
                <a:gd name="T5" fmla="*/ 40 h 80"/>
                <a:gd name="T6" fmla="*/ 40 w 1586"/>
                <a:gd name="T7" fmla="*/ 80 h 80"/>
                <a:gd name="T8" fmla="*/ 1546 w 1586"/>
                <a:gd name="T9" fmla="*/ 80 h 80"/>
                <a:gd name="T10" fmla="*/ 1586 w 1586"/>
                <a:gd name="T11" fmla="*/ 40 h 80"/>
                <a:gd name="T12" fmla="*/ 1546 w 1586"/>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586" h="80">
                  <a:moveTo>
                    <a:pt x="1546" y="0"/>
                  </a:moveTo>
                  <a:cubicBezTo>
                    <a:pt x="40" y="0"/>
                    <a:pt x="40" y="0"/>
                    <a:pt x="40" y="0"/>
                  </a:cubicBezTo>
                  <a:cubicBezTo>
                    <a:pt x="18" y="0"/>
                    <a:pt x="0" y="18"/>
                    <a:pt x="0" y="40"/>
                  </a:cubicBezTo>
                  <a:cubicBezTo>
                    <a:pt x="0" y="62"/>
                    <a:pt x="18" y="80"/>
                    <a:pt x="40" y="80"/>
                  </a:cubicBezTo>
                  <a:cubicBezTo>
                    <a:pt x="1546" y="80"/>
                    <a:pt x="1546" y="80"/>
                    <a:pt x="1546" y="80"/>
                  </a:cubicBezTo>
                  <a:cubicBezTo>
                    <a:pt x="1569" y="80"/>
                    <a:pt x="1586" y="62"/>
                    <a:pt x="1586" y="40"/>
                  </a:cubicBezTo>
                  <a:cubicBezTo>
                    <a:pt x="1586" y="18"/>
                    <a:pt x="1569" y="0"/>
                    <a:pt x="15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2" name="Group 509"/>
          <p:cNvGrpSpPr>
            <a:grpSpLocks noChangeAspect="1"/>
          </p:cNvGrpSpPr>
          <p:nvPr/>
        </p:nvGrpSpPr>
        <p:grpSpPr bwMode="auto">
          <a:xfrm>
            <a:off x="1034335" y="4107973"/>
            <a:ext cx="459263" cy="457200"/>
            <a:chOff x="3514" y="2016"/>
            <a:chExt cx="3117" cy="3103"/>
          </a:xfrm>
          <a:solidFill>
            <a:schemeClr val="accent1"/>
          </a:solidFill>
        </p:grpSpPr>
        <p:sp>
          <p:nvSpPr>
            <p:cNvPr id="514" name="Freeform 510"/>
            <p:cNvSpPr>
              <a:spLocks noEditPoints="1"/>
            </p:cNvSpPr>
            <p:nvPr/>
          </p:nvSpPr>
          <p:spPr bwMode="auto">
            <a:xfrm>
              <a:off x="5584" y="3779"/>
              <a:ext cx="441" cy="363"/>
            </a:xfrm>
            <a:custGeom>
              <a:avLst/>
              <a:gdLst>
                <a:gd name="T0" fmla="*/ 223 w 233"/>
                <a:gd name="T1" fmla="*/ 142 h 192"/>
                <a:gd name="T2" fmla="*/ 146 w 233"/>
                <a:gd name="T3" fmla="*/ 26 h 192"/>
                <a:gd name="T4" fmla="*/ 97 w 233"/>
                <a:gd name="T5" fmla="*/ 0 h 192"/>
                <a:gd name="T6" fmla="*/ 48 w 233"/>
                <a:gd name="T7" fmla="*/ 26 h 192"/>
                <a:gd name="T8" fmla="*/ 10 w 233"/>
                <a:gd name="T9" fmla="*/ 83 h 192"/>
                <a:gd name="T10" fmla="*/ 19 w 233"/>
                <a:gd name="T11" fmla="*/ 127 h 192"/>
                <a:gd name="T12" fmla="*/ 63 w 233"/>
                <a:gd name="T13" fmla="*/ 118 h 192"/>
                <a:gd name="T14" fmla="*/ 97 w 233"/>
                <a:gd name="T15" fmla="*/ 68 h 192"/>
                <a:gd name="T16" fmla="*/ 170 w 233"/>
                <a:gd name="T17" fmla="*/ 178 h 192"/>
                <a:gd name="T18" fmla="*/ 197 w 233"/>
                <a:gd name="T19" fmla="*/ 192 h 192"/>
                <a:gd name="T20" fmla="*/ 215 w 233"/>
                <a:gd name="T21" fmla="*/ 186 h 192"/>
                <a:gd name="T22" fmla="*/ 223 w 233"/>
                <a:gd name="T23" fmla="*/ 142 h 192"/>
                <a:gd name="T24" fmla="*/ 223 w 233"/>
                <a:gd name="T25" fmla="*/ 142 h 192"/>
                <a:gd name="T26" fmla="*/ 223 w 233"/>
                <a:gd name="T27" fmla="*/ 1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3" h="192">
                  <a:moveTo>
                    <a:pt x="223" y="142"/>
                  </a:moveTo>
                  <a:cubicBezTo>
                    <a:pt x="146" y="26"/>
                    <a:pt x="146" y="26"/>
                    <a:pt x="146" y="26"/>
                  </a:cubicBezTo>
                  <a:cubicBezTo>
                    <a:pt x="135" y="9"/>
                    <a:pt x="117" y="0"/>
                    <a:pt x="97" y="0"/>
                  </a:cubicBezTo>
                  <a:cubicBezTo>
                    <a:pt x="77" y="0"/>
                    <a:pt x="59" y="9"/>
                    <a:pt x="48" y="26"/>
                  </a:cubicBezTo>
                  <a:cubicBezTo>
                    <a:pt x="10" y="83"/>
                    <a:pt x="10" y="83"/>
                    <a:pt x="10" y="83"/>
                  </a:cubicBezTo>
                  <a:cubicBezTo>
                    <a:pt x="0" y="97"/>
                    <a:pt x="4" y="117"/>
                    <a:pt x="19" y="127"/>
                  </a:cubicBezTo>
                  <a:cubicBezTo>
                    <a:pt x="34" y="137"/>
                    <a:pt x="54" y="133"/>
                    <a:pt x="63" y="118"/>
                  </a:cubicBezTo>
                  <a:cubicBezTo>
                    <a:pt x="97" y="68"/>
                    <a:pt x="97" y="68"/>
                    <a:pt x="97" y="68"/>
                  </a:cubicBezTo>
                  <a:cubicBezTo>
                    <a:pt x="170" y="178"/>
                    <a:pt x="170" y="178"/>
                    <a:pt x="170" y="178"/>
                  </a:cubicBezTo>
                  <a:cubicBezTo>
                    <a:pt x="176" y="187"/>
                    <a:pt x="187" y="192"/>
                    <a:pt x="197" y="192"/>
                  </a:cubicBezTo>
                  <a:cubicBezTo>
                    <a:pt x="203" y="192"/>
                    <a:pt x="209" y="190"/>
                    <a:pt x="215" y="186"/>
                  </a:cubicBezTo>
                  <a:cubicBezTo>
                    <a:pt x="229" y="177"/>
                    <a:pt x="233" y="157"/>
                    <a:pt x="223" y="142"/>
                  </a:cubicBezTo>
                  <a:close/>
                  <a:moveTo>
                    <a:pt x="223" y="142"/>
                  </a:moveTo>
                  <a:cubicBezTo>
                    <a:pt x="223" y="142"/>
                    <a:pt x="223" y="142"/>
                    <a:pt x="223"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511"/>
            <p:cNvSpPr>
              <a:spLocks noEditPoints="1"/>
            </p:cNvSpPr>
            <p:nvPr/>
          </p:nvSpPr>
          <p:spPr bwMode="auto">
            <a:xfrm>
              <a:off x="6025" y="4214"/>
              <a:ext cx="121" cy="122"/>
            </a:xfrm>
            <a:custGeom>
              <a:avLst/>
              <a:gdLst>
                <a:gd name="T0" fmla="*/ 55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4"/>
                    <a:pt x="0" y="32"/>
                  </a:cubicBezTo>
                  <a:cubicBezTo>
                    <a:pt x="0" y="40"/>
                    <a:pt x="3" y="49"/>
                    <a:pt x="9" y="55"/>
                  </a:cubicBezTo>
                  <a:cubicBezTo>
                    <a:pt x="15" y="61"/>
                    <a:pt x="24" y="64"/>
                    <a:pt x="32" y="64"/>
                  </a:cubicBezTo>
                  <a:cubicBezTo>
                    <a:pt x="40"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512"/>
            <p:cNvSpPr>
              <a:spLocks noEditPoints="1"/>
            </p:cNvSpPr>
            <p:nvPr/>
          </p:nvSpPr>
          <p:spPr bwMode="auto">
            <a:xfrm>
              <a:off x="3514" y="2016"/>
              <a:ext cx="3117" cy="3103"/>
            </a:xfrm>
            <a:custGeom>
              <a:avLst/>
              <a:gdLst>
                <a:gd name="T0" fmla="*/ 1452 w 1646"/>
                <a:gd name="T1" fmla="*/ 1276 h 1639"/>
                <a:gd name="T2" fmla="*/ 1399 w 1646"/>
                <a:gd name="T3" fmla="*/ 1312 h 1639"/>
                <a:gd name="T4" fmla="*/ 1357 w 1646"/>
                <a:gd name="T5" fmla="*/ 1575 h 1639"/>
                <a:gd name="T6" fmla="*/ 702 w 1646"/>
                <a:gd name="T7" fmla="*/ 608 h 1639"/>
                <a:gd name="T8" fmla="*/ 1406 w 1646"/>
                <a:gd name="T9" fmla="*/ 525 h 1639"/>
                <a:gd name="T10" fmla="*/ 1436 w 1646"/>
                <a:gd name="T11" fmla="*/ 482 h 1639"/>
                <a:gd name="T12" fmla="*/ 1436 w 1646"/>
                <a:gd name="T13" fmla="*/ 43 h 1639"/>
                <a:gd name="T14" fmla="*/ 1406 w 1646"/>
                <a:gd name="T15" fmla="*/ 0 h 1639"/>
                <a:gd name="T16" fmla="*/ 638 w 1646"/>
                <a:gd name="T17" fmla="*/ 32 h 1639"/>
                <a:gd name="T18" fmla="*/ 638 w 1646"/>
                <a:gd name="T19" fmla="*/ 613 h 1639"/>
                <a:gd name="T20" fmla="*/ 15 w 1646"/>
                <a:gd name="T21" fmla="*/ 1539 h 1639"/>
                <a:gd name="T22" fmla="*/ 68 w 1646"/>
                <a:gd name="T23" fmla="*/ 1639 h 1639"/>
                <a:gd name="T24" fmla="*/ 1635 w 1646"/>
                <a:gd name="T25" fmla="*/ 1608 h 1639"/>
                <a:gd name="T26" fmla="*/ 1153 w 1646"/>
                <a:gd name="T27" fmla="*/ 461 h 1639"/>
                <a:gd name="T28" fmla="*/ 884 w 1646"/>
                <a:gd name="T29" fmla="*/ 453 h 1639"/>
                <a:gd name="T30" fmla="*/ 1057 w 1646"/>
                <a:gd name="T31" fmla="*/ 356 h 1639"/>
                <a:gd name="T32" fmla="*/ 1153 w 1646"/>
                <a:gd name="T33" fmla="*/ 461 h 1639"/>
                <a:gd name="T34" fmla="*/ 980 w 1646"/>
                <a:gd name="T35" fmla="*/ 241 h 1639"/>
                <a:gd name="T36" fmla="*/ 1057 w 1646"/>
                <a:gd name="T37" fmla="*/ 241 h 1639"/>
                <a:gd name="T38" fmla="*/ 1019 w 1646"/>
                <a:gd name="T39" fmla="*/ 292 h 1639"/>
                <a:gd name="T40" fmla="*/ 702 w 1646"/>
                <a:gd name="T41" fmla="*/ 64 h 1639"/>
                <a:gd name="T42" fmla="*/ 1293 w 1646"/>
                <a:gd name="T43" fmla="*/ 252 h 1639"/>
                <a:gd name="T44" fmla="*/ 1360 w 1646"/>
                <a:gd name="T45" fmla="*/ 461 h 1639"/>
                <a:gd name="T46" fmla="*/ 1217 w 1646"/>
                <a:gd name="T47" fmla="*/ 453 h 1639"/>
                <a:gd name="T48" fmla="*/ 1121 w 1646"/>
                <a:gd name="T49" fmla="*/ 254 h 1639"/>
                <a:gd name="T50" fmla="*/ 1019 w 1646"/>
                <a:gd name="T51" fmla="*/ 139 h 1639"/>
                <a:gd name="T52" fmla="*/ 916 w 1646"/>
                <a:gd name="T53" fmla="*/ 254 h 1639"/>
                <a:gd name="T54" fmla="*/ 820 w 1646"/>
                <a:gd name="T55" fmla="*/ 453 h 1639"/>
                <a:gd name="T56" fmla="*/ 702 w 1646"/>
                <a:gd name="T57" fmla="*/ 461 h 1639"/>
                <a:gd name="T58" fmla="*/ 68 w 1646"/>
                <a:gd name="T59" fmla="*/ 1575 h 1639"/>
                <a:gd name="T60" fmla="*/ 674 w 1646"/>
                <a:gd name="T61" fmla="*/ 666 h 1639"/>
                <a:gd name="T62" fmla="*/ 68 w 1646"/>
                <a:gd name="T63" fmla="*/ 1575 h 1639"/>
                <a:gd name="T64" fmla="*/ 68 w 1646"/>
                <a:gd name="T65" fmla="*/ 1575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6" h="1639">
                  <a:moveTo>
                    <a:pt x="1632" y="1547"/>
                  </a:moveTo>
                  <a:cubicBezTo>
                    <a:pt x="1452" y="1276"/>
                    <a:pt x="1452" y="1276"/>
                    <a:pt x="1452" y="1276"/>
                  </a:cubicBezTo>
                  <a:cubicBezTo>
                    <a:pt x="1442" y="1261"/>
                    <a:pt x="1422" y="1257"/>
                    <a:pt x="1408" y="1267"/>
                  </a:cubicBezTo>
                  <a:cubicBezTo>
                    <a:pt x="1393" y="1277"/>
                    <a:pt x="1389" y="1297"/>
                    <a:pt x="1399" y="1312"/>
                  </a:cubicBezTo>
                  <a:cubicBezTo>
                    <a:pt x="1574" y="1575"/>
                    <a:pt x="1574" y="1575"/>
                    <a:pt x="1574" y="1575"/>
                  </a:cubicBezTo>
                  <a:cubicBezTo>
                    <a:pt x="1357" y="1575"/>
                    <a:pt x="1357" y="1575"/>
                    <a:pt x="1357" y="1575"/>
                  </a:cubicBezTo>
                  <a:cubicBezTo>
                    <a:pt x="727" y="630"/>
                    <a:pt x="727" y="630"/>
                    <a:pt x="727" y="630"/>
                  </a:cubicBezTo>
                  <a:cubicBezTo>
                    <a:pt x="721" y="621"/>
                    <a:pt x="712" y="613"/>
                    <a:pt x="702" y="608"/>
                  </a:cubicBezTo>
                  <a:cubicBezTo>
                    <a:pt x="702" y="525"/>
                    <a:pt x="702" y="525"/>
                    <a:pt x="702" y="525"/>
                  </a:cubicBezTo>
                  <a:cubicBezTo>
                    <a:pt x="1406" y="525"/>
                    <a:pt x="1406" y="525"/>
                    <a:pt x="1406" y="525"/>
                  </a:cubicBezTo>
                  <a:cubicBezTo>
                    <a:pt x="1416" y="525"/>
                    <a:pt x="1426" y="520"/>
                    <a:pt x="1432" y="512"/>
                  </a:cubicBezTo>
                  <a:cubicBezTo>
                    <a:pt x="1438" y="503"/>
                    <a:pt x="1439" y="492"/>
                    <a:pt x="1436" y="482"/>
                  </a:cubicBezTo>
                  <a:cubicBezTo>
                    <a:pt x="1357" y="263"/>
                    <a:pt x="1357" y="263"/>
                    <a:pt x="1357" y="263"/>
                  </a:cubicBezTo>
                  <a:cubicBezTo>
                    <a:pt x="1436" y="43"/>
                    <a:pt x="1436" y="43"/>
                    <a:pt x="1436" y="43"/>
                  </a:cubicBezTo>
                  <a:cubicBezTo>
                    <a:pt x="1439" y="33"/>
                    <a:pt x="1438" y="22"/>
                    <a:pt x="1432" y="14"/>
                  </a:cubicBezTo>
                  <a:cubicBezTo>
                    <a:pt x="1426" y="5"/>
                    <a:pt x="1416" y="0"/>
                    <a:pt x="1406" y="0"/>
                  </a:cubicBezTo>
                  <a:cubicBezTo>
                    <a:pt x="670" y="0"/>
                    <a:pt x="670" y="0"/>
                    <a:pt x="670" y="0"/>
                  </a:cubicBezTo>
                  <a:cubicBezTo>
                    <a:pt x="652" y="0"/>
                    <a:pt x="638" y="15"/>
                    <a:pt x="638" y="32"/>
                  </a:cubicBezTo>
                  <a:cubicBezTo>
                    <a:pt x="638" y="608"/>
                    <a:pt x="638" y="608"/>
                    <a:pt x="638" y="608"/>
                  </a:cubicBezTo>
                  <a:cubicBezTo>
                    <a:pt x="638" y="610"/>
                    <a:pt x="638" y="611"/>
                    <a:pt x="638" y="613"/>
                  </a:cubicBezTo>
                  <a:cubicBezTo>
                    <a:pt x="631" y="618"/>
                    <a:pt x="625" y="623"/>
                    <a:pt x="621" y="630"/>
                  </a:cubicBezTo>
                  <a:cubicBezTo>
                    <a:pt x="15" y="1539"/>
                    <a:pt x="15" y="1539"/>
                    <a:pt x="15" y="1539"/>
                  </a:cubicBezTo>
                  <a:cubicBezTo>
                    <a:pt x="2" y="1559"/>
                    <a:pt x="0" y="1584"/>
                    <a:pt x="12" y="1605"/>
                  </a:cubicBezTo>
                  <a:cubicBezTo>
                    <a:pt x="23" y="1626"/>
                    <a:pt x="44" y="1639"/>
                    <a:pt x="68" y="1639"/>
                  </a:cubicBezTo>
                  <a:cubicBezTo>
                    <a:pt x="1583" y="1639"/>
                    <a:pt x="1583" y="1639"/>
                    <a:pt x="1583" y="1639"/>
                  </a:cubicBezTo>
                  <a:cubicBezTo>
                    <a:pt x="1605" y="1639"/>
                    <a:pt x="1625" y="1627"/>
                    <a:pt x="1635" y="1608"/>
                  </a:cubicBezTo>
                  <a:cubicBezTo>
                    <a:pt x="1646" y="1588"/>
                    <a:pt x="1645" y="1565"/>
                    <a:pt x="1632" y="1547"/>
                  </a:cubicBezTo>
                  <a:close/>
                  <a:moveTo>
                    <a:pt x="1153" y="461"/>
                  </a:moveTo>
                  <a:cubicBezTo>
                    <a:pt x="884" y="461"/>
                    <a:pt x="884" y="461"/>
                    <a:pt x="884" y="461"/>
                  </a:cubicBezTo>
                  <a:cubicBezTo>
                    <a:pt x="884" y="453"/>
                    <a:pt x="884" y="453"/>
                    <a:pt x="884" y="453"/>
                  </a:cubicBezTo>
                  <a:cubicBezTo>
                    <a:pt x="884" y="400"/>
                    <a:pt x="928" y="356"/>
                    <a:pt x="981" y="356"/>
                  </a:cubicBezTo>
                  <a:cubicBezTo>
                    <a:pt x="1057" y="356"/>
                    <a:pt x="1057" y="356"/>
                    <a:pt x="1057" y="356"/>
                  </a:cubicBezTo>
                  <a:cubicBezTo>
                    <a:pt x="1110" y="356"/>
                    <a:pt x="1153" y="400"/>
                    <a:pt x="1153" y="453"/>
                  </a:cubicBezTo>
                  <a:lnTo>
                    <a:pt x="1153" y="461"/>
                  </a:lnTo>
                  <a:close/>
                  <a:moveTo>
                    <a:pt x="980" y="254"/>
                  </a:moveTo>
                  <a:cubicBezTo>
                    <a:pt x="980" y="241"/>
                    <a:pt x="980" y="241"/>
                    <a:pt x="980" y="241"/>
                  </a:cubicBezTo>
                  <a:cubicBezTo>
                    <a:pt x="980" y="220"/>
                    <a:pt x="998" y="203"/>
                    <a:pt x="1019" y="203"/>
                  </a:cubicBezTo>
                  <a:cubicBezTo>
                    <a:pt x="1040" y="203"/>
                    <a:pt x="1057" y="220"/>
                    <a:pt x="1057" y="241"/>
                  </a:cubicBezTo>
                  <a:cubicBezTo>
                    <a:pt x="1057" y="254"/>
                    <a:pt x="1057" y="254"/>
                    <a:pt x="1057" y="254"/>
                  </a:cubicBezTo>
                  <a:cubicBezTo>
                    <a:pt x="1057" y="275"/>
                    <a:pt x="1040" y="292"/>
                    <a:pt x="1019" y="292"/>
                  </a:cubicBezTo>
                  <a:cubicBezTo>
                    <a:pt x="998" y="292"/>
                    <a:pt x="980" y="275"/>
                    <a:pt x="980" y="254"/>
                  </a:cubicBezTo>
                  <a:close/>
                  <a:moveTo>
                    <a:pt x="702" y="64"/>
                  </a:moveTo>
                  <a:cubicBezTo>
                    <a:pt x="1360" y="64"/>
                    <a:pt x="1360" y="64"/>
                    <a:pt x="1360" y="64"/>
                  </a:cubicBezTo>
                  <a:cubicBezTo>
                    <a:pt x="1293" y="252"/>
                    <a:pt x="1293" y="252"/>
                    <a:pt x="1293" y="252"/>
                  </a:cubicBezTo>
                  <a:cubicBezTo>
                    <a:pt x="1291" y="259"/>
                    <a:pt x="1291" y="266"/>
                    <a:pt x="1293" y="273"/>
                  </a:cubicBezTo>
                  <a:cubicBezTo>
                    <a:pt x="1360" y="461"/>
                    <a:pt x="1360" y="461"/>
                    <a:pt x="1360" y="461"/>
                  </a:cubicBezTo>
                  <a:cubicBezTo>
                    <a:pt x="1217" y="461"/>
                    <a:pt x="1217" y="461"/>
                    <a:pt x="1217" y="461"/>
                  </a:cubicBezTo>
                  <a:cubicBezTo>
                    <a:pt x="1217" y="453"/>
                    <a:pt x="1217" y="453"/>
                    <a:pt x="1217" y="453"/>
                  </a:cubicBezTo>
                  <a:cubicBezTo>
                    <a:pt x="1217" y="383"/>
                    <a:pt x="1172" y="323"/>
                    <a:pt x="1110" y="301"/>
                  </a:cubicBezTo>
                  <a:cubicBezTo>
                    <a:pt x="1117" y="287"/>
                    <a:pt x="1121" y="271"/>
                    <a:pt x="1121" y="254"/>
                  </a:cubicBezTo>
                  <a:cubicBezTo>
                    <a:pt x="1121" y="241"/>
                    <a:pt x="1121" y="241"/>
                    <a:pt x="1121" y="241"/>
                  </a:cubicBezTo>
                  <a:cubicBezTo>
                    <a:pt x="1121" y="185"/>
                    <a:pt x="1075" y="139"/>
                    <a:pt x="1019" y="139"/>
                  </a:cubicBezTo>
                  <a:cubicBezTo>
                    <a:pt x="962" y="139"/>
                    <a:pt x="916" y="185"/>
                    <a:pt x="916" y="241"/>
                  </a:cubicBezTo>
                  <a:cubicBezTo>
                    <a:pt x="916" y="254"/>
                    <a:pt x="916" y="254"/>
                    <a:pt x="916" y="254"/>
                  </a:cubicBezTo>
                  <a:cubicBezTo>
                    <a:pt x="916" y="271"/>
                    <a:pt x="921" y="287"/>
                    <a:pt x="928" y="301"/>
                  </a:cubicBezTo>
                  <a:cubicBezTo>
                    <a:pt x="865" y="323"/>
                    <a:pt x="820" y="383"/>
                    <a:pt x="820" y="453"/>
                  </a:cubicBezTo>
                  <a:cubicBezTo>
                    <a:pt x="820" y="461"/>
                    <a:pt x="820" y="461"/>
                    <a:pt x="820" y="461"/>
                  </a:cubicBezTo>
                  <a:cubicBezTo>
                    <a:pt x="702" y="461"/>
                    <a:pt x="702" y="461"/>
                    <a:pt x="702" y="461"/>
                  </a:cubicBezTo>
                  <a:lnTo>
                    <a:pt x="702" y="64"/>
                  </a:lnTo>
                  <a:close/>
                  <a:moveTo>
                    <a:pt x="68" y="1575"/>
                  </a:moveTo>
                  <a:cubicBezTo>
                    <a:pt x="68" y="1575"/>
                    <a:pt x="68" y="1575"/>
                    <a:pt x="68" y="1575"/>
                  </a:cubicBezTo>
                  <a:cubicBezTo>
                    <a:pt x="674" y="666"/>
                    <a:pt x="674" y="666"/>
                    <a:pt x="674" y="666"/>
                  </a:cubicBezTo>
                  <a:cubicBezTo>
                    <a:pt x="1280" y="1575"/>
                    <a:pt x="1280" y="1575"/>
                    <a:pt x="1280" y="1575"/>
                  </a:cubicBezTo>
                  <a:lnTo>
                    <a:pt x="68" y="1575"/>
                  </a:lnTo>
                  <a:close/>
                  <a:moveTo>
                    <a:pt x="68" y="1575"/>
                  </a:moveTo>
                  <a:cubicBezTo>
                    <a:pt x="68" y="1575"/>
                    <a:pt x="68" y="1575"/>
                    <a:pt x="68" y="15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513"/>
            <p:cNvSpPr>
              <a:spLocks noEditPoints="1"/>
            </p:cNvSpPr>
            <p:nvPr/>
          </p:nvSpPr>
          <p:spPr bwMode="auto">
            <a:xfrm>
              <a:off x="4518" y="3908"/>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9"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9"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514"/>
            <p:cNvSpPr>
              <a:spLocks noEditPoints="1"/>
            </p:cNvSpPr>
            <p:nvPr/>
          </p:nvSpPr>
          <p:spPr bwMode="auto">
            <a:xfrm>
              <a:off x="4094" y="4069"/>
              <a:ext cx="435" cy="575"/>
            </a:xfrm>
            <a:custGeom>
              <a:avLst/>
              <a:gdLst>
                <a:gd name="T0" fmla="*/ 211 w 230"/>
                <a:gd name="T1" fmla="*/ 10 h 304"/>
                <a:gd name="T2" fmla="*/ 167 w 230"/>
                <a:gd name="T3" fmla="*/ 19 h 304"/>
                <a:gd name="T4" fmla="*/ 9 w 230"/>
                <a:gd name="T5" fmla="*/ 255 h 304"/>
                <a:gd name="T6" fmla="*/ 18 w 230"/>
                <a:gd name="T7" fmla="*/ 299 h 304"/>
                <a:gd name="T8" fmla="*/ 36 w 230"/>
                <a:gd name="T9" fmla="*/ 304 h 304"/>
                <a:gd name="T10" fmla="*/ 63 w 230"/>
                <a:gd name="T11" fmla="*/ 290 h 304"/>
                <a:gd name="T12" fmla="*/ 220 w 230"/>
                <a:gd name="T13" fmla="*/ 54 h 304"/>
                <a:gd name="T14" fmla="*/ 211 w 230"/>
                <a:gd name="T15" fmla="*/ 10 h 304"/>
                <a:gd name="T16" fmla="*/ 211 w 230"/>
                <a:gd name="T17" fmla="*/ 10 h 304"/>
                <a:gd name="T18" fmla="*/ 211 w 230"/>
                <a:gd name="T19" fmla="*/ 1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304">
                  <a:moveTo>
                    <a:pt x="211" y="10"/>
                  </a:moveTo>
                  <a:cubicBezTo>
                    <a:pt x="197" y="0"/>
                    <a:pt x="177" y="4"/>
                    <a:pt x="167" y="19"/>
                  </a:cubicBezTo>
                  <a:cubicBezTo>
                    <a:pt x="9" y="255"/>
                    <a:pt x="9" y="255"/>
                    <a:pt x="9" y="255"/>
                  </a:cubicBezTo>
                  <a:cubicBezTo>
                    <a:pt x="0" y="269"/>
                    <a:pt x="4" y="289"/>
                    <a:pt x="18" y="299"/>
                  </a:cubicBezTo>
                  <a:cubicBezTo>
                    <a:pt x="24" y="303"/>
                    <a:pt x="30" y="304"/>
                    <a:pt x="36" y="304"/>
                  </a:cubicBezTo>
                  <a:cubicBezTo>
                    <a:pt x="46" y="304"/>
                    <a:pt x="57" y="299"/>
                    <a:pt x="63" y="290"/>
                  </a:cubicBezTo>
                  <a:cubicBezTo>
                    <a:pt x="220" y="54"/>
                    <a:pt x="220" y="54"/>
                    <a:pt x="220" y="54"/>
                  </a:cubicBezTo>
                  <a:cubicBezTo>
                    <a:pt x="230" y="39"/>
                    <a:pt x="226" y="20"/>
                    <a:pt x="211" y="10"/>
                  </a:cubicBezTo>
                  <a:close/>
                  <a:moveTo>
                    <a:pt x="211" y="10"/>
                  </a:moveTo>
                  <a:cubicBezTo>
                    <a:pt x="211" y="10"/>
                    <a:pt x="211" y="10"/>
                    <a:pt x="211"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1" name="Group 525"/>
          <p:cNvGrpSpPr>
            <a:grpSpLocks noChangeAspect="1"/>
          </p:cNvGrpSpPr>
          <p:nvPr/>
        </p:nvGrpSpPr>
        <p:grpSpPr bwMode="auto">
          <a:xfrm>
            <a:off x="10204557" y="4107973"/>
            <a:ext cx="270901" cy="457200"/>
            <a:chOff x="3873" y="1733"/>
            <a:chExt cx="1838" cy="3102"/>
          </a:xfrm>
          <a:solidFill>
            <a:schemeClr val="accent1"/>
          </a:solidFill>
        </p:grpSpPr>
        <p:sp>
          <p:nvSpPr>
            <p:cNvPr id="533" name="Freeform 526"/>
            <p:cNvSpPr>
              <a:spLocks noEditPoints="1"/>
            </p:cNvSpPr>
            <p:nvPr/>
          </p:nvSpPr>
          <p:spPr bwMode="auto">
            <a:xfrm>
              <a:off x="3873" y="1733"/>
              <a:ext cx="1838" cy="3102"/>
            </a:xfrm>
            <a:custGeom>
              <a:avLst/>
              <a:gdLst>
                <a:gd name="T0" fmla="*/ 540 w 970"/>
                <a:gd name="T1" fmla="*/ 242 h 1639"/>
                <a:gd name="T2" fmla="*/ 591 w 970"/>
                <a:gd name="T3" fmla="*/ 84 h 1639"/>
                <a:gd name="T4" fmla="*/ 531 w 970"/>
                <a:gd name="T5" fmla="*/ 0 h 1639"/>
                <a:gd name="T6" fmla="*/ 158 w 970"/>
                <a:gd name="T7" fmla="*/ 27 h 1639"/>
                <a:gd name="T8" fmla="*/ 209 w 970"/>
                <a:gd name="T9" fmla="*/ 265 h 1639"/>
                <a:gd name="T10" fmla="*/ 11 w 970"/>
                <a:gd name="T11" fmla="*/ 1293 h 1639"/>
                <a:gd name="T12" fmla="*/ 370 w 970"/>
                <a:gd name="T13" fmla="*/ 1639 h 1639"/>
                <a:gd name="T14" fmla="*/ 729 w 970"/>
                <a:gd name="T15" fmla="*/ 1293 h 1639"/>
                <a:gd name="T16" fmla="*/ 560 w 970"/>
                <a:gd name="T17" fmla="*/ 404 h 1639"/>
                <a:gd name="T18" fmla="*/ 774 w 970"/>
                <a:gd name="T19" fmla="*/ 1318 h 1639"/>
                <a:gd name="T20" fmla="*/ 804 w 970"/>
                <a:gd name="T21" fmla="*/ 1361 h 1639"/>
                <a:gd name="T22" fmla="*/ 967 w 970"/>
                <a:gd name="T23" fmla="*/ 998 h 1639"/>
                <a:gd name="T24" fmla="*/ 531 w 970"/>
                <a:gd name="T25" fmla="*/ 64 h 1639"/>
                <a:gd name="T26" fmla="*/ 265 w 970"/>
                <a:gd name="T27" fmla="*/ 231 h 1639"/>
                <a:gd name="T28" fmla="*/ 531 w 970"/>
                <a:gd name="T29" fmla="*/ 64 h 1639"/>
                <a:gd name="T30" fmla="*/ 218 w 970"/>
                <a:gd name="T31" fmla="*/ 537 h 1639"/>
                <a:gd name="T32" fmla="*/ 460 w 970"/>
                <a:gd name="T33" fmla="*/ 295 h 1639"/>
                <a:gd name="T34" fmla="*/ 198 w 970"/>
                <a:gd name="T35" fmla="*/ 647 h 1639"/>
                <a:gd name="T36" fmla="*/ 511 w 970"/>
                <a:gd name="T37" fmla="*/ 480 h 1639"/>
                <a:gd name="T38" fmla="*/ 194 w 970"/>
                <a:gd name="T39" fmla="*/ 651 h 1639"/>
                <a:gd name="T40" fmla="*/ 370 w 970"/>
                <a:gd name="T41" fmla="*/ 1561 h 1639"/>
                <a:gd name="T42" fmla="*/ 647 w 970"/>
                <a:gd name="T43" fmla="*/ 1140 h 1639"/>
                <a:gd name="T44" fmla="*/ 591 w 970"/>
                <a:gd name="T45" fmla="*/ 870 h 1639"/>
                <a:gd name="T46" fmla="*/ 305 w 970"/>
                <a:gd name="T47" fmla="*/ 1156 h 1639"/>
                <a:gd name="T48" fmla="*/ 327 w 970"/>
                <a:gd name="T49" fmla="*/ 1211 h 1639"/>
                <a:gd name="T50" fmla="*/ 607 w 970"/>
                <a:gd name="T51" fmla="*/ 945 h 1639"/>
                <a:gd name="T52" fmla="*/ 253 w 970"/>
                <a:gd name="T53" fmla="*/ 1444 h 1639"/>
                <a:gd name="T54" fmla="*/ 72 w 970"/>
                <a:gd name="T55" fmla="*/ 1244 h 1639"/>
                <a:gd name="T56" fmla="*/ 404 w 970"/>
                <a:gd name="T57" fmla="*/ 867 h 1639"/>
                <a:gd name="T58" fmla="*/ 95 w 970"/>
                <a:gd name="T59" fmla="*/ 1130 h 1639"/>
                <a:gd name="T60" fmla="*/ 134 w 970"/>
                <a:gd name="T61" fmla="*/ 946 h 1639"/>
                <a:gd name="T62" fmla="*/ 591 w 970"/>
                <a:gd name="T63" fmla="*/ 870 h 1639"/>
                <a:gd name="T64" fmla="*/ 591 w 970"/>
                <a:gd name="T65" fmla="*/ 870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0" h="1639">
                  <a:moveTo>
                    <a:pt x="964" y="970"/>
                  </a:moveTo>
                  <a:cubicBezTo>
                    <a:pt x="540" y="242"/>
                    <a:pt x="540" y="242"/>
                    <a:pt x="540" y="242"/>
                  </a:cubicBezTo>
                  <a:cubicBezTo>
                    <a:pt x="540" y="242"/>
                    <a:pt x="540" y="242"/>
                    <a:pt x="539" y="241"/>
                  </a:cubicBezTo>
                  <a:cubicBezTo>
                    <a:pt x="591" y="84"/>
                    <a:pt x="591" y="84"/>
                    <a:pt x="591" y="84"/>
                  </a:cubicBezTo>
                  <a:cubicBezTo>
                    <a:pt x="598" y="65"/>
                    <a:pt x="595" y="43"/>
                    <a:pt x="583" y="27"/>
                  </a:cubicBezTo>
                  <a:cubicBezTo>
                    <a:pt x="571" y="10"/>
                    <a:pt x="551" y="0"/>
                    <a:pt x="531" y="0"/>
                  </a:cubicBezTo>
                  <a:cubicBezTo>
                    <a:pt x="210" y="0"/>
                    <a:pt x="210" y="0"/>
                    <a:pt x="210" y="0"/>
                  </a:cubicBezTo>
                  <a:cubicBezTo>
                    <a:pt x="189" y="0"/>
                    <a:pt x="170" y="10"/>
                    <a:pt x="158" y="27"/>
                  </a:cubicBezTo>
                  <a:cubicBezTo>
                    <a:pt x="146" y="43"/>
                    <a:pt x="143" y="65"/>
                    <a:pt x="149" y="84"/>
                  </a:cubicBezTo>
                  <a:cubicBezTo>
                    <a:pt x="209" y="265"/>
                    <a:pt x="209" y="265"/>
                    <a:pt x="209" y="265"/>
                  </a:cubicBezTo>
                  <a:cubicBezTo>
                    <a:pt x="2" y="1264"/>
                    <a:pt x="2" y="1264"/>
                    <a:pt x="2" y="1264"/>
                  </a:cubicBezTo>
                  <a:cubicBezTo>
                    <a:pt x="0" y="1274"/>
                    <a:pt x="3" y="1285"/>
                    <a:pt x="11" y="1293"/>
                  </a:cubicBezTo>
                  <a:cubicBezTo>
                    <a:pt x="348" y="1629"/>
                    <a:pt x="348" y="1629"/>
                    <a:pt x="348" y="1629"/>
                  </a:cubicBezTo>
                  <a:cubicBezTo>
                    <a:pt x="354" y="1635"/>
                    <a:pt x="362" y="1639"/>
                    <a:pt x="370" y="1639"/>
                  </a:cubicBezTo>
                  <a:cubicBezTo>
                    <a:pt x="379" y="1639"/>
                    <a:pt x="387" y="1635"/>
                    <a:pt x="393" y="1629"/>
                  </a:cubicBezTo>
                  <a:cubicBezTo>
                    <a:pt x="729" y="1293"/>
                    <a:pt x="729" y="1293"/>
                    <a:pt x="729" y="1293"/>
                  </a:cubicBezTo>
                  <a:cubicBezTo>
                    <a:pt x="737" y="1285"/>
                    <a:pt x="740" y="1274"/>
                    <a:pt x="738" y="1264"/>
                  </a:cubicBezTo>
                  <a:cubicBezTo>
                    <a:pt x="560" y="404"/>
                    <a:pt x="560" y="404"/>
                    <a:pt x="560" y="404"/>
                  </a:cubicBezTo>
                  <a:cubicBezTo>
                    <a:pt x="901" y="989"/>
                    <a:pt x="901" y="989"/>
                    <a:pt x="901" y="989"/>
                  </a:cubicBezTo>
                  <a:cubicBezTo>
                    <a:pt x="774" y="1318"/>
                    <a:pt x="774" y="1318"/>
                    <a:pt x="774" y="1318"/>
                  </a:cubicBezTo>
                  <a:cubicBezTo>
                    <a:pt x="768" y="1334"/>
                    <a:pt x="776" y="1353"/>
                    <a:pt x="793" y="1359"/>
                  </a:cubicBezTo>
                  <a:cubicBezTo>
                    <a:pt x="796" y="1361"/>
                    <a:pt x="800" y="1361"/>
                    <a:pt x="804" y="1361"/>
                  </a:cubicBezTo>
                  <a:cubicBezTo>
                    <a:pt x="817" y="1361"/>
                    <a:pt x="829" y="1354"/>
                    <a:pt x="834" y="1341"/>
                  </a:cubicBezTo>
                  <a:cubicBezTo>
                    <a:pt x="967" y="998"/>
                    <a:pt x="967" y="998"/>
                    <a:pt x="967" y="998"/>
                  </a:cubicBezTo>
                  <a:cubicBezTo>
                    <a:pt x="970" y="989"/>
                    <a:pt x="969" y="979"/>
                    <a:pt x="964" y="970"/>
                  </a:cubicBezTo>
                  <a:close/>
                  <a:moveTo>
                    <a:pt x="531" y="64"/>
                  </a:moveTo>
                  <a:cubicBezTo>
                    <a:pt x="475" y="231"/>
                    <a:pt x="475" y="231"/>
                    <a:pt x="475" y="231"/>
                  </a:cubicBezTo>
                  <a:cubicBezTo>
                    <a:pt x="265" y="231"/>
                    <a:pt x="265" y="231"/>
                    <a:pt x="265" y="231"/>
                  </a:cubicBezTo>
                  <a:cubicBezTo>
                    <a:pt x="210" y="64"/>
                    <a:pt x="210" y="64"/>
                    <a:pt x="210" y="64"/>
                  </a:cubicBezTo>
                  <a:lnTo>
                    <a:pt x="531" y="64"/>
                  </a:lnTo>
                  <a:close/>
                  <a:moveTo>
                    <a:pt x="460" y="295"/>
                  </a:moveTo>
                  <a:cubicBezTo>
                    <a:pt x="218" y="537"/>
                    <a:pt x="218" y="537"/>
                    <a:pt x="218" y="537"/>
                  </a:cubicBezTo>
                  <a:cubicBezTo>
                    <a:pt x="268" y="295"/>
                    <a:pt x="268" y="295"/>
                    <a:pt x="268" y="295"/>
                  </a:cubicBezTo>
                  <a:lnTo>
                    <a:pt x="460" y="295"/>
                  </a:lnTo>
                  <a:close/>
                  <a:moveTo>
                    <a:pt x="194" y="651"/>
                  </a:moveTo>
                  <a:cubicBezTo>
                    <a:pt x="196" y="650"/>
                    <a:pt x="197" y="649"/>
                    <a:pt x="198" y="647"/>
                  </a:cubicBezTo>
                  <a:cubicBezTo>
                    <a:pt x="486" y="360"/>
                    <a:pt x="486" y="360"/>
                    <a:pt x="486" y="360"/>
                  </a:cubicBezTo>
                  <a:cubicBezTo>
                    <a:pt x="511" y="480"/>
                    <a:pt x="511" y="480"/>
                    <a:pt x="511" y="480"/>
                  </a:cubicBezTo>
                  <a:cubicBezTo>
                    <a:pt x="157" y="834"/>
                    <a:pt x="157" y="834"/>
                    <a:pt x="157" y="834"/>
                  </a:cubicBezTo>
                  <a:lnTo>
                    <a:pt x="194" y="651"/>
                  </a:lnTo>
                  <a:close/>
                  <a:moveTo>
                    <a:pt x="672" y="1260"/>
                  </a:moveTo>
                  <a:cubicBezTo>
                    <a:pt x="370" y="1561"/>
                    <a:pt x="370" y="1561"/>
                    <a:pt x="370" y="1561"/>
                  </a:cubicBezTo>
                  <a:cubicBezTo>
                    <a:pt x="298" y="1489"/>
                    <a:pt x="298" y="1489"/>
                    <a:pt x="298" y="1489"/>
                  </a:cubicBezTo>
                  <a:cubicBezTo>
                    <a:pt x="647" y="1140"/>
                    <a:pt x="647" y="1140"/>
                    <a:pt x="647" y="1140"/>
                  </a:cubicBezTo>
                  <a:lnTo>
                    <a:pt x="672" y="1260"/>
                  </a:lnTo>
                  <a:close/>
                  <a:moveTo>
                    <a:pt x="591" y="870"/>
                  </a:moveTo>
                  <a:cubicBezTo>
                    <a:pt x="590" y="871"/>
                    <a:pt x="589" y="872"/>
                    <a:pt x="588" y="873"/>
                  </a:cubicBezTo>
                  <a:cubicBezTo>
                    <a:pt x="305" y="1156"/>
                    <a:pt x="305" y="1156"/>
                    <a:pt x="305" y="1156"/>
                  </a:cubicBezTo>
                  <a:cubicBezTo>
                    <a:pt x="292" y="1169"/>
                    <a:pt x="292" y="1189"/>
                    <a:pt x="305" y="1201"/>
                  </a:cubicBezTo>
                  <a:cubicBezTo>
                    <a:pt x="311" y="1208"/>
                    <a:pt x="319" y="1211"/>
                    <a:pt x="327" y="1211"/>
                  </a:cubicBezTo>
                  <a:cubicBezTo>
                    <a:pt x="336" y="1211"/>
                    <a:pt x="344" y="1208"/>
                    <a:pt x="350" y="1201"/>
                  </a:cubicBezTo>
                  <a:cubicBezTo>
                    <a:pt x="607" y="945"/>
                    <a:pt x="607" y="945"/>
                    <a:pt x="607" y="945"/>
                  </a:cubicBezTo>
                  <a:cubicBezTo>
                    <a:pt x="632" y="1065"/>
                    <a:pt x="632" y="1065"/>
                    <a:pt x="632" y="1065"/>
                  </a:cubicBezTo>
                  <a:cubicBezTo>
                    <a:pt x="253" y="1444"/>
                    <a:pt x="253" y="1444"/>
                    <a:pt x="253" y="1444"/>
                  </a:cubicBezTo>
                  <a:cubicBezTo>
                    <a:pt x="69" y="1260"/>
                    <a:pt x="69" y="1260"/>
                    <a:pt x="69" y="1260"/>
                  </a:cubicBezTo>
                  <a:cubicBezTo>
                    <a:pt x="72" y="1244"/>
                    <a:pt x="72" y="1244"/>
                    <a:pt x="72" y="1244"/>
                  </a:cubicBezTo>
                  <a:cubicBezTo>
                    <a:pt x="404" y="912"/>
                    <a:pt x="404" y="912"/>
                    <a:pt x="404" y="912"/>
                  </a:cubicBezTo>
                  <a:cubicBezTo>
                    <a:pt x="416" y="900"/>
                    <a:pt x="416" y="880"/>
                    <a:pt x="404" y="867"/>
                  </a:cubicBezTo>
                  <a:cubicBezTo>
                    <a:pt x="391" y="855"/>
                    <a:pt x="371" y="855"/>
                    <a:pt x="359" y="867"/>
                  </a:cubicBezTo>
                  <a:cubicBezTo>
                    <a:pt x="95" y="1130"/>
                    <a:pt x="95" y="1130"/>
                    <a:pt x="95" y="1130"/>
                  </a:cubicBezTo>
                  <a:cubicBezTo>
                    <a:pt x="133" y="948"/>
                    <a:pt x="133" y="948"/>
                    <a:pt x="133" y="948"/>
                  </a:cubicBezTo>
                  <a:cubicBezTo>
                    <a:pt x="134" y="947"/>
                    <a:pt x="134" y="947"/>
                    <a:pt x="134" y="946"/>
                  </a:cubicBezTo>
                  <a:cubicBezTo>
                    <a:pt x="526" y="555"/>
                    <a:pt x="526" y="555"/>
                    <a:pt x="526" y="555"/>
                  </a:cubicBezTo>
                  <a:lnTo>
                    <a:pt x="591" y="870"/>
                  </a:lnTo>
                  <a:close/>
                  <a:moveTo>
                    <a:pt x="591" y="870"/>
                  </a:moveTo>
                  <a:cubicBezTo>
                    <a:pt x="591" y="870"/>
                    <a:pt x="591" y="870"/>
                    <a:pt x="591" y="8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527"/>
            <p:cNvSpPr>
              <a:spLocks noEditPoints="1"/>
            </p:cNvSpPr>
            <p:nvPr/>
          </p:nvSpPr>
          <p:spPr bwMode="auto">
            <a:xfrm>
              <a:off x="4284" y="4052"/>
              <a:ext cx="121" cy="121"/>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9"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9"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528"/>
            <p:cNvSpPr>
              <a:spLocks noEditPoints="1"/>
            </p:cNvSpPr>
            <p:nvPr/>
          </p:nvSpPr>
          <p:spPr bwMode="auto">
            <a:xfrm>
              <a:off x="4697" y="3194"/>
              <a:ext cx="121" cy="121"/>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5"/>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5"/>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6" name="Group 531"/>
          <p:cNvGrpSpPr>
            <a:grpSpLocks noChangeAspect="1"/>
          </p:cNvGrpSpPr>
          <p:nvPr/>
        </p:nvGrpSpPr>
        <p:grpSpPr bwMode="auto">
          <a:xfrm>
            <a:off x="1743270" y="4107973"/>
            <a:ext cx="457200" cy="457200"/>
            <a:chOff x="3058" y="844"/>
            <a:chExt cx="3101" cy="3101"/>
          </a:xfrm>
          <a:solidFill>
            <a:schemeClr val="accent1"/>
          </a:solidFill>
        </p:grpSpPr>
        <p:sp>
          <p:nvSpPr>
            <p:cNvPr id="538" name="Freeform 532"/>
            <p:cNvSpPr>
              <a:spLocks noEditPoints="1"/>
            </p:cNvSpPr>
            <p:nvPr/>
          </p:nvSpPr>
          <p:spPr bwMode="auto">
            <a:xfrm>
              <a:off x="3866" y="844"/>
              <a:ext cx="1485" cy="1611"/>
            </a:xfrm>
            <a:custGeom>
              <a:avLst/>
              <a:gdLst>
                <a:gd name="T0" fmla="*/ 548 w 784"/>
                <a:gd name="T1" fmla="*/ 422 h 851"/>
                <a:gd name="T2" fmla="*/ 534 w 784"/>
                <a:gd name="T3" fmla="*/ 422 h 851"/>
                <a:gd name="T4" fmla="*/ 583 w 784"/>
                <a:gd name="T5" fmla="*/ 296 h 851"/>
                <a:gd name="T6" fmla="*/ 583 w 784"/>
                <a:gd name="T7" fmla="*/ 191 h 851"/>
                <a:gd name="T8" fmla="*/ 392 w 784"/>
                <a:gd name="T9" fmla="*/ 0 h 851"/>
                <a:gd name="T10" fmla="*/ 202 w 784"/>
                <a:gd name="T11" fmla="*/ 191 h 851"/>
                <a:gd name="T12" fmla="*/ 202 w 784"/>
                <a:gd name="T13" fmla="*/ 296 h 851"/>
                <a:gd name="T14" fmla="*/ 250 w 784"/>
                <a:gd name="T15" fmla="*/ 422 h 851"/>
                <a:gd name="T16" fmla="*/ 237 w 784"/>
                <a:gd name="T17" fmla="*/ 422 h 851"/>
                <a:gd name="T18" fmla="*/ 0 w 784"/>
                <a:gd name="T19" fmla="*/ 659 h 851"/>
                <a:gd name="T20" fmla="*/ 0 w 784"/>
                <a:gd name="T21" fmla="*/ 819 h 851"/>
                <a:gd name="T22" fmla="*/ 32 w 784"/>
                <a:gd name="T23" fmla="*/ 851 h 851"/>
                <a:gd name="T24" fmla="*/ 752 w 784"/>
                <a:gd name="T25" fmla="*/ 851 h 851"/>
                <a:gd name="T26" fmla="*/ 784 w 784"/>
                <a:gd name="T27" fmla="*/ 819 h 851"/>
                <a:gd name="T28" fmla="*/ 784 w 784"/>
                <a:gd name="T29" fmla="*/ 659 h 851"/>
                <a:gd name="T30" fmla="*/ 548 w 784"/>
                <a:gd name="T31" fmla="*/ 422 h 851"/>
                <a:gd name="T32" fmla="*/ 392 w 784"/>
                <a:gd name="T33" fmla="*/ 64 h 851"/>
                <a:gd name="T34" fmla="*/ 517 w 784"/>
                <a:gd name="T35" fmla="*/ 172 h 851"/>
                <a:gd name="T36" fmla="*/ 461 w 784"/>
                <a:gd name="T37" fmla="*/ 139 h 851"/>
                <a:gd name="T38" fmla="*/ 420 w 784"/>
                <a:gd name="T39" fmla="*/ 146 h 851"/>
                <a:gd name="T40" fmla="*/ 311 w 784"/>
                <a:gd name="T41" fmla="*/ 197 h 851"/>
                <a:gd name="T42" fmla="*/ 266 w 784"/>
                <a:gd name="T43" fmla="*/ 197 h 851"/>
                <a:gd name="T44" fmla="*/ 266 w 784"/>
                <a:gd name="T45" fmla="*/ 191 h 851"/>
                <a:gd name="T46" fmla="*/ 392 w 784"/>
                <a:gd name="T47" fmla="*/ 64 h 851"/>
                <a:gd name="T48" fmla="*/ 266 w 784"/>
                <a:gd name="T49" fmla="*/ 261 h 851"/>
                <a:gd name="T50" fmla="*/ 311 w 784"/>
                <a:gd name="T51" fmla="*/ 261 h 851"/>
                <a:gd name="T52" fmla="*/ 450 w 784"/>
                <a:gd name="T53" fmla="*/ 207 h 851"/>
                <a:gd name="T54" fmla="*/ 519 w 784"/>
                <a:gd name="T55" fmla="*/ 247 h 851"/>
                <a:gd name="T56" fmla="*/ 519 w 784"/>
                <a:gd name="T57" fmla="*/ 296 h 851"/>
                <a:gd name="T58" fmla="*/ 392 w 784"/>
                <a:gd name="T59" fmla="*/ 422 h 851"/>
                <a:gd name="T60" fmla="*/ 266 w 784"/>
                <a:gd name="T61" fmla="*/ 296 h 851"/>
                <a:gd name="T62" fmla="*/ 266 w 784"/>
                <a:gd name="T63" fmla="*/ 261 h 851"/>
                <a:gd name="T64" fmla="*/ 720 w 784"/>
                <a:gd name="T65" fmla="*/ 787 h 851"/>
                <a:gd name="T66" fmla="*/ 64 w 784"/>
                <a:gd name="T67" fmla="*/ 787 h 851"/>
                <a:gd name="T68" fmla="*/ 64 w 784"/>
                <a:gd name="T69" fmla="*/ 659 h 851"/>
                <a:gd name="T70" fmla="*/ 237 w 784"/>
                <a:gd name="T71" fmla="*/ 486 h 851"/>
                <a:gd name="T72" fmla="*/ 360 w 784"/>
                <a:gd name="T73" fmla="*/ 486 h 851"/>
                <a:gd name="T74" fmla="*/ 360 w 784"/>
                <a:gd name="T75" fmla="*/ 550 h 851"/>
                <a:gd name="T76" fmla="*/ 392 w 784"/>
                <a:gd name="T77" fmla="*/ 582 h 851"/>
                <a:gd name="T78" fmla="*/ 424 w 784"/>
                <a:gd name="T79" fmla="*/ 550 h 851"/>
                <a:gd name="T80" fmla="*/ 424 w 784"/>
                <a:gd name="T81" fmla="*/ 486 h 851"/>
                <a:gd name="T82" fmla="*/ 548 w 784"/>
                <a:gd name="T83" fmla="*/ 486 h 851"/>
                <a:gd name="T84" fmla="*/ 720 w 784"/>
                <a:gd name="T85" fmla="*/ 659 h 851"/>
                <a:gd name="T86" fmla="*/ 720 w 784"/>
                <a:gd name="T87" fmla="*/ 787 h 851"/>
                <a:gd name="T88" fmla="*/ 720 w 784"/>
                <a:gd name="T89" fmla="*/ 787 h 851"/>
                <a:gd name="T90" fmla="*/ 720 w 784"/>
                <a:gd name="T91" fmla="*/ 787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4" h="851">
                  <a:moveTo>
                    <a:pt x="548" y="422"/>
                  </a:moveTo>
                  <a:cubicBezTo>
                    <a:pt x="534" y="422"/>
                    <a:pt x="534" y="422"/>
                    <a:pt x="534" y="422"/>
                  </a:cubicBezTo>
                  <a:cubicBezTo>
                    <a:pt x="564" y="389"/>
                    <a:pt x="583" y="345"/>
                    <a:pt x="583" y="296"/>
                  </a:cubicBezTo>
                  <a:cubicBezTo>
                    <a:pt x="583" y="191"/>
                    <a:pt x="583" y="191"/>
                    <a:pt x="583" y="191"/>
                  </a:cubicBezTo>
                  <a:cubicBezTo>
                    <a:pt x="583" y="85"/>
                    <a:pt x="497" y="0"/>
                    <a:pt x="392" y="0"/>
                  </a:cubicBezTo>
                  <a:cubicBezTo>
                    <a:pt x="287" y="0"/>
                    <a:pt x="202" y="85"/>
                    <a:pt x="202" y="191"/>
                  </a:cubicBezTo>
                  <a:cubicBezTo>
                    <a:pt x="202" y="296"/>
                    <a:pt x="202" y="296"/>
                    <a:pt x="202" y="296"/>
                  </a:cubicBezTo>
                  <a:cubicBezTo>
                    <a:pt x="202" y="344"/>
                    <a:pt x="220" y="389"/>
                    <a:pt x="250" y="422"/>
                  </a:cubicBezTo>
                  <a:cubicBezTo>
                    <a:pt x="237" y="422"/>
                    <a:pt x="237" y="422"/>
                    <a:pt x="237" y="422"/>
                  </a:cubicBezTo>
                  <a:cubicBezTo>
                    <a:pt x="106" y="422"/>
                    <a:pt x="0" y="529"/>
                    <a:pt x="0" y="659"/>
                  </a:cubicBezTo>
                  <a:cubicBezTo>
                    <a:pt x="0" y="819"/>
                    <a:pt x="0" y="819"/>
                    <a:pt x="0" y="819"/>
                  </a:cubicBezTo>
                  <a:cubicBezTo>
                    <a:pt x="0" y="837"/>
                    <a:pt x="14" y="851"/>
                    <a:pt x="32" y="851"/>
                  </a:cubicBezTo>
                  <a:cubicBezTo>
                    <a:pt x="752" y="851"/>
                    <a:pt x="752" y="851"/>
                    <a:pt x="752" y="851"/>
                  </a:cubicBezTo>
                  <a:cubicBezTo>
                    <a:pt x="770" y="851"/>
                    <a:pt x="784" y="837"/>
                    <a:pt x="784" y="819"/>
                  </a:cubicBezTo>
                  <a:cubicBezTo>
                    <a:pt x="784" y="659"/>
                    <a:pt x="784" y="659"/>
                    <a:pt x="784" y="659"/>
                  </a:cubicBezTo>
                  <a:cubicBezTo>
                    <a:pt x="784" y="529"/>
                    <a:pt x="678" y="422"/>
                    <a:pt x="548" y="422"/>
                  </a:cubicBezTo>
                  <a:close/>
                  <a:moveTo>
                    <a:pt x="392" y="64"/>
                  </a:moveTo>
                  <a:cubicBezTo>
                    <a:pt x="456" y="64"/>
                    <a:pt x="508" y="111"/>
                    <a:pt x="517" y="172"/>
                  </a:cubicBezTo>
                  <a:cubicBezTo>
                    <a:pt x="461" y="139"/>
                    <a:pt x="461" y="139"/>
                    <a:pt x="461" y="139"/>
                  </a:cubicBezTo>
                  <a:cubicBezTo>
                    <a:pt x="447" y="131"/>
                    <a:pt x="430" y="134"/>
                    <a:pt x="420" y="146"/>
                  </a:cubicBezTo>
                  <a:cubicBezTo>
                    <a:pt x="393" y="178"/>
                    <a:pt x="353" y="197"/>
                    <a:pt x="311" y="197"/>
                  </a:cubicBezTo>
                  <a:cubicBezTo>
                    <a:pt x="266" y="197"/>
                    <a:pt x="266" y="197"/>
                    <a:pt x="266" y="197"/>
                  </a:cubicBezTo>
                  <a:cubicBezTo>
                    <a:pt x="266" y="191"/>
                    <a:pt x="266" y="191"/>
                    <a:pt x="266" y="191"/>
                  </a:cubicBezTo>
                  <a:cubicBezTo>
                    <a:pt x="266" y="121"/>
                    <a:pt x="322" y="64"/>
                    <a:pt x="392" y="64"/>
                  </a:cubicBezTo>
                  <a:close/>
                  <a:moveTo>
                    <a:pt x="266" y="261"/>
                  </a:moveTo>
                  <a:cubicBezTo>
                    <a:pt x="311" y="261"/>
                    <a:pt x="311" y="261"/>
                    <a:pt x="311" y="261"/>
                  </a:cubicBezTo>
                  <a:cubicBezTo>
                    <a:pt x="363" y="261"/>
                    <a:pt x="412" y="241"/>
                    <a:pt x="450" y="207"/>
                  </a:cubicBezTo>
                  <a:cubicBezTo>
                    <a:pt x="519" y="247"/>
                    <a:pt x="519" y="247"/>
                    <a:pt x="519" y="247"/>
                  </a:cubicBezTo>
                  <a:cubicBezTo>
                    <a:pt x="519" y="296"/>
                    <a:pt x="519" y="296"/>
                    <a:pt x="519" y="296"/>
                  </a:cubicBezTo>
                  <a:cubicBezTo>
                    <a:pt x="519" y="366"/>
                    <a:pt x="462" y="422"/>
                    <a:pt x="392" y="422"/>
                  </a:cubicBezTo>
                  <a:cubicBezTo>
                    <a:pt x="322" y="422"/>
                    <a:pt x="266" y="366"/>
                    <a:pt x="266" y="296"/>
                  </a:cubicBezTo>
                  <a:lnTo>
                    <a:pt x="266" y="261"/>
                  </a:lnTo>
                  <a:close/>
                  <a:moveTo>
                    <a:pt x="720" y="787"/>
                  </a:moveTo>
                  <a:cubicBezTo>
                    <a:pt x="64" y="787"/>
                    <a:pt x="64" y="787"/>
                    <a:pt x="64" y="787"/>
                  </a:cubicBezTo>
                  <a:cubicBezTo>
                    <a:pt x="64" y="659"/>
                    <a:pt x="64" y="659"/>
                    <a:pt x="64" y="659"/>
                  </a:cubicBezTo>
                  <a:cubicBezTo>
                    <a:pt x="64" y="564"/>
                    <a:pt x="141" y="486"/>
                    <a:pt x="237" y="486"/>
                  </a:cubicBezTo>
                  <a:cubicBezTo>
                    <a:pt x="360" y="486"/>
                    <a:pt x="360" y="486"/>
                    <a:pt x="360" y="486"/>
                  </a:cubicBezTo>
                  <a:cubicBezTo>
                    <a:pt x="360" y="550"/>
                    <a:pt x="360" y="550"/>
                    <a:pt x="360" y="550"/>
                  </a:cubicBezTo>
                  <a:cubicBezTo>
                    <a:pt x="360" y="568"/>
                    <a:pt x="375" y="582"/>
                    <a:pt x="392" y="582"/>
                  </a:cubicBezTo>
                  <a:cubicBezTo>
                    <a:pt x="410" y="582"/>
                    <a:pt x="424" y="568"/>
                    <a:pt x="424" y="550"/>
                  </a:cubicBezTo>
                  <a:cubicBezTo>
                    <a:pt x="424" y="486"/>
                    <a:pt x="424" y="486"/>
                    <a:pt x="424" y="486"/>
                  </a:cubicBezTo>
                  <a:cubicBezTo>
                    <a:pt x="548" y="486"/>
                    <a:pt x="548" y="486"/>
                    <a:pt x="548" y="486"/>
                  </a:cubicBezTo>
                  <a:cubicBezTo>
                    <a:pt x="643" y="486"/>
                    <a:pt x="720" y="564"/>
                    <a:pt x="720" y="659"/>
                  </a:cubicBezTo>
                  <a:lnTo>
                    <a:pt x="720" y="787"/>
                  </a:lnTo>
                  <a:close/>
                  <a:moveTo>
                    <a:pt x="720" y="787"/>
                  </a:moveTo>
                  <a:cubicBezTo>
                    <a:pt x="720" y="787"/>
                    <a:pt x="720" y="787"/>
                    <a:pt x="720" y="7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533"/>
            <p:cNvSpPr>
              <a:spLocks noEditPoints="1"/>
            </p:cNvSpPr>
            <p:nvPr/>
          </p:nvSpPr>
          <p:spPr bwMode="auto">
            <a:xfrm>
              <a:off x="3058" y="2762"/>
              <a:ext cx="1236" cy="1183"/>
            </a:xfrm>
            <a:custGeom>
              <a:avLst/>
              <a:gdLst>
                <a:gd name="T0" fmla="*/ 493 w 653"/>
                <a:gd name="T1" fmla="*/ 263 h 625"/>
                <a:gd name="T2" fmla="*/ 449 w 653"/>
                <a:gd name="T3" fmla="*/ 263 h 625"/>
                <a:gd name="T4" fmla="*/ 475 w 653"/>
                <a:gd name="T5" fmla="*/ 178 h 625"/>
                <a:gd name="T6" fmla="*/ 475 w 653"/>
                <a:gd name="T7" fmla="*/ 149 h 625"/>
                <a:gd name="T8" fmla="*/ 326 w 653"/>
                <a:gd name="T9" fmla="*/ 0 h 625"/>
                <a:gd name="T10" fmla="*/ 177 w 653"/>
                <a:gd name="T11" fmla="*/ 149 h 625"/>
                <a:gd name="T12" fmla="*/ 177 w 653"/>
                <a:gd name="T13" fmla="*/ 178 h 625"/>
                <a:gd name="T14" fmla="*/ 204 w 653"/>
                <a:gd name="T15" fmla="*/ 263 h 625"/>
                <a:gd name="T16" fmla="*/ 160 w 653"/>
                <a:gd name="T17" fmla="*/ 263 h 625"/>
                <a:gd name="T18" fmla="*/ 0 w 653"/>
                <a:gd name="T19" fmla="*/ 423 h 625"/>
                <a:gd name="T20" fmla="*/ 0 w 653"/>
                <a:gd name="T21" fmla="*/ 593 h 625"/>
                <a:gd name="T22" fmla="*/ 32 w 653"/>
                <a:gd name="T23" fmla="*/ 625 h 625"/>
                <a:gd name="T24" fmla="*/ 621 w 653"/>
                <a:gd name="T25" fmla="*/ 625 h 625"/>
                <a:gd name="T26" fmla="*/ 653 w 653"/>
                <a:gd name="T27" fmla="*/ 593 h 625"/>
                <a:gd name="T28" fmla="*/ 653 w 653"/>
                <a:gd name="T29" fmla="*/ 423 h 625"/>
                <a:gd name="T30" fmla="*/ 493 w 653"/>
                <a:gd name="T31" fmla="*/ 263 h 625"/>
                <a:gd name="T32" fmla="*/ 241 w 653"/>
                <a:gd name="T33" fmla="*/ 149 h 625"/>
                <a:gd name="T34" fmla="*/ 326 w 653"/>
                <a:gd name="T35" fmla="*/ 64 h 625"/>
                <a:gd name="T36" fmla="*/ 411 w 653"/>
                <a:gd name="T37" fmla="*/ 149 h 625"/>
                <a:gd name="T38" fmla="*/ 411 w 653"/>
                <a:gd name="T39" fmla="*/ 178 h 625"/>
                <a:gd name="T40" fmla="*/ 326 w 653"/>
                <a:gd name="T41" fmla="*/ 263 h 625"/>
                <a:gd name="T42" fmla="*/ 241 w 653"/>
                <a:gd name="T43" fmla="*/ 178 h 625"/>
                <a:gd name="T44" fmla="*/ 241 w 653"/>
                <a:gd name="T45" fmla="*/ 149 h 625"/>
                <a:gd name="T46" fmla="*/ 589 w 653"/>
                <a:gd name="T47" fmla="*/ 561 h 625"/>
                <a:gd name="T48" fmla="*/ 64 w 653"/>
                <a:gd name="T49" fmla="*/ 561 h 625"/>
                <a:gd name="T50" fmla="*/ 64 w 653"/>
                <a:gd name="T51" fmla="*/ 423 h 625"/>
                <a:gd name="T52" fmla="*/ 160 w 653"/>
                <a:gd name="T53" fmla="*/ 327 h 625"/>
                <a:gd name="T54" fmla="*/ 294 w 653"/>
                <a:gd name="T55" fmla="*/ 327 h 625"/>
                <a:gd name="T56" fmla="*/ 294 w 653"/>
                <a:gd name="T57" fmla="*/ 392 h 625"/>
                <a:gd name="T58" fmla="*/ 326 w 653"/>
                <a:gd name="T59" fmla="*/ 424 h 625"/>
                <a:gd name="T60" fmla="*/ 358 w 653"/>
                <a:gd name="T61" fmla="*/ 392 h 625"/>
                <a:gd name="T62" fmla="*/ 358 w 653"/>
                <a:gd name="T63" fmla="*/ 327 h 625"/>
                <a:gd name="T64" fmla="*/ 493 w 653"/>
                <a:gd name="T65" fmla="*/ 327 h 625"/>
                <a:gd name="T66" fmla="*/ 589 w 653"/>
                <a:gd name="T67" fmla="*/ 423 h 625"/>
                <a:gd name="T68" fmla="*/ 589 w 653"/>
                <a:gd name="T69" fmla="*/ 561 h 625"/>
                <a:gd name="T70" fmla="*/ 589 w 653"/>
                <a:gd name="T71" fmla="*/ 561 h 625"/>
                <a:gd name="T72" fmla="*/ 589 w 653"/>
                <a:gd name="T73" fmla="*/ 5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3" h="625">
                  <a:moveTo>
                    <a:pt x="493" y="263"/>
                  </a:moveTo>
                  <a:cubicBezTo>
                    <a:pt x="449" y="263"/>
                    <a:pt x="449" y="263"/>
                    <a:pt x="449" y="263"/>
                  </a:cubicBezTo>
                  <a:cubicBezTo>
                    <a:pt x="465" y="239"/>
                    <a:pt x="475" y="210"/>
                    <a:pt x="475" y="178"/>
                  </a:cubicBezTo>
                  <a:cubicBezTo>
                    <a:pt x="475" y="149"/>
                    <a:pt x="475" y="149"/>
                    <a:pt x="475" y="149"/>
                  </a:cubicBezTo>
                  <a:cubicBezTo>
                    <a:pt x="475" y="67"/>
                    <a:pt x="409" y="0"/>
                    <a:pt x="326" y="0"/>
                  </a:cubicBezTo>
                  <a:cubicBezTo>
                    <a:pt x="244" y="0"/>
                    <a:pt x="177" y="67"/>
                    <a:pt x="177" y="149"/>
                  </a:cubicBezTo>
                  <a:cubicBezTo>
                    <a:pt x="177" y="178"/>
                    <a:pt x="177" y="178"/>
                    <a:pt x="177" y="178"/>
                  </a:cubicBezTo>
                  <a:cubicBezTo>
                    <a:pt x="177" y="210"/>
                    <a:pt x="187" y="239"/>
                    <a:pt x="204" y="263"/>
                  </a:cubicBezTo>
                  <a:cubicBezTo>
                    <a:pt x="160" y="263"/>
                    <a:pt x="160" y="263"/>
                    <a:pt x="160" y="263"/>
                  </a:cubicBezTo>
                  <a:cubicBezTo>
                    <a:pt x="72" y="263"/>
                    <a:pt x="0" y="335"/>
                    <a:pt x="0" y="423"/>
                  </a:cubicBezTo>
                  <a:cubicBezTo>
                    <a:pt x="0" y="593"/>
                    <a:pt x="0" y="593"/>
                    <a:pt x="0" y="593"/>
                  </a:cubicBezTo>
                  <a:cubicBezTo>
                    <a:pt x="0" y="611"/>
                    <a:pt x="14" y="625"/>
                    <a:pt x="32" y="625"/>
                  </a:cubicBezTo>
                  <a:cubicBezTo>
                    <a:pt x="621" y="625"/>
                    <a:pt x="621" y="625"/>
                    <a:pt x="621" y="625"/>
                  </a:cubicBezTo>
                  <a:cubicBezTo>
                    <a:pt x="638" y="625"/>
                    <a:pt x="653" y="611"/>
                    <a:pt x="653" y="593"/>
                  </a:cubicBezTo>
                  <a:cubicBezTo>
                    <a:pt x="653" y="423"/>
                    <a:pt x="653" y="423"/>
                    <a:pt x="653" y="423"/>
                  </a:cubicBezTo>
                  <a:cubicBezTo>
                    <a:pt x="653" y="335"/>
                    <a:pt x="581" y="263"/>
                    <a:pt x="493" y="263"/>
                  </a:cubicBezTo>
                  <a:close/>
                  <a:moveTo>
                    <a:pt x="241" y="149"/>
                  </a:moveTo>
                  <a:cubicBezTo>
                    <a:pt x="241" y="102"/>
                    <a:pt x="280" y="64"/>
                    <a:pt x="326" y="64"/>
                  </a:cubicBezTo>
                  <a:cubicBezTo>
                    <a:pt x="373" y="64"/>
                    <a:pt x="411" y="102"/>
                    <a:pt x="411" y="149"/>
                  </a:cubicBezTo>
                  <a:cubicBezTo>
                    <a:pt x="411" y="178"/>
                    <a:pt x="411" y="178"/>
                    <a:pt x="411" y="178"/>
                  </a:cubicBezTo>
                  <a:cubicBezTo>
                    <a:pt x="411" y="225"/>
                    <a:pt x="373" y="263"/>
                    <a:pt x="326" y="263"/>
                  </a:cubicBezTo>
                  <a:cubicBezTo>
                    <a:pt x="280" y="263"/>
                    <a:pt x="241" y="225"/>
                    <a:pt x="241" y="178"/>
                  </a:cubicBezTo>
                  <a:lnTo>
                    <a:pt x="241" y="149"/>
                  </a:lnTo>
                  <a:close/>
                  <a:moveTo>
                    <a:pt x="589" y="561"/>
                  </a:moveTo>
                  <a:cubicBezTo>
                    <a:pt x="64" y="561"/>
                    <a:pt x="64" y="561"/>
                    <a:pt x="64" y="561"/>
                  </a:cubicBezTo>
                  <a:cubicBezTo>
                    <a:pt x="64" y="423"/>
                    <a:pt x="64" y="423"/>
                    <a:pt x="64" y="423"/>
                  </a:cubicBezTo>
                  <a:cubicBezTo>
                    <a:pt x="64" y="370"/>
                    <a:pt x="107" y="327"/>
                    <a:pt x="160" y="327"/>
                  </a:cubicBezTo>
                  <a:cubicBezTo>
                    <a:pt x="294" y="327"/>
                    <a:pt x="294" y="327"/>
                    <a:pt x="294" y="327"/>
                  </a:cubicBezTo>
                  <a:cubicBezTo>
                    <a:pt x="294" y="392"/>
                    <a:pt x="294" y="392"/>
                    <a:pt x="294" y="392"/>
                  </a:cubicBezTo>
                  <a:cubicBezTo>
                    <a:pt x="294" y="409"/>
                    <a:pt x="309" y="424"/>
                    <a:pt x="326" y="424"/>
                  </a:cubicBezTo>
                  <a:cubicBezTo>
                    <a:pt x="344" y="424"/>
                    <a:pt x="358" y="409"/>
                    <a:pt x="358" y="392"/>
                  </a:cubicBezTo>
                  <a:cubicBezTo>
                    <a:pt x="358" y="327"/>
                    <a:pt x="358" y="327"/>
                    <a:pt x="358" y="327"/>
                  </a:cubicBezTo>
                  <a:cubicBezTo>
                    <a:pt x="493" y="327"/>
                    <a:pt x="493" y="327"/>
                    <a:pt x="493" y="327"/>
                  </a:cubicBezTo>
                  <a:cubicBezTo>
                    <a:pt x="546" y="327"/>
                    <a:pt x="589" y="370"/>
                    <a:pt x="589" y="423"/>
                  </a:cubicBezTo>
                  <a:lnTo>
                    <a:pt x="589" y="561"/>
                  </a:lnTo>
                  <a:close/>
                  <a:moveTo>
                    <a:pt x="589" y="561"/>
                  </a:moveTo>
                  <a:cubicBezTo>
                    <a:pt x="589" y="561"/>
                    <a:pt x="589" y="561"/>
                    <a:pt x="589" y="5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534"/>
            <p:cNvSpPr>
              <a:spLocks noEditPoints="1"/>
            </p:cNvSpPr>
            <p:nvPr/>
          </p:nvSpPr>
          <p:spPr bwMode="auto">
            <a:xfrm>
              <a:off x="4925" y="2762"/>
              <a:ext cx="1234" cy="1183"/>
            </a:xfrm>
            <a:custGeom>
              <a:avLst/>
              <a:gdLst>
                <a:gd name="T0" fmla="*/ 492 w 652"/>
                <a:gd name="T1" fmla="*/ 263 h 625"/>
                <a:gd name="T2" fmla="*/ 448 w 652"/>
                <a:gd name="T3" fmla="*/ 263 h 625"/>
                <a:gd name="T4" fmla="*/ 475 w 652"/>
                <a:gd name="T5" fmla="*/ 178 h 625"/>
                <a:gd name="T6" fmla="*/ 475 w 652"/>
                <a:gd name="T7" fmla="*/ 149 h 625"/>
                <a:gd name="T8" fmla="*/ 326 w 652"/>
                <a:gd name="T9" fmla="*/ 0 h 625"/>
                <a:gd name="T10" fmla="*/ 177 w 652"/>
                <a:gd name="T11" fmla="*/ 149 h 625"/>
                <a:gd name="T12" fmla="*/ 177 w 652"/>
                <a:gd name="T13" fmla="*/ 178 h 625"/>
                <a:gd name="T14" fmla="*/ 204 w 652"/>
                <a:gd name="T15" fmla="*/ 263 h 625"/>
                <a:gd name="T16" fmla="*/ 160 w 652"/>
                <a:gd name="T17" fmla="*/ 263 h 625"/>
                <a:gd name="T18" fmla="*/ 0 w 652"/>
                <a:gd name="T19" fmla="*/ 423 h 625"/>
                <a:gd name="T20" fmla="*/ 0 w 652"/>
                <a:gd name="T21" fmla="*/ 593 h 625"/>
                <a:gd name="T22" fmla="*/ 32 w 652"/>
                <a:gd name="T23" fmla="*/ 625 h 625"/>
                <a:gd name="T24" fmla="*/ 620 w 652"/>
                <a:gd name="T25" fmla="*/ 625 h 625"/>
                <a:gd name="T26" fmla="*/ 652 w 652"/>
                <a:gd name="T27" fmla="*/ 593 h 625"/>
                <a:gd name="T28" fmla="*/ 652 w 652"/>
                <a:gd name="T29" fmla="*/ 423 h 625"/>
                <a:gd name="T30" fmla="*/ 492 w 652"/>
                <a:gd name="T31" fmla="*/ 263 h 625"/>
                <a:gd name="T32" fmla="*/ 241 w 652"/>
                <a:gd name="T33" fmla="*/ 149 h 625"/>
                <a:gd name="T34" fmla="*/ 326 w 652"/>
                <a:gd name="T35" fmla="*/ 64 h 625"/>
                <a:gd name="T36" fmla="*/ 411 w 652"/>
                <a:gd name="T37" fmla="*/ 149 h 625"/>
                <a:gd name="T38" fmla="*/ 411 w 652"/>
                <a:gd name="T39" fmla="*/ 178 h 625"/>
                <a:gd name="T40" fmla="*/ 326 w 652"/>
                <a:gd name="T41" fmla="*/ 263 h 625"/>
                <a:gd name="T42" fmla="*/ 241 w 652"/>
                <a:gd name="T43" fmla="*/ 178 h 625"/>
                <a:gd name="T44" fmla="*/ 241 w 652"/>
                <a:gd name="T45" fmla="*/ 149 h 625"/>
                <a:gd name="T46" fmla="*/ 588 w 652"/>
                <a:gd name="T47" fmla="*/ 561 h 625"/>
                <a:gd name="T48" fmla="*/ 64 w 652"/>
                <a:gd name="T49" fmla="*/ 561 h 625"/>
                <a:gd name="T50" fmla="*/ 64 w 652"/>
                <a:gd name="T51" fmla="*/ 423 h 625"/>
                <a:gd name="T52" fmla="*/ 160 w 652"/>
                <a:gd name="T53" fmla="*/ 327 h 625"/>
                <a:gd name="T54" fmla="*/ 294 w 652"/>
                <a:gd name="T55" fmla="*/ 327 h 625"/>
                <a:gd name="T56" fmla="*/ 294 w 652"/>
                <a:gd name="T57" fmla="*/ 392 h 625"/>
                <a:gd name="T58" fmla="*/ 326 w 652"/>
                <a:gd name="T59" fmla="*/ 424 h 625"/>
                <a:gd name="T60" fmla="*/ 358 w 652"/>
                <a:gd name="T61" fmla="*/ 392 h 625"/>
                <a:gd name="T62" fmla="*/ 358 w 652"/>
                <a:gd name="T63" fmla="*/ 327 h 625"/>
                <a:gd name="T64" fmla="*/ 492 w 652"/>
                <a:gd name="T65" fmla="*/ 327 h 625"/>
                <a:gd name="T66" fmla="*/ 588 w 652"/>
                <a:gd name="T67" fmla="*/ 423 h 625"/>
                <a:gd name="T68" fmla="*/ 588 w 652"/>
                <a:gd name="T69" fmla="*/ 561 h 625"/>
                <a:gd name="T70" fmla="*/ 588 w 652"/>
                <a:gd name="T71" fmla="*/ 561 h 625"/>
                <a:gd name="T72" fmla="*/ 588 w 652"/>
                <a:gd name="T73" fmla="*/ 5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2" h="625">
                  <a:moveTo>
                    <a:pt x="492" y="263"/>
                  </a:moveTo>
                  <a:cubicBezTo>
                    <a:pt x="448" y="263"/>
                    <a:pt x="448" y="263"/>
                    <a:pt x="448" y="263"/>
                  </a:cubicBezTo>
                  <a:cubicBezTo>
                    <a:pt x="465" y="239"/>
                    <a:pt x="475" y="210"/>
                    <a:pt x="475" y="178"/>
                  </a:cubicBezTo>
                  <a:cubicBezTo>
                    <a:pt x="475" y="149"/>
                    <a:pt x="475" y="149"/>
                    <a:pt x="475" y="149"/>
                  </a:cubicBezTo>
                  <a:cubicBezTo>
                    <a:pt x="475" y="67"/>
                    <a:pt x="408" y="0"/>
                    <a:pt x="326" y="0"/>
                  </a:cubicBezTo>
                  <a:cubicBezTo>
                    <a:pt x="244" y="0"/>
                    <a:pt x="177" y="67"/>
                    <a:pt x="177" y="149"/>
                  </a:cubicBezTo>
                  <a:cubicBezTo>
                    <a:pt x="177" y="178"/>
                    <a:pt x="177" y="178"/>
                    <a:pt x="177" y="178"/>
                  </a:cubicBezTo>
                  <a:cubicBezTo>
                    <a:pt x="177" y="210"/>
                    <a:pt x="187" y="239"/>
                    <a:pt x="204" y="263"/>
                  </a:cubicBezTo>
                  <a:cubicBezTo>
                    <a:pt x="160" y="263"/>
                    <a:pt x="160" y="263"/>
                    <a:pt x="160" y="263"/>
                  </a:cubicBezTo>
                  <a:cubicBezTo>
                    <a:pt x="71" y="263"/>
                    <a:pt x="0" y="335"/>
                    <a:pt x="0" y="423"/>
                  </a:cubicBezTo>
                  <a:cubicBezTo>
                    <a:pt x="0" y="593"/>
                    <a:pt x="0" y="593"/>
                    <a:pt x="0" y="593"/>
                  </a:cubicBezTo>
                  <a:cubicBezTo>
                    <a:pt x="0" y="611"/>
                    <a:pt x="14" y="625"/>
                    <a:pt x="32" y="625"/>
                  </a:cubicBezTo>
                  <a:cubicBezTo>
                    <a:pt x="620" y="625"/>
                    <a:pt x="620" y="625"/>
                    <a:pt x="620" y="625"/>
                  </a:cubicBezTo>
                  <a:cubicBezTo>
                    <a:pt x="638" y="625"/>
                    <a:pt x="652" y="611"/>
                    <a:pt x="652" y="593"/>
                  </a:cubicBezTo>
                  <a:cubicBezTo>
                    <a:pt x="652" y="423"/>
                    <a:pt x="652" y="423"/>
                    <a:pt x="652" y="423"/>
                  </a:cubicBezTo>
                  <a:cubicBezTo>
                    <a:pt x="652" y="335"/>
                    <a:pt x="581" y="263"/>
                    <a:pt x="492" y="263"/>
                  </a:cubicBezTo>
                  <a:close/>
                  <a:moveTo>
                    <a:pt x="241" y="149"/>
                  </a:moveTo>
                  <a:cubicBezTo>
                    <a:pt x="241" y="102"/>
                    <a:pt x="279" y="64"/>
                    <a:pt x="326" y="64"/>
                  </a:cubicBezTo>
                  <a:cubicBezTo>
                    <a:pt x="373" y="64"/>
                    <a:pt x="411" y="102"/>
                    <a:pt x="411" y="149"/>
                  </a:cubicBezTo>
                  <a:cubicBezTo>
                    <a:pt x="411" y="178"/>
                    <a:pt x="411" y="178"/>
                    <a:pt x="411" y="178"/>
                  </a:cubicBezTo>
                  <a:cubicBezTo>
                    <a:pt x="411" y="225"/>
                    <a:pt x="373" y="263"/>
                    <a:pt x="326" y="263"/>
                  </a:cubicBezTo>
                  <a:cubicBezTo>
                    <a:pt x="279" y="263"/>
                    <a:pt x="241" y="225"/>
                    <a:pt x="241" y="178"/>
                  </a:cubicBezTo>
                  <a:lnTo>
                    <a:pt x="241" y="149"/>
                  </a:lnTo>
                  <a:close/>
                  <a:moveTo>
                    <a:pt x="588" y="561"/>
                  </a:moveTo>
                  <a:cubicBezTo>
                    <a:pt x="64" y="561"/>
                    <a:pt x="64" y="561"/>
                    <a:pt x="64" y="561"/>
                  </a:cubicBezTo>
                  <a:cubicBezTo>
                    <a:pt x="64" y="423"/>
                    <a:pt x="64" y="423"/>
                    <a:pt x="64" y="423"/>
                  </a:cubicBezTo>
                  <a:cubicBezTo>
                    <a:pt x="64" y="370"/>
                    <a:pt x="107" y="327"/>
                    <a:pt x="160" y="327"/>
                  </a:cubicBezTo>
                  <a:cubicBezTo>
                    <a:pt x="294" y="327"/>
                    <a:pt x="294" y="327"/>
                    <a:pt x="294" y="327"/>
                  </a:cubicBezTo>
                  <a:cubicBezTo>
                    <a:pt x="294" y="392"/>
                    <a:pt x="294" y="392"/>
                    <a:pt x="294" y="392"/>
                  </a:cubicBezTo>
                  <a:cubicBezTo>
                    <a:pt x="294" y="409"/>
                    <a:pt x="308" y="424"/>
                    <a:pt x="326" y="424"/>
                  </a:cubicBezTo>
                  <a:cubicBezTo>
                    <a:pt x="344" y="424"/>
                    <a:pt x="358" y="409"/>
                    <a:pt x="358" y="392"/>
                  </a:cubicBezTo>
                  <a:cubicBezTo>
                    <a:pt x="358" y="327"/>
                    <a:pt x="358" y="327"/>
                    <a:pt x="358" y="327"/>
                  </a:cubicBezTo>
                  <a:cubicBezTo>
                    <a:pt x="492" y="327"/>
                    <a:pt x="492" y="327"/>
                    <a:pt x="492" y="327"/>
                  </a:cubicBezTo>
                  <a:cubicBezTo>
                    <a:pt x="545" y="327"/>
                    <a:pt x="588" y="370"/>
                    <a:pt x="588" y="423"/>
                  </a:cubicBezTo>
                  <a:lnTo>
                    <a:pt x="588" y="561"/>
                  </a:lnTo>
                  <a:close/>
                  <a:moveTo>
                    <a:pt x="588" y="561"/>
                  </a:moveTo>
                  <a:cubicBezTo>
                    <a:pt x="588" y="561"/>
                    <a:pt x="588" y="561"/>
                    <a:pt x="588" y="5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535"/>
            <p:cNvSpPr>
              <a:spLocks noEditPoints="1"/>
            </p:cNvSpPr>
            <p:nvPr/>
          </p:nvSpPr>
          <p:spPr bwMode="auto">
            <a:xfrm>
              <a:off x="4207" y="2574"/>
              <a:ext cx="803" cy="743"/>
            </a:xfrm>
            <a:custGeom>
              <a:avLst/>
              <a:gdLst>
                <a:gd name="T0" fmla="*/ 412 w 424"/>
                <a:gd name="T1" fmla="*/ 334 h 392"/>
                <a:gd name="T2" fmla="*/ 244 w 424"/>
                <a:gd name="T3" fmla="*/ 166 h 392"/>
                <a:gd name="T4" fmla="*/ 244 w 424"/>
                <a:gd name="T5" fmla="*/ 32 h 392"/>
                <a:gd name="T6" fmla="*/ 212 w 424"/>
                <a:gd name="T7" fmla="*/ 0 h 392"/>
                <a:gd name="T8" fmla="*/ 180 w 424"/>
                <a:gd name="T9" fmla="*/ 32 h 392"/>
                <a:gd name="T10" fmla="*/ 180 w 424"/>
                <a:gd name="T11" fmla="*/ 166 h 392"/>
                <a:gd name="T12" fmla="*/ 13 w 424"/>
                <a:gd name="T13" fmla="*/ 334 h 392"/>
                <a:gd name="T14" fmla="*/ 13 w 424"/>
                <a:gd name="T15" fmla="*/ 379 h 392"/>
                <a:gd name="T16" fmla="*/ 58 w 424"/>
                <a:gd name="T17" fmla="*/ 379 h 392"/>
                <a:gd name="T18" fmla="*/ 212 w 424"/>
                <a:gd name="T19" fmla="*/ 225 h 392"/>
                <a:gd name="T20" fmla="*/ 367 w 424"/>
                <a:gd name="T21" fmla="*/ 379 h 392"/>
                <a:gd name="T22" fmla="*/ 389 w 424"/>
                <a:gd name="T23" fmla="*/ 388 h 392"/>
                <a:gd name="T24" fmla="*/ 412 w 424"/>
                <a:gd name="T25" fmla="*/ 379 h 392"/>
                <a:gd name="T26" fmla="*/ 412 w 424"/>
                <a:gd name="T27" fmla="*/ 334 h 392"/>
                <a:gd name="T28" fmla="*/ 412 w 424"/>
                <a:gd name="T29" fmla="*/ 334 h 392"/>
                <a:gd name="T30" fmla="*/ 412 w 424"/>
                <a:gd name="T31" fmla="*/ 33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4" h="392">
                  <a:moveTo>
                    <a:pt x="412" y="334"/>
                  </a:moveTo>
                  <a:cubicBezTo>
                    <a:pt x="244" y="166"/>
                    <a:pt x="244" y="166"/>
                    <a:pt x="244" y="166"/>
                  </a:cubicBezTo>
                  <a:cubicBezTo>
                    <a:pt x="244" y="32"/>
                    <a:pt x="244" y="32"/>
                    <a:pt x="244" y="32"/>
                  </a:cubicBezTo>
                  <a:cubicBezTo>
                    <a:pt x="244" y="14"/>
                    <a:pt x="230" y="0"/>
                    <a:pt x="212" y="0"/>
                  </a:cubicBezTo>
                  <a:cubicBezTo>
                    <a:pt x="195" y="0"/>
                    <a:pt x="180" y="14"/>
                    <a:pt x="180" y="32"/>
                  </a:cubicBezTo>
                  <a:cubicBezTo>
                    <a:pt x="180" y="166"/>
                    <a:pt x="180" y="166"/>
                    <a:pt x="180" y="166"/>
                  </a:cubicBezTo>
                  <a:cubicBezTo>
                    <a:pt x="13" y="334"/>
                    <a:pt x="13" y="334"/>
                    <a:pt x="13" y="334"/>
                  </a:cubicBezTo>
                  <a:cubicBezTo>
                    <a:pt x="0" y="346"/>
                    <a:pt x="0" y="367"/>
                    <a:pt x="13" y="379"/>
                  </a:cubicBezTo>
                  <a:cubicBezTo>
                    <a:pt x="25" y="392"/>
                    <a:pt x="45" y="392"/>
                    <a:pt x="58" y="379"/>
                  </a:cubicBezTo>
                  <a:cubicBezTo>
                    <a:pt x="212" y="225"/>
                    <a:pt x="212" y="225"/>
                    <a:pt x="212" y="225"/>
                  </a:cubicBezTo>
                  <a:cubicBezTo>
                    <a:pt x="367" y="379"/>
                    <a:pt x="367" y="379"/>
                    <a:pt x="367" y="379"/>
                  </a:cubicBezTo>
                  <a:cubicBezTo>
                    <a:pt x="373" y="385"/>
                    <a:pt x="381" y="388"/>
                    <a:pt x="389" y="388"/>
                  </a:cubicBezTo>
                  <a:cubicBezTo>
                    <a:pt x="397" y="388"/>
                    <a:pt x="406" y="385"/>
                    <a:pt x="412" y="379"/>
                  </a:cubicBezTo>
                  <a:cubicBezTo>
                    <a:pt x="424" y="367"/>
                    <a:pt x="424" y="346"/>
                    <a:pt x="412" y="334"/>
                  </a:cubicBezTo>
                  <a:close/>
                  <a:moveTo>
                    <a:pt x="412" y="334"/>
                  </a:moveTo>
                  <a:cubicBezTo>
                    <a:pt x="412" y="334"/>
                    <a:pt x="412" y="334"/>
                    <a:pt x="412" y="3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536"/>
            <p:cNvSpPr>
              <a:spLocks noEditPoints="1"/>
            </p:cNvSpPr>
            <p:nvPr/>
          </p:nvSpPr>
          <p:spPr bwMode="auto">
            <a:xfrm>
              <a:off x="4548" y="2059"/>
              <a:ext cx="121" cy="122"/>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9" name="Group 546"/>
          <p:cNvGrpSpPr>
            <a:grpSpLocks noChangeAspect="1"/>
          </p:cNvGrpSpPr>
          <p:nvPr/>
        </p:nvGrpSpPr>
        <p:grpSpPr bwMode="auto">
          <a:xfrm>
            <a:off x="5317784" y="4107973"/>
            <a:ext cx="403681" cy="457200"/>
            <a:chOff x="3628" y="-496"/>
            <a:chExt cx="2738" cy="3101"/>
          </a:xfrm>
          <a:solidFill>
            <a:schemeClr val="accent1"/>
          </a:solidFill>
        </p:grpSpPr>
        <p:sp>
          <p:nvSpPr>
            <p:cNvPr id="551" name="Freeform 547"/>
            <p:cNvSpPr>
              <a:spLocks noEditPoints="1"/>
            </p:cNvSpPr>
            <p:nvPr/>
          </p:nvSpPr>
          <p:spPr bwMode="auto">
            <a:xfrm>
              <a:off x="4347" y="1560"/>
              <a:ext cx="2019" cy="1045"/>
            </a:xfrm>
            <a:custGeom>
              <a:avLst/>
              <a:gdLst>
                <a:gd name="T0" fmla="*/ 1006 w 1066"/>
                <a:gd name="T1" fmla="*/ 164 h 552"/>
                <a:gd name="T2" fmla="*/ 848 w 1066"/>
                <a:gd name="T3" fmla="*/ 56 h 552"/>
                <a:gd name="T4" fmla="*/ 673 w 1066"/>
                <a:gd name="T5" fmla="*/ 5 h 552"/>
                <a:gd name="T6" fmla="*/ 634 w 1066"/>
                <a:gd name="T7" fmla="*/ 27 h 552"/>
                <a:gd name="T8" fmla="*/ 656 w 1066"/>
                <a:gd name="T9" fmla="*/ 67 h 552"/>
                <a:gd name="T10" fmla="*/ 830 w 1066"/>
                <a:gd name="T11" fmla="*/ 117 h 552"/>
                <a:gd name="T12" fmla="*/ 1002 w 1066"/>
                <a:gd name="T13" fmla="*/ 346 h 552"/>
                <a:gd name="T14" fmla="*/ 1002 w 1066"/>
                <a:gd name="T15" fmla="*/ 488 h 552"/>
                <a:gd name="T16" fmla="*/ 32 w 1066"/>
                <a:gd name="T17" fmla="*/ 488 h 552"/>
                <a:gd name="T18" fmla="*/ 0 w 1066"/>
                <a:gd name="T19" fmla="*/ 520 h 552"/>
                <a:gd name="T20" fmla="*/ 32 w 1066"/>
                <a:gd name="T21" fmla="*/ 552 h 552"/>
                <a:gd name="T22" fmla="*/ 1034 w 1066"/>
                <a:gd name="T23" fmla="*/ 552 h 552"/>
                <a:gd name="T24" fmla="*/ 1066 w 1066"/>
                <a:gd name="T25" fmla="*/ 520 h 552"/>
                <a:gd name="T26" fmla="*/ 1066 w 1066"/>
                <a:gd name="T27" fmla="*/ 346 h 552"/>
                <a:gd name="T28" fmla="*/ 1006 w 1066"/>
                <a:gd name="T29" fmla="*/ 164 h 552"/>
                <a:gd name="T30" fmla="*/ 1006 w 1066"/>
                <a:gd name="T31" fmla="*/ 164 h 552"/>
                <a:gd name="T32" fmla="*/ 1006 w 1066"/>
                <a:gd name="T33" fmla="*/ 16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6" h="552">
                  <a:moveTo>
                    <a:pt x="1006" y="164"/>
                  </a:moveTo>
                  <a:cubicBezTo>
                    <a:pt x="966" y="112"/>
                    <a:pt x="912" y="74"/>
                    <a:pt x="848" y="56"/>
                  </a:cubicBezTo>
                  <a:cubicBezTo>
                    <a:pt x="673" y="5"/>
                    <a:pt x="673" y="5"/>
                    <a:pt x="673" y="5"/>
                  </a:cubicBezTo>
                  <a:cubicBezTo>
                    <a:pt x="656" y="0"/>
                    <a:pt x="639" y="10"/>
                    <a:pt x="634" y="27"/>
                  </a:cubicBezTo>
                  <a:cubicBezTo>
                    <a:pt x="629" y="44"/>
                    <a:pt x="639" y="62"/>
                    <a:pt x="656" y="67"/>
                  </a:cubicBezTo>
                  <a:cubicBezTo>
                    <a:pt x="830" y="117"/>
                    <a:pt x="830" y="117"/>
                    <a:pt x="830" y="117"/>
                  </a:cubicBezTo>
                  <a:cubicBezTo>
                    <a:pt x="932" y="146"/>
                    <a:pt x="1002" y="240"/>
                    <a:pt x="1002" y="346"/>
                  </a:cubicBezTo>
                  <a:cubicBezTo>
                    <a:pt x="1002" y="488"/>
                    <a:pt x="1002" y="488"/>
                    <a:pt x="1002" y="488"/>
                  </a:cubicBezTo>
                  <a:cubicBezTo>
                    <a:pt x="32" y="488"/>
                    <a:pt x="32" y="488"/>
                    <a:pt x="32" y="488"/>
                  </a:cubicBezTo>
                  <a:cubicBezTo>
                    <a:pt x="14" y="488"/>
                    <a:pt x="0" y="503"/>
                    <a:pt x="0" y="520"/>
                  </a:cubicBezTo>
                  <a:cubicBezTo>
                    <a:pt x="0" y="538"/>
                    <a:pt x="14" y="552"/>
                    <a:pt x="32" y="552"/>
                  </a:cubicBezTo>
                  <a:cubicBezTo>
                    <a:pt x="1034" y="552"/>
                    <a:pt x="1034" y="552"/>
                    <a:pt x="1034" y="552"/>
                  </a:cubicBezTo>
                  <a:cubicBezTo>
                    <a:pt x="1052" y="552"/>
                    <a:pt x="1066" y="538"/>
                    <a:pt x="1066" y="520"/>
                  </a:cubicBezTo>
                  <a:cubicBezTo>
                    <a:pt x="1066" y="346"/>
                    <a:pt x="1066" y="346"/>
                    <a:pt x="1066" y="346"/>
                  </a:cubicBezTo>
                  <a:cubicBezTo>
                    <a:pt x="1066" y="280"/>
                    <a:pt x="1045" y="217"/>
                    <a:pt x="1006" y="164"/>
                  </a:cubicBezTo>
                  <a:close/>
                  <a:moveTo>
                    <a:pt x="1006" y="164"/>
                  </a:moveTo>
                  <a:cubicBezTo>
                    <a:pt x="1006" y="164"/>
                    <a:pt x="1006" y="164"/>
                    <a:pt x="1006" y="1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548"/>
            <p:cNvSpPr>
              <a:spLocks noEditPoints="1"/>
            </p:cNvSpPr>
            <p:nvPr/>
          </p:nvSpPr>
          <p:spPr bwMode="auto">
            <a:xfrm>
              <a:off x="4107" y="2484"/>
              <a:ext cx="121" cy="121"/>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549"/>
            <p:cNvSpPr>
              <a:spLocks noEditPoints="1"/>
            </p:cNvSpPr>
            <p:nvPr/>
          </p:nvSpPr>
          <p:spPr bwMode="auto">
            <a:xfrm>
              <a:off x="3628" y="1573"/>
              <a:ext cx="788" cy="1032"/>
            </a:xfrm>
            <a:custGeom>
              <a:avLst/>
              <a:gdLst>
                <a:gd name="T0" fmla="*/ 411 w 416"/>
                <a:gd name="T1" fmla="*/ 26 h 545"/>
                <a:gd name="T2" fmla="*/ 372 w 416"/>
                <a:gd name="T3" fmla="*/ 5 h 545"/>
                <a:gd name="T4" fmla="*/ 218 w 416"/>
                <a:gd name="T5" fmla="*/ 49 h 545"/>
                <a:gd name="T6" fmla="*/ 61 w 416"/>
                <a:gd name="T7" fmla="*/ 157 h 545"/>
                <a:gd name="T8" fmla="*/ 0 w 416"/>
                <a:gd name="T9" fmla="*/ 339 h 545"/>
                <a:gd name="T10" fmla="*/ 0 w 416"/>
                <a:gd name="T11" fmla="*/ 513 h 545"/>
                <a:gd name="T12" fmla="*/ 32 w 416"/>
                <a:gd name="T13" fmla="*/ 545 h 545"/>
                <a:gd name="T14" fmla="*/ 154 w 416"/>
                <a:gd name="T15" fmla="*/ 545 h 545"/>
                <a:gd name="T16" fmla="*/ 186 w 416"/>
                <a:gd name="T17" fmla="*/ 513 h 545"/>
                <a:gd name="T18" fmla="*/ 154 w 416"/>
                <a:gd name="T19" fmla="*/ 481 h 545"/>
                <a:gd name="T20" fmla="*/ 64 w 416"/>
                <a:gd name="T21" fmla="*/ 481 h 545"/>
                <a:gd name="T22" fmla="*/ 64 w 416"/>
                <a:gd name="T23" fmla="*/ 339 h 545"/>
                <a:gd name="T24" fmla="*/ 236 w 416"/>
                <a:gd name="T25" fmla="*/ 110 h 545"/>
                <a:gd name="T26" fmla="*/ 389 w 416"/>
                <a:gd name="T27" fmla="*/ 66 h 545"/>
                <a:gd name="T28" fmla="*/ 411 w 416"/>
                <a:gd name="T29" fmla="*/ 26 h 545"/>
                <a:gd name="T30" fmla="*/ 411 w 416"/>
                <a:gd name="T31" fmla="*/ 26 h 545"/>
                <a:gd name="T32" fmla="*/ 411 w 416"/>
                <a:gd name="T33" fmla="*/ 2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6" h="545">
                  <a:moveTo>
                    <a:pt x="411" y="26"/>
                  </a:moveTo>
                  <a:cubicBezTo>
                    <a:pt x="406" y="9"/>
                    <a:pt x="389" y="0"/>
                    <a:pt x="372" y="5"/>
                  </a:cubicBezTo>
                  <a:cubicBezTo>
                    <a:pt x="218" y="49"/>
                    <a:pt x="218" y="49"/>
                    <a:pt x="218" y="49"/>
                  </a:cubicBezTo>
                  <a:cubicBezTo>
                    <a:pt x="155" y="67"/>
                    <a:pt x="100" y="105"/>
                    <a:pt x="61" y="157"/>
                  </a:cubicBezTo>
                  <a:cubicBezTo>
                    <a:pt x="21" y="210"/>
                    <a:pt x="0" y="273"/>
                    <a:pt x="0" y="339"/>
                  </a:cubicBezTo>
                  <a:cubicBezTo>
                    <a:pt x="0" y="513"/>
                    <a:pt x="0" y="513"/>
                    <a:pt x="0" y="513"/>
                  </a:cubicBezTo>
                  <a:cubicBezTo>
                    <a:pt x="0" y="531"/>
                    <a:pt x="14" y="545"/>
                    <a:pt x="32" y="545"/>
                  </a:cubicBezTo>
                  <a:cubicBezTo>
                    <a:pt x="154" y="545"/>
                    <a:pt x="154" y="545"/>
                    <a:pt x="154" y="545"/>
                  </a:cubicBezTo>
                  <a:cubicBezTo>
                    <a:pt x="171" y="545"/>
                    <a:pt x="186" y="531"/>
                    <a:pt x="186" y="513"/>
                  </a:cubicBezTo>
                  <a:cubicBezTo>
                    <a:pt x="186" y="496"/>
                    <a:pt x="171" y="481"/>
                    <a:pt x="154" y="481"/>
                  </a:cubicBezTo>
                  <a:cubicBezTo>
                    <a:pt x="64" y="481"/>
                    <a:pt x="64" y="481"/>
                    <a:pt x="64" y="481"/>
                  </a:cubicBezTo>
                  <a:cubicBezTo>
                    <a:pt x="64" y="339"/>
                    <a:pt x="64" y="339"/>
                    <a:pt x="64" y="339"/>
                  </a:cubicBezTo>
                  <a:cubicBezTo>
                    <a:pt x="64" y="233"/>
                    <a:pt x="135" y="139"/>
                    <a:pt x="236" y="110"/>
                  </a:cubicBezTo>
                  <a:cubicBezTo>
                    <a:pt x="389" y="66"/>
                    <a:pt x="389" y="66"/>
                    <a:pt x="389" y="66"/>
                  </a:cubicBezTo>
                  <a:cubicBezTo>
                    <a:pt x="406" y="61"/>
                    <a:pt x="416" y="43"/>
                    <a:pt x="411" y="26"/>
                  </a:cubicBezTo>
                  <a:close/>
                  <a:moveTo>
                    <a:pt x="411" y="26"/>
                  </a:moveTo>
                  <a:cubicBezTo>
                    <a:pt x="411" y="26"/>
                    <a:pt x="411" y="26"/>
                    <a:pt x="411"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550"/>
            <p:cNvSpPr>
              <a:spLocks noEditPoints="1"/>
            </p:cNvSpPr>
            <p:nvPr/>
          </p:nvSpPr>
          <p:spPr bwMode="auto">
            <a:xfrm>
              <a:off x="4213" y="-206"/>
              <a:ext cx="1553" cy="2213"/>
            </a:xfrm>
            <a:custGeom>
              <a:avLst/>
              <a:gdLst>
                <a:gd name="T0" fmla="*/ 766 w 820"/>
                <a:gd name="T1" fmla="*/ 223 h 1169"/>
                <a:gd name="T2" fmla="*/ 624 w 820"/>
                <a:gd name="T3" fmla="*/ 78 h 1169"/>
                <a:gd name="T4" fmla="*/ 203 w 820"/>
                <a:gd name="T5" fmla="*/ 74 h 1169"/>
                <a:gd name="T6" fmla="*/ 62 w 820"/>
                <a:gd name="T7" fmla="*/ 218 h 1169"/>
                <a:gd name="T8" fmla="*/ 15 w 820"/>
                <a:gd name="T9" fmla="*/ 489 h 1169"/>
                <a:gd name="T10" fmla="*/ 126 w 820"/>
                <a:gd name="T11" fmla="*/ 709 h 1169"/>
                <a:gd name="T12" fmla="*/ 201 w 820"/>
                <a:gd name="T13" fmla="*/ 895 h 1169"/>
                <a:gd name="T14" fmla="*/ 239 w 820"/>
                <a:gd name="T15" fmla="*/ 956 h 1169"/>
                <a:gd name="T16" fmla="*/ 239 w 820"/>
                <a:gd name="T17" fmla="*/ 1060 h 1169"/>
                <a:gd name="T18" fmla="*/ 347 w 820"/>
                <a:gd name="T19" fmla="*/ 1169 h 1169"/>
                <a:gd name="T20" fmla="*/ 488 w 820"/>
                <a:gd name="T21" fmla="*/ 1169 h 1169"/>
                <a:gd name="T22" fmla="*/ 597 w 820"/>
                <a:gd name="T23" fmla="*/ 1060 h 1169"/>
                <a:gd name="T24" fmla="*/ 597 w 820"/>
                <a:gd name="T25" fmla="*/ 953 h 1169"/>
                <a:gd name="T26" fmla="*/ 628 w 820"/>
                <a:gd name="T27" fmla="*/ 895 h 1169"/>
                <a:gd name="T28" fmla="*/ 703 w 820"/>
                <a:gd name="T29" fmla="*/ 709 h 1169"/>
                <a:gd name="T30" fmla="*/ 820 w 820"/>
                <a:gd name="T31" fmla="*/ 425 h 1169"/>
                <a:gd name="T32" fmla="*/ 766 w 820"/>
                <a:gd name="T33" fmla="*/ 223 h 1169"/>
                <a:gd name="T34" fmla="*/ 533 w 820"/>
                <a:gd name="T35" fmla="*/ 1060 h 1169"/>
                <a:gd name="T36" fmla="*/ 488 w 820"/>
                <a:gd name="T37" fmla="*/ 1105 h 1169"/>
                <a:gd name="T38" fmla="*/ 347 w 820"/>
                <a:gd name="T39" fmla="*/ 1105 h 1169"/>
                <a:gd name="T40" fmla="*/ 303 w 820"/>
                <a:gd name="T41" fmla="*/ 1060 h 1169"/>
                <a:gd name="T42" fmla="*/ 303 w 820"/>
                <a:gd name="T43" fmla="*/ 964 h 1169"/>
                <a:gd name="T44" fmla="*/ 533 w 820"/>
                <a:gd name="T45" fmla="*/ 964 h 1169"/>
                <a:gd name="T46" fmla="*/ 533 w 820"/>
                <a:gd name="T47" fmla="*/ 1060 h 1169"/>
                <a:gd name="T48" fmla="*/ 658 w 820"/>
                <a:gd name="T49" fmla="*/ 664 h 1169"/>
                <a:gd name="T50" fmla="*/ 564 w 820"/>
                <a:gd name="T51" fmla="*/ 895 h 1169"/>
                <a:gd name="T52" fmla="*/ 559 w 820"/>
                <a:gd name="T53" fmla="*/ 900 h 1169"/>
                <a:gd name="T54" fmla="*/ 446 w 820"/>
                <a:gd name="T55" fmla="*/ 900 h 1169"/>
                <a:gd name="T56" fmla="*/ 446 w 820"/>
                <a:gd name="T57" fmla="*/ 666 h 1169"/>
                <a:gd name="T58" fmla="*/ 414 w 820"/>
                <a:gd name="T59" fmla="*/ 634 h 1169"/>
                <a:gd name="T60" fmla="*/ 382 w 820"/>
                <a:gd name="T61" fmla="*/ 666 h 1169"/>
                <a:gd name="T62" fmla="*/ 382 w 820"/>
                <a:gd name="T63" fmla="*/ 900 h 1169"/>
                <a:gd name="T64" fmla="*/ 270 w 820"/>
                <a:gd name="T65" fmla="*/ 900 h 1169"/>
                <a:gd name="T66" fmla="*/ 265 w 820"/>
                <a:gd name="T67" fmla="*/ 895 h 1169"/>
                <a:gd name="T68" fmla="*/ 172 w 820"/>
                <a:gd name="T69" fmla="*/ 664 h 1169"/>
                <a:gd name="T70" fmla="*/ 119 w 820"/>
                <a:gd name="T71" fmla="*/ 247 h 1169"/>
                <a:gd name="T72" fmla="*/ 233 w 820"/>
                <a:gd name="T73" fmla="*/ 131 h 1169"/>
                <a:gd name="T74" fmla="*/ 415 w 820"/>
                <a:gd name="T75" fmla="*/ 84 h 1169"/>
                <a:gd name="T76" fmla="*/ 591 w 820"/>
                <a:gd name="T77" fmla="*/ 133 h 1169"/>
                <a:gd name="T78" fmla="*/ 756 w 820"/>
                <a:gd name="T79" fmla="*/ 425 h 1169"/>
                <a:gd name="T80" fmla="*/ 658 w 820"/>
                <a:gd name="T81" fmla="*/ 664 h 1169"/>
                <a:gd name="T82" fmla="*/ 658 w 820"/>
                <a:gd name="T83" fmla="*/ 664 h 1169"/>
                <a:gd name="T84" fmla="*/ 658 w 820"/>
                <a:gd name="T85" fmla="*/ 664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0" h="1169">
                  <a:moveTo>
                    <a:pt x="766" y="223"/>
                  </a:moveTo>
                  <a:cubicBezTo>
                    <a:pt x="732" y="164"/>
                    <a:pt x="683" y="113"/>
                    <a:pt x="624" y="78"/>
                  </a:cubicBezTo>
                  <a:cubicBezTo>
                    <a:pt x="498" y="2"/>
                    <a:pt x="344" y="0"/>
                    <a:pt x="203" y="74"/>
                  </a:cubicBezTo>
                  <a:cubicBezTo>
                    <a:pt x="142" y="106"/>
                    <a:pt x="93" y="156"/>
                    <a:pt x="62" y="218"/>
                  </a:cubicBezTo>
                  <a:cubicBezTo>
                    <a:pt x="17" y="306"/>
                    <a:pt x="0" y="399"/>
                    <a:pt x="15" y="489"/>
                  </a:cubicBezTo>
                  <a:cubicBezTo>
                    <a:pt x="28" y="572"/>
                    <a:pt x="66" y="648"/>
                    <a:pt x="126" y="709"/>
                  </a:cubicBezTo>
                  <a:cubicBezTo>
                    <a:pt x="174" y="758"/>
                    <a:pt x="201" y="824"/>
                    <a:pt x="201" y="895"/>
                  </a:cubicBezTo>
                  <a:cubicBezTo>
                    <a:pt x="201" y="921"/>
                    <a:pt x="216" y="945"/>
                    <a:pt x="239" y="956"/>
                  </a:cubicBezTo>
                  <a:cubicBezTo>
                    <a:pt x="239" y="1060"/>
                    <a:pt x="239" y="1060"/>
                    <a:pt x="239" y="1060"/>
                  </a:cubicBezTo>
                  <a:cubicBezTo>
                    <a:pt x="239" y="1120"/>
                    <a:pt x="287" y="1169"/>
                    <a:pt x="347" y="1169"/>
                  </a:cubicBezTo>
                  <a:cubicBezTo>
                    <a:pt x="488" y="1169"/>
                    <a:pt x="488" y="1169"/>
                    <a:pt x="488" y="1169"/>
                  </a:cubicBezTo>
                  <a:cubicBezTo>
                    <a:pt x="548" y="1169"/>
                    <a:pt x="597" y="1120"/>
                    <a:pt x="597" y="1060"/>
                  </a:cubicBezTo>
                  <a:cubicBezTo>
                    <a:pt x="597" y="953"/>
                    <a:pt x="597" y="953"/>
                    <a:pt x="597" y="953"/>
                  </a:cubicBezTo>
                  <a:cubicBezTo>
                    <a:pt x="616" y="940"/>
                    <a:pt x="628" y="919"/>
                    <a:pt x="628" y="895"/>
                  </a:cubicBezTo>
                  <a:cubicBezTo>
                    <a:pt x="628" y="824"/>
                    <a:pt x="655" y="758"/>
                    <a:pt x="703" y="709"/>
                  </a:cubicBezTo>
                  <a:cubicBezTo>
                    <a:pt x="778" y="632"/>
                    <a:pt x="820" y="532"/>
                    <a:pt x="820" y="425"/>
                  </a:cubicBezTo>
                  <a:cubicBezTo>
                    <a:pt x="820" y="354"/>
                    <a:pt x="801" y="284"/>
                    <a:pt x="766" y="223"/>
                  </a:cubicBezTo>
                  <a:close/>
                  <a:moveTo>
                    <a:pt x="533" y="1060"/>
                  </a:moveTo>
                  <a:cubicBezTo>
                    <a:pt x="533" y="1085"/>
                    <a:pt x="513" y="1105"/>
                    <a:pt x="488" y="1105"/>
                  </a:cubicBezTo>
                  <a:cubicBezTo>
                    <a:pt x="347" y="1105"/>
                    <a:pt x="347" y="1105"/>
                    <a:pt x="347" y="1105"/>
                  </a:cubicBezTo>
                  <a:cubicBezTo>
                    <a:pt x="323" y="1105"/>
                    <a:pt x="303" y="1085"/>
                    <a:pt x="303" y="1060"/>
                  </a:cubicBezTo>
                  <a:cubicBezTo>
                    <a:pt x="303" y="964"/>
                    <a:pt x="303" y="964"/>
                    <a:pt x="303" y="964"/>
                  </a:cubicBezTo>
                  <a:cubicBezTo>
                    <a:pt x="533" y="964"/>
                    <a:pt x="533" y="964"/>
                    <a:pt x="533" y="964"/>
                  </a:cubicBezTo>
                  <a:lnTo>
                    <a:pt x="533" y="1060"/>
                  </a:lnTo>
                  <a:close/>
                  <a:moveTo>
                    <a:pt x="658" y="664"/>
                  </a:moveTo>
                  <a:cubicBezTo>
                    <a:pt x="598" y="725"/>
                    <a:pt x="564" y="807"/>
                    <a:pt x="564" y="895"/>
                  </a:cubicBezTo>
                  <a:cubicBezTo>
                    <a:pt x="564" y="897"/>
                    <a:pt x="562" y="900"/>
                    <a:pt x="559" y="900"/>
                  </a:cubicBezTo>
                  <a:cubicBezTo>
                    <a:pt x="446" y="900"/>
                    <a:pt x="446" y="900"/>
                    <a:pt x="446" y="900"/>
                  </a:cubicBezTo>
                  <a:cubicBezTo>
                    <a:pt x="446" y="666"/>
                    <a:pt x="446" y="666"/>
                    <a:pt x="446" y="666"/>
                  </a:cubicBezTo>
                  <a:cubicBezTo>
                    <a:pt x="446" y="649"/>
                    <a:pt x="432" y="634"/>
                    <a:pt x="414" y="634"/>
                  </a:cubicBezTo>
                  <a:cubicBezTo>
                    <a:pt x="397" y="634"/>
                    <a:pt x="382" y="649"/>
                    <a:pt x="382" y="666"/>
                  </a:cubicBezTo>
                  <a:cubicBezTo>
                    <a:pt x="382" y="900"/>
                    <a:pt x="382" y="900"/>
                    <a:pt x="382" y="900"/>
                  </a:cubicBezTo>
                  <a:cubicBezTo>
                    <a:pt x="270" y="900"/>
                    <a:pt x="270" y="900"/>
                    <a:pt x="270" y="900"/>
                  </a:cubicBezTo>
                  <a:cubicBezTo>
                    <a:pt x="267" y="900"/>
                    <a:pt x="265" y="897"/>
                    <a:pt x="265" y="895"/>
                  </a:cubicBezTo>
                  <a:cubicBezTo>
                    <a:pt x="265" y="807"/>
                    <a:pt x="232" y="725"/>
                    <a:pt x="172" y="664"/>
                  </a:cubicBezTo>
                  <a:cubicBezTo>
                    <a:pt x="87" y="578"/>
                    <a:pt x="28" y="423"/>
                    <a:pt x="119" y="247"/>
                  </a:cubicBezTo>
                  <a:cubicBezTo>
                    <a:pt x="144" y="197"/>
                    <a:pt x="184" y="156"/>
                    <a:pt x="233" y="131"/>
                  </a:cubicBezTo>
                  <a:cubicBezTo>
                    <a:pt x="293" y="99"/>
                    <a:pt x="355" y="84"/>
                    <a:pt x="415" y="84"/>
                  </a:cubicBezTo>
                  <a:cubicBezTo>
                    <a:pt x="477" y="84"/>
                    <a:pt x="537" y="100"/>
                    <a:pt x="591" y="133"/>
                  </a:cubicBezTo>
                  <a:cubicBezTo>
                    <a:pt x="694" y="195"/>
                    <a:pt x="756" y="304"/>
                    <a:pt x="756" y="425"/>
                  </a:cubicBezTo>
                  <a:cubicBezTo>
                    <a:pt x="756" y="515"/>
                    <a:pt x="721" y="600"/>
                    <a:pt x="658" y="664"/>
                  </a:cubicBezTo>
                  <a:close/>
                  <a:moveTo>
                    <a:pt x="658" y="664"/>
                  </a:moveTo>
                  <a:cubicBezTo>
                    <a:pt x="658" y="664"/>
                    <a:pt x="658" y="664"/>
                    <a:pt x="658" y="6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551"/>
            <p:cNvSpPr>
              <a:spLocks noEditPoints="1"/>
            </p:cNvSpPr>
            <p:nvPr/>
          </p:nvSpPr>
          <p:spPr bwMode="auto">
            <a:xfrm>
              <a:off x="4809" y="498"/>
              <a:ext cx="364" cy="363"/>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28 h 192"/>
                <a:gd name="T12" fmla="*/ 64 w 192"/>
                <a:gd name="T13" fmla="*/ 96 h 192"/>
                <a:gd name="T14" fmla="*/ 96 w 192"/>
                <a:gd name="T15" fmla="*/ 64 h 192"/>
                <a:gd name="T16" fmla="*/ 128 w 192"/>
                <a:gd name="T17" fmla="*/ 96 h 192"/>
                <a:gd name="T18" fmla="*/ 96 w 192"/>
                <a:gd name="T19" fmla="*/ 128 h 192"/>
                <a:gd name="T20" fmla="*/ 96 w 192"/>
                <a:gd name="T21" fmla="*/ 128 h 192"/>
                <a:gd name="T22" fmla="*/ 96 w 192"/>
                <a:gd name="T23" fmla="*/ 12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28"/>
                  </a:moveTo>
                  <a:cubicBezTo>
                    <a:pt x="78" y="128"/>
                    <a:pt x="64" y="113"/>
                    <a:pt x="64" y="96"/>
                  </a:cubicBezTo>
                  <a:cubicBezTo>
                    <a:pt x="64" y="78"/>
                    <a:pt x="78" y="64"/>
                    <a:pt x="96" y="64"/>
                  </a:cubicBezTo>
                  <a:cubicBezTo>
                    <a:pt x="114" y="64"/>
                    <a:pt x="128" y="78"/>
                    <a:pt x="128" y="96"/>
                  </a:cubicBezTo>
                  <a:cubicBezTo>
                    <a:pt x="128" y="113"/>
                    <a:pt x="114" y="128"/>
                    <a:pt x="96" y="128"/>
                  </a:cubicBezTo>
                  <a:close/>
                  <a:moveTo>
                    <a:pt x="96" y="128"/>
                  </a:moveTo>
                  <a:cubicBezTo>
                    <a:pt x="96" y="128"/>
                    <a:pt x="96" y="128"/>
                    <a:pt x="96"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552"/>
            <p:cNvSpPr>
              <a:spLocks noEditPoints="1"/>
            </p:cNvSpPr>
            <p:nvPr/>
          </p:nvSpPr>
          <p:spPr bwMode="auto">
            <a:xfrm>
              <a:off x="4936" y="-496"/>
              <a:ext cx="122" cy="246"/>
            </a:xfrm>
            <a:custGeom>
              <a:avLst/>
              <a:gdLst>
                <a:gd name="T0" fmla="*/ 32 w 64"/>
                <a:gd name="T1" fmla="*/ 0 h 130"/>
                <a:gd name="T2" fmla="*/ 0 w 64"/>
                <a:gd name="T3" fmla="*/ 32 h 130"/>
                <a:gd name="T4" fmla="*/ 0 w 64"/>
                <a:gd name="T5" fmla="*/ 98 h 130"/>
                <a:gd name="T6" fmla="*/ 32 w 64"/>
                <a:gd name="T7" fmla="*/ 130 h 130"/>
                <a:gd name="T8" fmla="*/ 64 w 64"/>
                <a:gd name="T9" fmla="*/ 98 h 130"/>
                <a:gd name="T10" fmla="*/ 64 w 64"/>
                <a:gd name="T11" fmla="*/ 32 h 130"/>
                <a:gd name="T12" fmla="*/ 32 w 64"/>
                <a:gd name="T13" fmla="*/ 0 h 130"/>
                <a:gd name="T14" fmla="*/ 32 w 64"/>
                <a:gd name="T15" fmla="*/ 0 h 130"/>
                <a:gd name="T16" fmla="*/ 32 w 64"/>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0">
                  <a:moveTo>
                    <a:pt x="32" y="0"/>
                  </a:moveTo>
                  <a:cubicBezTo>
                    <a:pt x="14" y="0"/>
                    <a:pt x="0" y="14"/>
                    <a:pt x="0" y="32"/>
                  </a:cubicBezTo>
                  <a:cubicBezTo>
                    <a:pt x="0" y="98"/>
                    <a:pt x="0" y="98"/>
                    <a:pt x="0" y="98"/>
                  </a:cubicBezTo>
                  <a:cubicBezTo>
                    <a:pt x="0" y="116"/>
                    <a:pt x="14" y="130"/>
                    <a:pt x="32" y="130"/>
                  </a:cubicBezTo>
                  <a:cubicBezTo>
                    <a:pt x="50" y="130"/>
                    <a:pt x="64" y="116"/>
                    <a:pt x="64" y="98"/>
                  </a:cubicBezTo>
                  <a:cubicBezTo>
                    <a:pt x="64" y="32"/>
                    <a:pt x="64" y="32"/>
                    <a:pt x="64" y="32"/>
                  </a:cubicBezTo>
                  <a:cubicBezTo>
                    <a:pt x="64" y="14"/>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553"/>
            <p:cNvSpPr>
              <a:spLocks noEditPoints="1"/>
            </p:cNvSpPr>
            <p:nvPr/>
          </p:nvSpPr>
          <p:spPr bwMode="auto">
            <a:xfrm>
              <a:off x="5336" y="-413"/>
              <a:ext cx="250" cy="245"/>
            </a:xfrm>
            <a:custGeom>
              <a:avLst/>
              <a:gdLst>
                <a:gd name="T0" fmla="*/ 120 w 132"/>
                <a:gd name="T1" fmla="*/ 12 h 129"/>
                <a:gd name="T2" fmla="*/ 75 w 132"/>
                <a:gd name="T3" fmla="*/ 12 h 129"/>
                <a:gd name="T4" fmla="*/ 12 w 132"/>
                <a:gd name="T5" fmla="*/ 75 h 129"/>
                <a:gd name="T6" fmla="*/ 12 w 132"/>
                <a:gd name="T7" fmla="*/ 120 h 129"/>
                <a:gd name="T8" fmla="*/ 35 w 132"/>
                <a:gd name="T9" fmla="*/ 129 h 129"/>
                <a:gd name="T10" fmla="*/ 57 w 132"/>
                <a:gd name="T11" fmla="*/ 120 h 129"/>
                <a:gd name="T12" fmla="*/ 120 w 132"/>
                <a:gd name="T13" fmla="*/ 58 h 129"/>
                <a:gd name="T14" fmla="*/ 120 w 132"/>
                <a:gd name="T15" fmla="*/ 12 h 129"/>
                <a:gd name="T16" fmla="*/ 120 w 132"/>
                <a:gd name="T17" fmla="*/ 12 h 129"/>
                <a:gd name="T18" fmla="*/ 120 w 132"/>
                <a:gd name="T19" fmla="*/ 1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29">
                  <a:moveTo>
                    <a:pt x="120" y="12"/>
                  </a:moveTo>
                  <a:cubicBezTo>
                    <a:pt x="107" y="0"/>
                    <a:pt x="87" y="0"/>
                    <a:pt x="75" y="12"/>
                  </a:cubicBezTo>
                  <a:cubicBezTo>
                    <a:pt x="12" y="75"/>
                    <a:pt x="12" y="75"/>
                    <a:pt x="12" y="75"/>
                  </a:cubicBezTo>
                  <a:cubicBezTo>
                    <a:pt x="0" y="87"/>
                    <a:pt x="0" y="108"/>
                    <a:pt x="12" y="120"/>
                  </a:cubicBezTo>
                  <a:cubicBezTo>
                    <a:pt x="18" y="126"/>
                    <a:pt x="27" y="129"/>
                    <a:pt x="35" y="129"/>
                  </a:cubicBezTo>
                  <a:cubicBezTo>
                    <a:pt x="43" y="129"/>
                    <a:pt x="51" y="126"/>
                    <a:pt x="57" y="120"/>
                  </a:cubicBezTo>
                  <a:cubicBezTo>
                    <a:pt x="120" y="58"/>
                    <a:pt x="120" y="58"/>
                    <a:pt x="120" y="58"/>
                  </a:cubicBezTo>
                  <a:cubicBezTo>
                    <a:pt x="132" y="45"/>
                    <a:pt x="132" y="25"/>
                    <a:pt x="120" y="12"/>
                  </a:cubicBezTo>
                  <a:close/>
                  <a:moveTo>
                    <a:pt x="120" y="12"/>
                  </a:moveTo>
                  <a:cubicBezTo>
                    <a:pt x="120" y="12"/>
                    <a:pt x="120" y="12"/>
                    <a:pt x="120"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554"/>
            <p:cNvSpPr>
              <a:spLocks noEditPoints="1"/>
            </p:cNvSpPr>
            <p:nvPr/>
          </p:nvSpPr>
          <p:spPr bwMode="auto">
            <a:xfrm>
              <a:off x="4404" y="-413"/>
              <a:ext cx="254" cy="246"/>
            </a:xfrm>
            <a:custGeom>
              <a:avLst/>
              <a:gdLst>
                <a:gd name="T0" fmla="*/ 121 w 134"/>
                <a:gd name="T1" fmla="*/ 75 h 130"/>
                <a:gd name="T2" fmla="*/ 58 w 134"/>
                <a:gd name="T3" fmla="*/ 12 h 130"/>
                <a:gd name="T4" fmla="*/ 13 w 134"/>
                <a:gd name="T5" fmla="*/ 12 h 130"/>
                <a:gd name="T6" fmla="*/ 13 w 134"/>
                <a:gd name="T7" fmla="*/ 57 h 130"/>
                <a:gd name="T8" fmla="*/ 76 w 134"/>
                <a:gd name="T9" fmla="*/ 120 h 130"/>
                <a:gd name="T10" fmla="*/ 98 w 134"/>
                <a:gd name="T11" fmla="*/ 130 h 130"/>
                <a:gd name="T12" fmla="*/ 121 w 134"/>
                <a:gd name="T13" fmla="*/ 120 h 130"/>
                <a:gd name="T14" fmla="*/ 121 w 134"/>
                <a:gd name="T15" fmla="*/ 75 h 130"/>
                <a:gd name="T16" fmla="*/ 121 w 134"/>
                <a:gd name="T17" fmla="*/ 75 h 130"/>
                <a:gd name="T18" fmla="*/ 121 w 134"/>
                <a:gd name="T19" fmla="*/ 7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0">
                  <a:moveTo>
                    <a:pt x="121" y="75"/>
                  </a:moveTo>
                  <a:cubicBezTo>
                    <a:pt x="58" y="12"/>
                    <a:pt x="58" y="12"/>
                    <a:pt x="58" y="12"/>
                  </a:cubicBezTo>
                  <a:cubicBezTo>
                    <a:pt x="46" y="0"/>
                    <a:pt x="25" y="0"/>
                    <a:pt x="13" y="12"/>
                  </a:cubicBezTo>
                  <a:cubicBezTo>
                    <a:pt x="0" y="25"/>
                    <a:pt x="0" y="45"/>
                    <a:pt x="13" y="57"/>
                  </a:cubicBezTo>
                  <a:cubicBezTo>
                    <a:pt x="76" y="120"/>
                    <a:pt x="76" y="120"/>
                    <a:pt x="76" y="120"/>
                  </a:cubicBezTo>
                  <a:cubicBezTo>
                    <a:pt x="82" y="127"/>
                    <a:pt x="90" y="130"/>
                    <a:pt x="98" y="130"/>
                  </a:cubicBezTo>
                  <a:cubicBezTo>
                    <a:pt x="107" y="130"/>
                    <a:pt x="115" y="127"/>
                    <a:pt x="121" y="120"/>
                  </a:cubicBezTo>
                  <a:cubicBezTo>
                    <a:pt x="134" y="108"/>
                    <a:pt x="134" y="88"/>
                    <a:pt x="121" y="75"/>
                  </a:cubicBezTo>
                  <a:close/>
                  <a:moveTo>
                    <a:pt x="121" y="75"/>
                  </a:moveTo>
                  <a:cubicBezTo>
                    <a:pt x="121" y="75"/>
                    <a:pt x="121" y="75"/>
                    <a:pt x="121" y="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555"/>
            <p:cNvSpPr>
              <a:spLocks noEditPoints="1"/>
            </p:cNvSpPr>
            <p:nvPr/>
          </p:nvSpPr>
          <p:spPr bwMode="auto">
            <a:xfrm>
              <a:off x="5451" y="2158"/>
              <a:ext cx="328" cy="121"/>
            </a:xfrm>
            <a:custGeom>
              <a:avLst/>
              <a:gdLst>
                <a:gd name="T0" fmla="*/ 141 w 173"/>
                <a:gd name="T1" fmla="*/ 0 h 64"/>
                <a:gd name="T2" fmla="*/ 32 w 173"/>
                <a:gd name="T3" fmla="*/ 0 h 64"/>
                <a:gd name="T4" fmla="*/ 0 w 173"/>
                <a:gd name="T5" fmla="*/ 32 h 64"/>
                <a:gd name="T6" fmla="*/ 32 w 173"/>
                <a:gd name="T7" fmla="*/ 64 h 64"/>
                <a:gd name="T8" fmla="*/ 141 w 173"/>
                <a:gd name="T9" fmla="*/ 64 h 64"/>
                <a:gd name="T10" fmla="*/ 173 w 173"/>
                <a:gd name="T11" fmla="*/ 32 h 64"/>
                <a:gd name="T12" fmla="*/ 141 w 173"/>
                <a:gd name="T13" fmla="*/ 0 h 64"/>
                <a:gd name="T14" fmla="*/ 141 w 173"/>
                <a:gd name="T15" fmla="*/ 0 h 64"/>
                <a:gd name="T16" fmla="*/ 141 w 173"/>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64">
                  <a:moveTo>
                    <a:pt x="141" y="0"/>
                  </a:moveTo>
                  <a:cubicBezTo>
                    <a:pt x="32" y="0"/>
                    <a:pt x="32" y="0"/>
                    <a:pt x="32" y="0"/>
                  </a:cubicBezTo>
                  <a:cubicBezTo>
                    <a:pt x="14" y="0"/>
                    <a:pt x="0" y="14"/>
                    <a:pt x="0" y="32"/>
                  </a:cubicBezTo>
                  <a:cubicBezTo>
                    <a:pt x="0" y="49"/>
                    <a:pt x="14" y="64"/>
                    <a:pt x="32" y="64"/>
                  </a:cubicBezTo>
                  <a:cubicBezTo>
                    <a:pt x="141" y="64"/>
                    <a:pt x="141" y="64"/>
                    <a:pt x="141" y="64"/>
                  </a:cubicBezTo>
                  <a:cubicBezTo>
                    <a:pt x="159" y="64"/>
                    <a:pt x="173" y="49"/>
                    <a:pt x="173" y="32"/>
                  </a:cubicBezTo>
                  <a:cubicBezTo>
                    <a:pt x="173" y="14"/>
                    <a:pt x="159" y="0"/>
                    <a:pt x="141" y="0"/>
                  </a:cubicBezTo>
                  <a:close/>
                  <a:moveTo>
                    <a:pt x="141" y="0"/>
                  </a:moveTo>
                  <a:cubicBezTo>
                    <a:pt x="141" y="0"/>
                    <a:pt x="141" y="0"/>
                    <a:pt x="1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556"/>
            <p:cNvSpPr>
              <a:spLocks noEditPoints="1"/>
            </p:cNvSpPr>
            <p:nvPr/>
          </p:nvSpPr>
          <p:spPr bwMode="auto">
            <a:xfrm>
              <a:off x="5889" y="2158"/>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0" name="Group 41"/>
          <p:cNvGrpSpPr>
            <a:grpSpLocks noChangeAspect="1"/>
          </p:cNvGrpSpPr>
          <p:nvPr/>
        </p:nvGrpSpPr>
        <p:grpSpPr bwMode="auto">
          <a:xfrm>
            <a:off x="8265007" y="4107973"/>
            <a:ext cx="457494" cy="457200"/>
            <a:chOff x="4730" y="1060"/>
            <a:chExt cx="3107" cy="3105"/>
          </a:xfrm>
          <a:solidFill>
            <a:schemeClr val="accent1"/>
          </a:solidFill>
        </p:grpSpPr>
        <p:sp>
          <p:nvSpPr>
            <p:cNvPr id="601" name="Freeform 42"/>
            <p:cNvSpPr>
              <a:spLocks noEditPoints="1"/>
            </p:cNvSpPr>
            <p:nvPr/>
          </p:nvSpPr>
          <p:spPr bwMode="auto">
            <a:xfrm>
              <a:off x="5145" y="1571"/>
              <a:ext cx="1176" cy="2594"/>
            </a:xfrm>
            <a:custGeom>
              <a:avLst/>
              <a:gdLst>
                <a:gd name="T0" fmla="*/ 496 w 621"/>
                <a:gd name="T1" fmla="*/ 1085 h 1370"/>
                <a:gd name="T2" fmla="*/ 388 w 621"/>
                <a:gd name="T3" fmla="*/ 1085 h 1370"/>
                <a:gd name="T4" fmla="*/ 262 w 621"/>
                <a:gd name="T5" fmla="*/ 959 h 1370"/>
                <a:gd name="T6" fmla="*/ 262 w 621"/>
                <a:gd name="T7" fmla="*/ 776 h 1370"/>
                <a:gd name="T8" fmla="*/ 230 w 621"/>
                <a:gd name="T9" fmla="*/ 744 h 1370"/>
                <a:gd name="T10" fmla="*/ 76 w 621"/>
                <a:gd name="T11" fmla="*/ 744 h 1370"/>
                <a:gd name="T12" fmla="*/ 173 w 621"/>
                <a:gd name="T13" fmla="*/ 396 h 1370"/>
                <a:gd name="T14" fmla="*/ 174 w 621"/>
                <a:gd name="T15" fmla="*/ 388 h 1370"/>
                <a:gd name="T16" fmla="*/ 276 w 621"/>
                <a:gd name="T17" fmla="*/ 55 h 1370"/>
                <a:gd name="T18" fmla="*/ 268 w 621"/>
                <a:gd name="T19" fmla="*/ 10 h 1370"/>
                <a:gd name="T20" fmla="*/ 223 w 621"/>
                <a:gd name="T21" fmla="*/ 19 h 1370"/>
                <a:gd name="T22" fmla="*/ 110 w 621"/>
                <a:gd name="T23" fmla="*/ 383 h 1370"/>
                <a:gd name="T24" fmla="*/ 3 w 621"/>
                <a:gd name="T25" fmla="*/ 768 h 1370"/>
                <a:gd name="T26" fmla="*/ 8 w 621"/>
                <a:gd name="T27" fmla="*/ 796 h 1370"/>
                <a:gd name="T28" fmla="*/ 34 w 621"/>
                <a:gd name="T29" fmla="*/ 808 h 1370"/>
                <a:gd name="T30" fmla="*/ 198 w 621"/>
                <a:gd name="T31" fmla="*/ 808 h 1370"/>
                <a:gd name="T32" fmla="*/ 198 w 621"/>
                <a:gd name="T33" fmla="*/ 959 h 1370"/>
                <a:gd name="T34" fmla="*/ 388 w 621"/>
                <a:gd name="T35" fmla="*/ 1149 h 1370"/>
                <a:gd name="T36" fmla="*/ 496 w 621"/>
                <a:gd name="T37" fmla="*/ 1149 h 1370"/>
                <a:gd name="T38" fmla="*/ 557 w 621"/>
                <a:gd name="T39" fmla="*/ 1210 h 1370"/>
                <a:gd name="T40" fmla="*/ 557 w 621"/>
                <a:gd name="T41" fmla="*/ 1338 h 1370"/>
                <a:gd name="T42" fmla="*/ 589 w 621"/>
                <a:gd name="T43" fmla="*/ 1370 h 1370"/>
                <a:gd name="T44" fmla="*/ 621 w 621"/>
                <a:gd name="T45" fmla="*/ 1338 h 1370"/>
                <a:gd name="T46" fmla="*/ 621 w 621"/>
                <a:gd name="T47" fmla="*/ 1210 h 1370"/>
                <a:gd name="T48" fmla="*/ 496 w 621"/>
                <a:gd name="T49" fmla="*/ 1085 h 1370"/>
                <a:gd name="T50" fmla="*/ 496 w 621"/>
                <a:gd name="T51" fmla="*/ 1085 h 1370"/>
                <a:gd name="T52" fmla="*/ 496 w 621"/>
                <a:gd name="T53" fmla="*/ 10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1" h="1370">
                  <a:moveTo>
                    <a:pt x="496" y="1085"/>
                  </a:moveTo>
                  <a:cubicBezTo>
                    <a:pt x="388" y="1085"/>
                    <a:pt x="388" y="1085"/>
                    <a:pt x="388" y="1085"/>
                  </a:cubicBezTo>
                  <a:cubicBezTo>
                    <a:pt x="318" y="1085"/>
                    <a:pt x="262" y="1029"/>
                    <a:pt x="262" y="959"/>
                  </a:cubicBezTo>
                  <a:cubicBezTo>
                    <a:pt x="262" y="776"/>
                    <a:pt x="262" y="776"/>
                    <a:pt x="262" y="776"/>
                  </a:cubicBezTo>
                  <a:cubicBezTo>
                    <a:pt x="262" y="759"/>
                    <a:pt x="248" y="744"/>
                    <a:pt x="230" y="744"/>
                  </a:cubicBezTo>
                  <a:cubicBezTo>
                    <a:pt x="76" y="744"/>
                    <a:pt x="76" y="744"/>
                    <a:pt x="76" y="744"/>
                  </a:cubicBezTo>
                  <a:cubicBezTo>
                    <a:pt x="173" y="396"/>
                    <a:pt x="173" y="396"/>
                    <a:pt x="173" y="396"/>
                  </a:cubicBezTo>
                  <a:cubicBezTo>
                    <a:pt x="173" y="393"/>
                    <a:pt x="174" y="390"/>
                    <a:pt x="174" y="388"/>
                  </a:cubicBezTo>
                  <a:cubicBezTo>
                    <a:pt x="174" y="268"/>
                    <a:pt x="209" y="153"/>
                    <a:pt x="276" y="55"/>
                  </a:cubicBezTo>
                  <a:cubicBezTo>
                    <a:pt x="286" y="40"/>
                    <a:pt x="282" y="20"/>
                    <a:pt x="268" y="10"/>
                  </a:cubicBezTo>
                  <a:cubicBezTo>
                    <a:pt x="253" y="0"/>
                    <a:pt x="233" y="4"/>
                    <a:pt x="223" y="19"/>
                  </a:cubicBezTo>
                  <a:cubicBezTo>
                    <a:pt x="150" y="126"/>
                    <a:pt x="111" y="252"/>
                    <a:pt x="110" y="383"/>
                  </a:cubicBezTo>
                  <a:cubicBezTo>
                    <a:pt x="3" y="768"/>
                    <a:pt x="3" y="768"/>
                    <a:pt x="3" y="768"/>
                  </a:cubicBezTo>
                  <a:cubicBezTo>
                    <a:pt x="0" y="778"/>
                    <a:pt x="2" y="788"/>
                    <a:pt x="8" y="796"/>
                  </a:cubicBezTo>
                  <a:cubicBezTo>
                    <a:pt x="14" y="804"/>
                    <a:pt x="24" y="808"/>
                    <a:pt x="34" y="808"/>
                  </a:cubicBezTo>
                  <a:cubicBezTo>
                    <a:pt x="198" y="808"/>
                    <a:pt x="198" y="808"/>
                    <a:pt x="198" y="808"/>
                  </a:cubicBezTo>
                  <a:cubicBezTo>
                    <a:pt x="198" y="959"/>
                    <a:pt x="198" y="959"/>
                    <a:pt x="198" y="959"/>
                  </a:cubicBezTo>
                  <a:cubicBezTo>
                    <a:pt x="198" y="1064"/>
                    <a:pt x="283" y="1149"/>
                    <a:pt x="388" y="1149"/>
                  </a:cubicBezTo>
                  <a:cubicBezTo>
                    <a:pt x="496" y="1149"/>
                    <a:pt x="496" y="1149"/>
                    <a:pt x="496" y="1149"/>
                  </a:cubicBezTo>
                  <a:cubicBezTo>
                    <a:pt x="529" y="1149"/>
                    <a:pt x="557" y="1176"/>
                    <a:pt x="557" y="1210"/>
                  </a:cubicBezTo>
                  <a:cubicBezTo>
                    <a:pt x="557" y="1338"/>
                    <a:pt x="557" y="1338"/>
                    <a:pt x="557" y="1338"/>
                  </a:cubicBezTo>
                  <a:cubicBezTo>
                    <a:pt x="557" y="1355"/>
                    <a:pt x="571" y="1370"/>
                    <a:pt x="589" y="1370"/>
                  </a:cubicBezTo>
                  <a:cubicBezTo>
                    <a:pt x="606" y="1370"/>
                    <a:pt x="621" y="1355"/>
                    <a:pt x="621" y="1338"/>
                  </a:cubicBezTo>
                  <a:cubicBezTo>
                    <a:pt x="621" y="1210"/>
                    <a:pt x="621" y="1210"/>
                    <a:pt x="621" y="1210"/>
                  </a:cubicBezTo>
                  <a:cubicBezTo>
                    <a:pt x="621" y="1141"/>
                    <a:pt x="565" y="1085"/>
                    <a:pt x="496" y="1085"/>
                  </a:cubicBezTo>
                  <a:close/>
                  <a:moveTo>
                    <a:pt x="496" y="1085"/>
                  </a:moveTo>
                  <a:cubicBezTo>
                    <a:pt x="496" y="1085"/>
                    <a:pt x="496" y="1085"/>
                    <a:pt x="496" y="10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43"/>
            <p:cNvSpPr>
              <a:spLocks noEditPoints="1"/>
            </p:cNvSpPr>
            <p:nvPr/>
          </p:nvSpPr>
          <p:spPr bwMode="auto">
            <a:xfrm>
              <a:off x="5863" y="1060"/>
              <a:ext cx="1162" cy="328"/>
            </a:xfrm>
            <a:custGeom>
              <a:avLst/>
              <a:gdLst>
                <a:gd name="T0" fmla="*/ 588 w 614"/>
                <a:gd name="T1" fmla="*/ 32 h 173"/>
                <a:gd name="T2" fmla="*/ 376 w 614"/>
                <a:gd name="T3" fmla="*/ 1 h 173"/>
                <a:gd name="T4" fmla="*/ 19 w 614"/>
                <a:gd name="T5" fmla="*/ 114 h 173"/>
                <a:gd name="T6" fmla="*/ 10 w 614"/>
                <a:gd name="T7" fmla="*/ 159 h 173"/>
                <a:gd name="T8" fmla="*/ 37 w 614"/>
                <a:gd name="T9" fmla="*/ 173 h 173"/>
                <a:gd name="T10" fmla="*/ 55 w 614"/>
                <a:gd name="T11" fmla="*/ 167 h 173"/>
                <a:gd name="T12" fmla="*/ 377 w 614"/>
                <a:gd name="T13" fmla="*/ 65 h 173"/>
                <a:gd name="T14" fmla="*/ 568 w 614"/>
                <a:gd name="T15" fmla="*/ 93 h 173"/>
                <a:gd name="T16" fmla="*/ 608 w 614"/>
                <a:gd name="T17" fmla="*/ 72 h 173"/>
                <a:gd name="T18" fmla="*/ 588 w 614"/>
                <a:gd name="T19" fmla="*/ 32 h 173"/>
                <a:gd name="T20" fmla="*/ 588 w 614"/>
                <a:gd name="T21" fmla="*/ 32 h 173"/>
                <a:gd name="T22" fmla="*/ 588 w 614"/>
                <a:gd name="T23" fmla="*/ 3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4" h="173">
                  <a:moveTo>
                    <a:pt x="588" y="32"/>
                  </a:moveTo>
                  <a:cubicBezTo>
                    <a:pt x="520" y="11"/>
                    <a:pt x="449" y="0"/>
                    <a:pt x="376" y="1"/>
                  </a:cubicBezTo>
                  <a:cubicBezTo>
                    <a:pt x="248" y="3"/>
                    <a:pt x="124" y="43"/>
                    <a:pt x="19" y="114"/>
                  </a:cubicBezTo>
                  <a:cubicBezTo>
                    <a:pt x="4" y="124"/>
                    <a:pt x="0" y="144"/>
                    <a:pt x="10" y="159"/>
                  </a:cubicBezTo>
                  <a:cubicBezTo>
                    <a:pt x="16" y="168"/>
                    <a:pt x="26" y="173"/>
                    <a:pt x="37" y="173"/>
                  </a:cubicBezTo>
                  <a:cubicBezTo>
                    <a:pt x="43" y="173"/>
                    <a:pt x="49" y="171"/>
                    <a:pt x="55" y="167"/>
                  </a:cubicBezTo>
                  <a:cubicBezTo>
                    <a:pt x="150" y="102"/>
                    <a:pt x="262" y="67"/>
                    <a:pt x="377" y="65"/>
                  </a:cubicBezTo>
                  <a:cubicBezTo>
                    <a:pt x="443" y="64"/>
                    <a:pt x="507" y="74"/>
                    <a:pt x="568" y="93"/>
                  </a:cubicBezTo>
                  <a:cubicBezTo>
                    <a:pt x="585" y="99"/>
                    <a:pt x="603" y="89"/>
                    <a:pt x="608" y="72"/>
                  </a:cubicBezTo>
                  <a:cubicBezTo>
                    <a:pt x="614" y="56"/>
                    <a:pt x="604" y="38"/>
                    <a:pt x="588" y="32"/>
                  </a:cubicBezTo>
                  <a:close/>
                  <a:moveTo>
                    <a:pt x="588" y="32"/>
                  </a:moveTo>
                  <a:cubicBezTo>
                    <a:pt x="588" y="32"/>
                    <a:pt x="588" y="32"/>
                    <a:pt x="588"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44"/>
            <p:cNvSpPr>
              <a:spLocks noEditPoints="1"/>
            </p:cNvSpPr>
            <p:nvPr/>
          </p:nvSpPr>
          <p:spPr bwMode="auto">
            <a:xfrm>
              <a:off x="7364" y="2528"/>
              <a:ext cx="449" cy="1637"/>
            </a:xfrm>
            <a:custGeom>
              <a:avLst/>
              <a:gdLst>
                <a:gd name="T0" fmla="*/ 209 w 237"/>
                <a:gd name="T1" fmla="*/ 4 h 865"/>
                <a:gd name="T2" fmla="*/ 171 w 237"/>
                <a:gd name="T3" fmla="*/ 29 h 865"/>
                <a:gd name="T4" fmla="*/ 57 w 237"/>
                <a:gd name="T5" fmla="*/ 304 h 865"/>
                <a:gd name="T6" fmla="*/ 0 w 237"/>
                <a:gd name="T7" fmla="*/ 486 h 865"/>
                <a:gd name="T8" fmla="*/ 0 w 237"/>
                <a:gd name="T9" fmla="*/ 833 h 865"/>
                <a:gd name="T10" fmla="*/ 32 w 237"/>
                <a:gd name="T11" fmla="*/ 865 h 865"/>
                <a:gd name="T12" fmla="*/ 64 w 237"/>
                <a:gd name="T13" fmla="*/ 833 h 865"/>
                <a:gd name="T14" fmla="*/ 64 w 237"/>
                <a:gd name="T15" fmla="*/ 486 h 865"/>
                <a:gd name="T16" fmla="*/ 109 w 237"/>
                <a:gd name="T17" fmla="*/ 340 h 865"/>
                <a:gd name="T18" fmla="*/ 234 w 237"/>
                <a:gd name="T19" fmla="*/ 42 h 865"/>
                <a:gd name="T20" fmla="*/ 209 w 237"/>
                <a:gd name="T21" fmla="*/ 4 h 865"/>
                <a:gd name="T22" fmla="*/ 209 w 237"/>
                <a:gd name="T23" fmla="*/ 4 h 865"/>
                <a:gd name="T24" fmla="*/ 209 w 237"/>
                <a:gd name="T25" fmla="*/ 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865">
                  <a:moveTo>
                    <a:pt x="209" y="4"/>
                  </a:moveTo>
                  <a:cubicBezTo>
                    <a:pt x="191" y="0"/>
                    <a:pt x="174" y="11"/>
                    <a:pt x="171" y="29"/>
                  </a:cubicBezTo>
                  <a:cubicBezTo>
                    <a:pt x="150" y="130"/>
                    <a:pt x="109" y="228"/>
                    <a:pt x="57" y="304"/>
                  </a:cubicBezTo>
                  <a:cubicBezTo>
                    <a:pt x="20" y="357"/>
                    <a:pt x="0" y="420"/>
                    <a:pt x="0" y="486"/>
                  </a:cubicBezTo>
                  <a:cubicBezTo>
                    <a:pt x="0" y="833"/>
                    <a:pt x="0" y="833"/>
                    <a:pt x="0" y="833"/>
                  </a:cubicBezTo>
                  <a:cubicBezTo>
                    <a:pt x="0" y="850"/>
                    <a:pt x="14" y="865"/>
                    <a:pt x="32" y="865"/>
                  </a:cubicBezTo>
                  <a:cubicBezTo>
                    <a:pt x="50" y="865"/>
                    <a:pt x="64" y="850"/>
                    <a:pt x="64" y="833"/>
                  </a:cubicBezTo>
                  <a:cubicBezTo>
                    <a:pt x="64" y="486"/>
                    <a:pt x="64" y="486"/>
                    <a:pt x="64" y="486"/>
                  </a:cubicBezTo>
                  <a:cubicBezTo>
                    <a:pt x="64" y="433"/>
                    <a:pt x="80" y="383"/>
                    <a:pt x="109" y="340"/>
                  </a:cubicBezTo>
                  <a:cubicBezTo>
                    <a:pt x="167" y="258"/>
                    <a:pt x="211" y="152"/>
                    <a:pt x="234" y="42"/>
                  </a:cubicBezTo>
                  <a:cubicBezTo>
                    <a:pt x="237" y="24"/>
                    <a:pt x="226" y="7"/>
                    <a:pt x="209" y="4"/>
                  </a:cubicBezTo>
                  <a:close/>
                  <a:moveTo>
                    <a:pt x="209" y="4"/>
                  </a:moveTo>
                  <a:cubicBezTo>
                    <a:pt x="209" y="4"/>
                    <a:pt x="209" y="4"/>
                    <a:pt x="209"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45"/>
            <p:cNvSpPr>
              <a:spLocks noEditPoints="1"/>
            </p:cNvSpPr>
            <p:nvPr/>
          </p:nvSpPr>
          <p:spPr bwMode="auto">
            <a:xfrm>
              <a:off x="6226" y="1333"/>
              <a:ext cx="1611" cy="1020"/>
            </a:xfrm>
            <a:custGeom>
              <a:avLst/>
              <a:gdLst>
                <a:gd name="T0" fmla="*/ 716 w 851"/>
                <a:gd name="T1" fmla="*/ 191 h 539"/>
                <a:gd name="T2" fmla="*/ 629 w 851"/>
                <a:gd name="T3" fmla="*/ 60 h 539"/>
                <a:gd name="T4" fmla="*/ 458 w 851"/>
                <a:gd name="T5" fmla="*/ 0 h 539"/>
                <a:gd name="T6" fmla="*/ 201 w 851"/>
                <a:gd name="T7" fmla="*/ 188 h 539"/>
                <a:gd name="T8" fmla="*/ 177 w 851"/>
                <a:gd name="T9" fmla="*/ 186 h 539"/>
                <a:gd name="T10" fmla="*/ 0 w 851"/>
                <a:gd name="T11" fmla="*/ 363 h 539"/>
                <a:gd name="T12" fmla="*/ 177 w 851"/>
                <a:gd name="T13" fmla="*/ 539 h 539"/>
                <a:gd name="T14" fmla="*/ 249 w 851"/>
                <a:gd name="T15" fmla="*/ 539 h 539"/>
                <a:gd name="T16" fmla="*/ 281 w 851"/>
                <a:gd name="T17" fmla="*/ 507 h 539"/>
                <a:gd name="T18" fmla="*/ 249 w 851"/>
                <a:gd name="T19" fmla="*/ 475 h 539"/>
                <a:gd name="T20" fmla="*/ 177 w 851"/>
                <a:gd name="T21" fmla="*/ 475 h 539"/>
                <a:gd name="T22" fmla="*/ 64 w 851"/>
                <a:gd name="T23" fmla="*/ 363 h 539"/>
                <a:gd name="T24" fmla="*/ 177 w 851"/>
                <a:gd name="T25" fmla="*/ 250 h 539"/>
                <a:gd name="T26" fmla="*/ 214 w 851"/>
                <a:gd name="T27" fmla="*/ 256 h 539"/>
                <a:gd name="T28" fmla="*/ 240 w 851"/>
                <a:gd name="T29" fmla="*/ 254 h 539"/>
                <a:gd name="T30" fmla="*/ 256 w 851"/>
                <a:gd name="T31" fmla="*/ 232 h 539"/>
                <a:gd name="T32" fmla="*/ 458 w 851"/>
                <a:gd name="T33" fmla="*/ 64 h 539"/>
                <a:gd name="T34" fmla="*/ 659 w 851"/>
                <a:gd name="T35" fmla="*/ 226 h 539"/>
                <a:gd name="T36" fmla="*/ 687 w 851"/>
                <a:gd name="T37" fmla="*/ 251 h 539"/>
                <a:gd name="T38" fmla="*/ 787 w 851"/>
                <a:gd name="T39" fmla="*/ 363 h 539"/>
                <a:gd name="T40" fmla="*/ 675 w 851"/>
                <a:gd name="T41" fmla="*/ 475 h 539"/>
                <a:gd name="T42" fmla="*/ 586 w 851"/>
                <a:gd name="T43" fmla="*/ 475 h 539"/>
                <a:gd name="T44" fmla="*/ 554 w 851"/>
                <a:gd name="T45" fmla="*/ 507 h 539"/>
                <a:gd name="T46" fmla="*/ 586 w 851"/>
                <a:gd name="T47" fmla="*/ 539 h 539"/>
                <a:gd name="T48" fmla="*/ 675 w 851"/>
                <a:gd name="T49" fmla="*/ 539 h 539"/>
                <a:gd name="T50" fmla="*/ 851 w 851"/>
                <a:gd name="T51" fmla="*/ 363 h 539"/>
                <a:gd name="T52" fmla="*/ 716 w 851"/>
                <a:gd name="T53" fmla="*/ 191 h 539"/>
                <a:gd name="T54" fmla="*/ 716 w 851"/>
                <a:gd name="T55" fmla="*/ 191 h 539"/>
                <a:gd name="T56" fmla="*/ 716 w 851"/>
                <a:gd name="T57" fmla="*/ 19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1" h="539">
                  <a:moveTo>
                    <a:pt x="716" y="191"/>
                  </a:moveTo>
                  <a:cubicBezTo>
                    <a:pt x="701" y="140"/>
                    <a:pt x="670" y="94"/>
                    <a:pt x="629" y="60"/>
                  </a:cubicBezTo>
                  <a:cubicBezTo>
                    <a:pt x="581" y="21"/>
                    <a:pt x="520" y="0"/>
                    <a:pt x="458" y="0"/>
                  </a:cubicBezTo>
                  <a:cubicBezTo>
                    <a:pt x="339" y="0"/>
                    <a:pt x="236" y="77"/>
                    <a:pt x="201" y="188"/>
                  </a:cubicBezTo>
                  <a:cubicBezTo>
                    <a:pt x="193" y="187"/>
                    <a:pt x="185" y="186"/>
                    <a:pt x="177" y="186"/>
                  </a:cubicBezTo>
                  <a:cubicBezTo>
                    <a:pt x="79" y="186"/>
                    <a:pt x="0" y="265"/>
                    <a:pt x="0" y="363"/>
                  </a:cubicBezTo>
                  <a:cubicBezTo>
                    <a:pt x="0" y="460"/>
                    <a:pt x="79" y="539"/>
                    <a:pt x="177" y="539"/>
                  </a:cubicBezTo>
                  <a:cubicBezTo>
                    <a:pt x="249" y="539"/>
                    <a:pt x="249" y="539"/>
                    <a:pt x="249" y="539"/>
                  </a:cubicBezTo>
                  <a:cubicBezTo>
                    <a:pt x="266" y="539"/>
                    <a:pt x="281" y="525"/>
                    <a:pt x="281" y="507"/>
                  </a:cubicBezTo>
                  <a:cubicBezTo>
                    <a:pt x="281" y="490"/>
                    <a:pt x="266" y="475"/>
                    <a:pt x="249" y="475"/>
                  </a:cubicBezTo>
                  <a:cubicBezTo>
                    <a:pt x="177" y="475"/>
                    <a:pt x="177" y="475"/>
                    <a:pt x="177" y="475"/>
                  </a:cubicBezTo>
                  <a:cubicBezTo>
                    <a:pt x="115" y="475"/>
                    <a:pt x="64" y="425"/>
                    <a:pt x="64" y="363"/>
                  </a:cubicBezTo>
                  <a:cubicBezTo>
                    <a:pt x="64" y="301"/>
                    <a:pt x="115" y="250"/>
                    <a:pt x="177" y="250"/>
                  </a:cubicBezTo>
                  <a:cubicBezTo>
                    <a:pt x="189" y="250"/>
                    <a:pt x="202" y="252"/>
                    <a:pt x="214" y="256"/>
                  </a:cubicBezTo>
                  <a:cubicBezTo>
                    <a:pt x="223" y="259"/>
                    <a:pt x="232" y="259"/>
                    <a:pt x="240" y="254"/>
                  </a:cubicBezTo>
                  <a:cubicBezTo>
                    <a:pt x="249" y="249"/>
                    <a:pt x="254" y="241"/>
                    <a:pt x="256" y="232"/>
                  </a:cubicBezTo>
                  <a:cubicBezTo>
                    <a:pt x="274" y="135"/>
                    <a:pt x="359" y="64"/>
                    <a:pt x="458" y="64"/>
                  </a:cubicBezTo>
                  <a:cubicBezTo>
                    <a:pt x="554" y="64"/>
                    <a:pt x="639" y="132"/>
                    <a:pt x="659" y="226"/>
                  </a:cubicBezTo>
                  <a:cubicBezTo>
                    <a:pt x="662" y="239"/>
                    <a:pt x="673" y="249"/>
                    <a:pt x="687" y="251"/>
                  </a:cubicBezTo>
                  <a:cubicBezTo>
                    <a:pt x="744" y="257"/>
                    <a:pt x="787" y="305"/>
                    <a:pt x="787" y="363"/>
                  </a:cubicBezTo>
                  <a:cubicBezTo>
                    <a:pt x="787" y="425"/>
                    <a:pt x="737" y="475"/>
                    <a:pt x="675" y="475"/>
                  </a:cubicBezTo>
                  <a:cubicBezTo>
                    <a:pt x="586" y="475"/>
                    <a:pt x="586" y="475"/>
                    <a:pt x="586" y="475"/>
                  </a:cubicBezTo>
                  <a:cubicBezTo>
                    <a:pt x="569" y="475"/>
                    <a:pt x="554" y="490"/>
                    <a:pt x="554" y="507"/>
                  </a:cubicBezTo>
                  <a:cubicBezTo>
                    <a:pt x="554" y="525"/>
                    <a:pt x="569" y="539"/>
                    <a:pt x="586" y="539"/>
                  </a:cubicBezTo>
                  <a:cubicBezTo>
                    <a:pt x="675" y="539"/>
                    <a:pt x="675" y="539"/>
                    <a:pt x="675" y="539"/>
                  </a:cubicBezTo>
                  <a:cubicBezTo>
                    <a:pt x="772" y="539"/>
                    <a:pt x="851" y="460"/>
                    <a:pt x="851" y="363"/>
                  </a:cubicBezTo>
                  <a:cubicBezTo>
                    <a:pt x="851" y="280"/>
                    <a:pt x="795" y="210"/>
                    <a:pt x="716" y="191"/>
                  </a:cubicBezTo>
                  <a:close/>
                  <a:moveTo>
                    <a:pt x="716" y="191"/>
                  </a:moveTo>
                  <a:cubicBezTo>
                    <a:pt x="716" y="191"/>
                    <a:pt x="716" y="191"/>
                    <a:pt x="716"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46"/>
            <p:cNvSpPr>
              <a:spLocks noEditPoints="1"/>
            </p:cNvSpPr>
            <p:nvPr/>
          </p:nvSpPr>
          <p:spPr bwMode="auto">
            <a:xfrm>
              <a:off x="6877" y="1992"/>
              <a:ext cx="371" cy="846"/>
            </a:xfrm>
            <a:custGeom>
              <a:avLst/>
              <a:gdLst>
                <a:gd name="T0" fmla="*/ 188 w 196"/>
                <a:gd name="T1" fmla="*/ 217 h 447"/>
                <a:gd name="T2" fmla="*/ 162 w 196"/>
                <a:gd name="T3" fmla="*/ 203 h 447"/>
                <a:gd name="T4" fmla="*/ 78 w 196"/>
                <a:gd name="T5" fmla="*/ 203 h 447"/>
                <a:gd name="T6" fmla="*/ 132 w 196"/>
                <a:gd name="T7" fmla="*/ 46 h 447"/>
                <a:gd name="T8" fmla="*/ 113 w 196"/>
                <a:gd name="T9" fmla="*/ 6 h 447"/>
                <a:gd name="T10" fmla="*/ 72 w 196"/>
                <a:gd name="T11" fmla="*/ 26 h 447"/>
                <a:gd name="T12" fmla="*/ 3 w 196"/>
                <a:gd name="T13" fmla="*/ 225 h 447"/>
                <a:gd name="T14" fmla="*/ 7 w 196"/>
                <a:gd name="T15" fmla="*/ 254 h 447"/>
                <a:gd name="T16" fmla="*/ 33 w 196"/>
                <a:gd name="T17" fmla="*/ 267 h 447"/>
                <a:gd name="T18" fmla="*/ 117 w 196"/>
                <a:gd name="T19" fmla="*/ 267 h 447"/>
                <a:gd name="T20" fmla="*/ 68 w 196"/>
                <a:gd name="T21" fmla="*/ 404 h 447"/>
                <a:gd name="T22" fmla="*/ 87 w 196"/>
                <a:gd name="T23" fmla="*/ 445 h 447"/>
                <a:gd name="T24" fmla="*/ 98 w 196"/>
                <a:gd name="T25" fmla="*/ 447 h 447"/>
                <a:gd name="T26" fmla="*/ 128 w 196"/>
                <a:gd name="T27" fmla="*/ 426 h 447"/>
                <a:gd name="T28" fmla="*/ 192 w 196"/>
                <a:gd name="T29" fmla="*/ 246 h 447"/>
                <a:gd name="T30" fmla="*/ 188 w 196"/>
                <a:gd name="T31" fmla="*/ 217 h 447"/>
                <a:gd name="T32" fmla="*/ 188 w 196"/>
                <a:gd name="T33" fmla="*/ 217 h 447"/>
                <a:gd name="T34" fmla="*/ 188 w 196"/>
                <a:gd name="T35" fmla="*/ 21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6" h="447">
                  <a:moveTo>
                    <a:pt x="188" y="217"/>
                  </a:moveTo>
                  <a:cubicBezTo>
                    <a:pt x="182" y="208"/>
                    <a:pt x="173" y="203"/>
                    <a:pt x="162" y="203"/>
                  </a:cubicBezTo>
                  <a:cubicBezTo>
                    <a:pt x="78" y="203"/>
                    <a:pt x="78" y="203"/>
                    <a:pt x="78" y="203"/>
                  </a:cubicBezTo>
                  <a:cubicBezTo>
                    <a:pt x="132" y="46"/>
                    <a:pt x="132" y="46"/>
                    <a:pt x="132" y="46"/>
                  </a:cubicBezTo>
                  <a:cubicBezTo>
                    <a:pt x="138" y="30"/>
                    <a:pt x="129" y="11"/>
                    <a:pt x="113" y="6"/>
                  </a:cubicBezTo>
                  <a:cubicBezTo>
                    <a:pt x="96" y="0"/>
                    <a:pt x="78" y="9"/>
                    <a:pt x="72" y="26"/>
                  </a:cubicBezTo>
                  <a:cubicBezTo>
                    <a:pt x="3" y="225"/>
                    <a:pt x="3" y="225"/>
                    <a:pt x="3" y="225"/>
                  </a:cubicBezTo>
                  <a:cubicBezTo>
                    <a:pt x="0" y="234"/>
                    <a:pt x="1" y="245"/>
                    <a:pt x="7" y="254"/>
                  </a:cubicBezTo>
                  <a:cubicBezTo>
                    <a:pt x="13" y="262"/>
                    <a:pt x="23" y="267"/>
                    <a:pt x="33" y="267"/>
                  </a:cubicBezTo>
                  <a:cubicBezTo>
                    <a:pt x="117" y="267"/>
                    <a:pt x="117" y="267"/>
                    <a:pt x="117" y="267"/>
                  </a:cubicBezTo>
                  <a:cubicBezTo>
                    <a:pt x="68" y="404"/>
                    <a:pt x="68" y="404"/>
                    <a:pt x="68" y="404"/>
                  </a:cubicBezTo>
                  <a:cubicBezTo>
                    <a:pt x="62" y="421"/>
                    <a:pt x="70" y="439"/>
                    <a:pt x="87" y="445"/>
                  </a:cubicBezTo>
                  <a:cubicBezTo>
                    <a:pt x="91" y="446"/>
                    <a:pt x="94" y="447"/>
                    <a:pt x="98" y="447"/>
                  </a:cubicBezTo>
                  <a:cubicBezTo>
                    <a:pt x="111" y="447"/>
                    <a:pt x="123" y="439"/>
                    <a:pt x="128" y="426"/>
                  </a:cubicBezTo>
                  <a:cubicBezTo>
                    <a:pt x="192" y="246"/>
                    <a:pt x="192" y="246"/>
                    <a:pt x="192" y="246"/>
                  </a:cubicBezTo>
                  <a:cubicBezTo>
                    <a:pt x="196" y="236"/>
                    <a:pt x="194" y="225"/>
                    <a:pt x="188" y="217"/>
                  </a:cubicBezTo>
                  <a:close/>
                  <a:moveTo>
                    <a:pt x="188" y="217"/>
                  </a:moveTo>
                  <a:cubicBezTo>
                    <a:pt x="188" y="217"/>
                    <a:pt x="188" y="217"/>
                    <a:pt x="188" y="2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47"/>
            <p:cNvSpPr>
              <a:spLocks noEditPoints="1"/>
            </p:cNvSpPr>
            <p:nvPr/>
          </p:nvSpPr>
          <p:spPr bwMode="auto">
            <a:xfrm>
              <a:off x="5705" y="2232"/>
              <a:ext cx="122" cy="121"/>
            </a:xfrm>
            <a:custGeom>
              <a:avLst/>
              <a:gdLst>
                <a:gd name="T0" fmla="*/ 55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0" y="0"/>
                    <a:pt x="32" y="0"/>
                  </a:cubicBezTo>
                  <a:cubicBezTo>
                    <a:pt x="24" y="0"/>
                    <a:pt x="15" y="4"/>
                    <a:pt x="9" y="10"/>
                  </a:cubicBezTo>
                  <a:cubicBezTo>
                    <a:pt x="3" y="16"/>
                    <a:pt x="0" y="24"/>
                    <a:pt x="0" y="32"/>
                  </a:cubicBezTo>
                  <a:cubicBezTo>
                    <a:pt x="0" y="41"/>
                    <a:pt x="3" y="49"/>
                    <a:pt x="9" y="55"/>
                  </a:cubicBezTo>
                  <a:cubicBezTo>
                    <a:pt x="15" y="61"/>
                    <a:pt x="24" y="64"/>
                    <a:pt x="32" y="64"/>
                  </a:cubicBezTo>
                  <a:cubicBezTo>
                    <a:pt x="40"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48"/>
            <p:cNvSpPr>
              <a:spLocks noEditPoints="1"/>
            </p:cNvSpPr>
            <p:nvPr/>
          </p:nvSpPr>
          <p:spPr bwMode="auto">
            <a:xfrm>
              <a:off x="4730" y="2124"/>
              <a:ext cx="510" cy="332"/>
            </a:xfrm>
            <a:custGeom>
              <a:avLst/>
              <a:gdLst>
                <a:gd name="T0" fmla="*/ 237 w 269"/>
                <a:gd name="T1" fmla="*/ 57 h 175"/>
                <a:gd name="T2" fmla="*/ 112 w 269"/>
                <a:gd name="T3" fmla="*/ 57 h 175"/>
                <a:gd name="T4" fmla="*/ 112 w 269"/>
                <a:gd name="T5" fmla="*/ 12 h 175"/>
                <a:gd name="T6" fmla="*/ 67 w 269"/>
                <a:gd name="T7" fmla="*/ 12 h 175"/>
                <a:gd name="T8" fmla="*/ 12 w 269"/>
                <a:gd name="T9" fmla="*/ 67 h 175"/>
                <a:gd name="T10" fmla="*/ 12 w 269"/>
                <a:gd name="T11" fmla="*/ 112 h 175"/>
                <a:gd name="T12" fmla="*/ 67 w 269"/>
                <a:gd name="T13" fmla="*/ 166 h 175"/>
                <a:gd name="T14" fmla="*/ 89 w 269"/>
                <a:gd name="T15" fmla="*/ 175 h 175"/>
                <a:gd name="T16" fmla="*/ 112 w 269"/>
                <a:gd name="T17" fmla="*/ 166 h 175"/>
                <a:gd name="T18" fmla="*/ 112 w 269"/>
                <a:gd name="T19" fmla="*/ 121 h 175"/>
                <a:gd name="T20" fmla="*/ 237 w 269"/>
                <a:gd name="T21" fmla="*/ 121 h 175"/>
                <a:gd name="T22" fmla="*/ 269 w 269"/>
                <a:gd name="T23" fmla="*/ 89 h 175"/>
                <a:gd name="T24" fmla="*/ 237 w 269"/>
                <a:gd name="T25" fmla="*/ 57 h 175"/>
                <a:gd name="T26" fmla="*/ 237 w 269"/>
                <a:gd name="T27" fmla="*/ 57 h 175"/>
                <a:gd name="T28" fmla="*/ 237 w 269"/>
                <a:gd name="T29" fmla="*/ 5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9" h="175">
                  <a:moveTo>
                    <a:pt x="237" y="57"/>
                  </a:moveTo>
                  <a:cubicBezTo>
                    <a:pt x="112" y="57"/>
                    <a:pt x="112" y="57"/>
                    <a:pt x="112" y="57"/>
                  </a:cubicBezTo>
                  <a:cubicBezTo>
                    <a:pt x="124" y="45"/>
                    <a:pt x="124" y="25"/>
                    <a:pt x="112" y="12"/>
                  </a:cubicBezTo>
                  <a:cubicBezTo>
                    <a:pt x="99" y="0"/>
                    <a:pt x="79" y="0"/>
                    <a:pt x="67" y="12"/>
                  </a:cubicBezTo>
                  <a:cubicBezTo>
                    <a:pt x="12" y="67"/>
                    <a:pt x="12" y="67"/>
                    <a:pt x="12" y="67"/>
                  </a:cubicBezTo>
                  <a:cubicBezTo>
                    <a:pt x="0" y="79"/>
                    <a:pt x="0" y="99"/>
                    <a:pt x="12" y="112"/>
                  </a:cubicBezTo>
                  <a:cubicBezTo>
                    <a:pt x="67" y="166"/>
                    <a:pt x="67" y="166"/>
                    <a:pt x="67" y="166"/>
                  </a:cubicBezTo>
                  <a:cubicBezTo>
                    <a:pt x="73" y="172"/>
                    <a:pt x="81" y="175"/>
                    <a:pt x="89" y="175"/>
                  </a:cubicBezTo>
                  <a:cubicBezTo>
                    <a:pt x="97" y="175"/>
                    <a:pt x="106" y="172"/>
                    <a:pt x="112" y="166"/>
                  </a:cubicBezTo>
                  <a:cubicBezTo>
                    <a:pt x="124" y="154"/>
                    <a:pt x="124" y="134"/>
                    <a:pt x="112" y="121"/>
                  </a:cubicBezTo>
                  <a:cubicBezTo>
                    <a:pt x="237" y="121"/>
                    <a:pt x="237" y="121"/>
                    <a:pt x="237" y="121"/>
                  </a:cubicBezTo>
                  <a:cubicBezTo>
                    <a:pt x="255" y="121"/>
                    <a:pt x="269" y="107"/>
                    <a:pt x="269" y="89"/>
                  </a:cubicBezTo>
                  <a:cubicBezTo>
                    <a:pt x="269" y="72"/>
                    <a:pt x="255" y="57"/>
                    <a:pt x="237" y="57"/>
                  </a:cubicBezTo>
                  <a:close/>
                  <a:moveTo>
                    <a:pt x="237" y="57"/>
                  </a:moveTo>
                  <a:cubicBezTo>
                    <a:pt x="237" y="57"/>
                    <a:pt x="237" y="57"/>
                    <a:pt x="237" y="5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49"/>
            <p:cNvSpPr>
              <a:spLocks noEditPoints="1"/>
            </p:cNvSpPr>
            <p:nvPr/>
          </p:nvSpPr>
          <p:spPr bwMode="auto">
            <a:xfrm>
              <a:off x="7074" y="3387"/>
              <a:ext cx="121" cy="121"/>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50"/>
            <p:cNvSpPr>
              <a:spLocks noEditPoints="1"/>
            </p:cNvSpPr>
            <p:nvPr/>
          </p:nvSpPr>
          <p:spPr bwMode="auto">
            <a:xfrm>
              <a:off x="7074" y="3601"/>
              <a:ext cx="121" cy="564"/>
            </a:xfrm>
            <a:custGeom>
              <a:avLst/>
              <a:gdLst>
                <a:gd name="T0" fmla="*/ 32 w 64"/>
                <a:gd name="T1" fmla="*/ 0 h 298"/>
                <a:gd name="T2" fmla="*/ 0 w 64"/>
                <a:gd name="T3" fmla="*/ 32 h 298"/>
                <a:gd name="T4" fmla="*/ 0 w 64"/>
                <a:gd name="T5" fmla="*/ 266 h 298"/>
                <a:gd name="T6" fmla="*/ 32 w 64"/>
                <a:gd name="T7" fmla="*/ 298 h 298"/>
                <a:gd name="T8" fmla="*/ 64 w 64"/>
                <a:gd name="T9" fmla="*/ 266 h 298"/>
                <a:gd name="T10" fmla="*/ 64 w 64"/>
                <a:gd name="T11" fmla="*/ 32 h 298"/>
                <a:gd name="T12" fmla="*/ 32 w 64"/>
                <a:gd name="T13" fmla="*/ 0 h 298"/>
                <a:gd name="T14" fmla="*/ 32 w 64"/>
                <a:gd name="T15" fmla="*/ 0 h 298"/>
                <a:gd name="T16" fmla="*/ 32 w 64"/>
                <a:gd name="T17"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298">
                  <a:moveTo>
                    <a:pt x="32" y="0"/>
                  </a:moveTo>
                  <a:cubicBezTo>
                    <a:pt x="15" y="0"/>
                    <a:pt x="0" y="14"/>
                    <a:pt x="0" y="32"/>
                  </a:cubicBezTo>
                  <a:cubicBezTo>
                    <a:pt x="0" y="266"/>
                    <a:pt x="0" y="266"/>
                    <a:pt x="0" y="266"/>
                  </a:cubicBezTo>
                  <a:cubicBezTo>
                    <a:pt x="0" y="283"/>
                    <a:pt x="15" y="298"/>
                    <a:pt x="32" y="298"/>
                  </a:cubicBezTo>
                  <a:cubicBezTo>
                    <a:pt x="50" y="298"/>
                    <a:pt x="64" y="283"/>
                    <a:pt x="64" y="266"/>
                  </a:cubicBezTo>
                  <a:cubicBezTo>
                    <a:pt x="64" y="32"/>
                    <a:pt x="64" y="32"/>
                    <a:pt x="64" y="32"/>
                  </a:cubicBezTo>
                  <a:cubicBezTo>
                    <a:pt x="64" y="14"/>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51"/>
            <p:cNvSpPr>
              <a:spLocks noEditPoints="1"/>
            </p:cNvSpPr>
            <p:nvPr/>
          </p:nvSpPr>
          <p:spPr bwMode="auto">
            <a:xfrm>
              <a:off x="5705" y="1403"/>
              <a:ext cx="122" cy="121"/>
            </a:xfrm>
            <a:custGeom>
              <a:avLst/>
              <a:gdLst>
                <a:gd name="T0" fmla="*/ 64 w 64"/>
                <a:gd name="T1" fmla="*/ 32 h 64"/>
                <a:gd name="T2" fmla="*/ 32 w 64"/>
                <a:gd name="T3" fmla="*/ 64 h 64"/>
                <a:gd name="T4" fmla="*/ 0 w 64"/>
                <a:gd name="T5" fmla="*/ 32 h 64"/>
                <a:gd name="T6" fmla="*/ 32 w 64"/>
                <a:gd name="T7" fmla="*/ 0 h 64"/>
                <a:gd name="T8" fmla="*/ 64 w 64"/>
                <a:gd name="T9" fmla="*/ 32 h 64"/>
                <a:gd name="T10" fmla="*/ 64 w 64"/>
                <a:gd name="T11" fmla="*/ 32 h 64"/>
                <a:gd name="T12" fmla="*/ 64 w 64"/>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64" h="64">
                  <a:moveTo>
                    <a:pt x="64" y="32"/>
                  </a:moveTo>
                  <a:cubicBezTo>
                    <a:pt x="64" y="49"/>
                    <a:pt x="50" y="64"/>
                    <a:pt x="32" y="64"/>
                  </a:cubicBezTo>
                  <a:cubicBezTo>
                    <a:pt x="14" y="64"/>
                    <a:pt x="0" y="49"/>
                    <a:pt x="0" y="32"/>
                  </a:cubicBezTo>
                  <a:cubicBezTo>
                    <a:pt x="0" y="14"/>
                    <a:pt x="14" y="0"/>
                    <a:pt x="32" y="0"/>
                  </a:cubicBezTo>
                  <a:cubicBezTo>
                    <a:pt x="50" y="0"/>
                    <a:pt x="64" y="14"/>
                    <a:pt x="64" y="32"/>
                  </a:cubicBezTo>
                  <a:close/>
                  <a:moveTo>
                    <a:pt x="64" y="32"/>
                  </a:moveTo>
                  <a:cubicBezTo>
                    <a:pt x="64" y="32"/>
                    <a:pt x="64" y="32"/>
                    <a:pt x="64"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extBox 1">
            <a:extLst>
              <a:ext uri="{FF2B5EF4-FFF2-40B4-BE49-F238E27FC236}">
                <a16:creationId xmlns:a16="http://schemas.microsoft.com/office/drawing/2014/main" id="{247B81E7-9C09-AD47-BE65-B20A77B815B9}"/>
              </a:ext>
            </a:extLst>
          </p:cNvPr>
          <p:cNvSpPr txBox="1"/>
          <p:nvPr/>
        </p:nvSpPr>
        <p:spPr>
          <a:xfrm rot="20112159">
            <a:off x="3717124" y="3135085"/>
            <a:ext cx="5259773" cy="369332"/>
          </a:xfrm>
          <a:prstGeom prst="rect">
            <a:avLst/>
          </a:prstGeom>
          <a:solidFill>
            <a:schemeClr val="accent2"/>
          </a:solidFill>
          <a:ln>
            <a:solidFill>
              <a:schemeClr val="tx1"/>
            </a:solidFill>
          </a:ln>
        </p:spPr>
        <p:txBody>
          <a:bodyPr wrap="none" rtlCol="0">
            <a:spAutoFit/>
          </a:bodyPr>
          <a:lstStyle/>
          <a:p>
            <a:r>
              <a:rPr lang="en-US" b="1" dirty="0"/>
              <a:t>NOTE - These are examples for rapid prototyping</a:t>
            </a:r>
          </a:p>
        </p:txBody>
      </p:sp>
    </p:spTree>
    <p:extLst>
      <p:ext uri="{BB962C8B-B14F-4D97-AF65-F5344CB8AC3E}">
        <p14:creationId xmlns:p14="http://schemas.microsoft.com/office/powerpoint/2010/main" val="945210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p:pic>
      <p:sp>
        <p:nvSpPr>
          <p:cNvPr id="44" name="TextBox 43"/>
          <p:cNvSpPr txBox="1"/>
          <p:nvPr/>
        </p:nvSpPr>
        <p:spPr>
          <a:xfrm>
            <a:off x="372172" y="3330577"/>
            <a:ext cx="5723828" cy="584775"/>
          </a:xfrm>
          <a:prstGeom prst="rect">
            <a:avLst/>
          </a:prstGeom>
          <a:noFill/>
        </p:spPr>
        <p:txBody>
          <a:bodyPr wrap="square" rtlCol="0">
            <a:spAutoFit/>
          </a:bodyPr>
          <a:lstStyle/>
          <a:p>
            <a:r>
              <a:rPr lang="en-US" sz="3200" b="1" dirty="0">
                <a:solidFill>
                  <a:schemeClr val="bg1"/>
                </a:solidFill>
              </a:rPr>
              <a:t>CONTACT :</a:t>
            </a:r>
          </a:p>
        </p:txBody>
      </p:sp>
      <p:grpSp>
        <p:nvGrpSpPr>
          <p:cNvPr id="19" name="Group 18"/>
          <p:cNvGrpSpPr/>
          <p:nvPr/>
        </p:nvGrpSpPr>
        <p:grpSpPr>
          <a:xfrm>
            <a:off x="458727" y="4340257"/>
            <a:ext cx="3993762" cy="857116"/>
            <a:chOff x="6796666" y="3943198"/>
            <a:chExt cx="3732214" cy="800984"/>
          </a:xfrm>
        </p:grpSpPr>
        <p:sp>
          <p:nvSpPr>
            <p:cNvPr id="22" name="TextBox 21"/>
            <p:cNvSpPr txBox="1"/>
            <p:nvPr/>
          </p:nvSpPr>
          <p:spPr>
            <a:xfrm>
              <a:off x="7102965" y="3943198"/>
              <a:ext cx="3209907" cy="338554"/>
            </a:xfrm>
            <a:prstGeom prst="rect">
              <a:avLst/>
            </a:prstGeom>
            <a:noFill/>
          </p:spPr>
          <p:txBody>
            <a:bodyPr wrap="square" rtlCol="0">
              <a:spAutoFit/>
            </a:bodyPr>
            <a:lstStyle/>
            <a:p>
              <a:r>
                <a:rPr lang="en-US" sz="1600" dirty="0">
                  <a:solidFill>
                    <a:schemeClr val="bg1"/>
                  </a:solidFill>
                  <a:latin typeface="+mj-lt"/>
                </a:rPr>
                <a:t>emailaddress@email.com</a:t>
              </a:r>
            </a:p>
          </p:txBody>
        </p:sp>
        <p:pic>
          <p:nvPicPr>
            <p:cNvPr id="24" name="Picture 2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6666" y="3997728"/>
              <a:ext cx="240000" cy="240000"/>
            </a:xfrm>
            <a:prstGeom prst="rect">
              <a:avLst/>
            </a:prstGeom>
          </p:spPr>
        </p:pic>
        <p:sp>
          <p:nvSpPr>
            <p:cNvPr id="26" name="TextBox 25"/>
            <p:cNvSpPr txBox="1"/>
            <p:nvPr/>
          </p:nvSpPr>
          <p:spPr>
            <a:xfrm>
              <a:off x="7102965" y="4405628"/>
              <a:ext cx="3425915" cy="338554"/>
            </a:xfrm>
            <a:prstGeom prst="rect">
              <a:avLst/>
            </a:prstGeom>
            <a:noFill/>
          </p:spPr>
          <p:txBody>
            <a:bodyPr wrap="square" rtlCol="0">
              <a:spAutoFit/>
            </a:bodyPr>
            <a:lstStyle/>
            <a:p>
              <a:r>
                <a:rPr lang="en-US" sz="1600" dirty="0">
                  <a:solidFill>
                    <a:schemeClr val="bg1"/>
                  </a:solidFill>
                  <a:latin typeface="+mj-lt"/>
                </a:rPr>
                <a:t>www.website-address.com</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96666" y="4440184"/>
              <a:ext cx="240000" cy="240000"/>
            </a:xfrm>
            <a:prstGeom prst="rect">
              <a:avLst/>
            </a:prstGeom>
          </p:spPr>
        </p:pic>
      </p:grpSp>
      <p:grpSp>
        <p:nvGrpSpPr>
          <p:cNvPr id="34" name="Group 33"/>
          <p:cNvGrpSpPr/>
          <p:nvPr/>
        </p:nvGrpSpPr>
        <p:grpSpPr>
          <a:xfrm>
            <a:off x="395938" y="5458805"/>
            <a:ext cx="3158791" cy="372896"/>
            <a:chOff x="7816145" y="6426882"/>
            <a:chExt cx="3158791" cy="372896"/>
          </a:xfrm>
        </p:grpSpPr>
        <p:sp>
          <p:nvSpPr>
            <p:cNvPr id="18" name="TextBox 17"/>
            <p:cNvSpPr txBox="1"/>
            <p:nvPr/>
          </p:nvSpPr>
          <p:spPr>
            <a:xfrm>
              <a:off x="7816145" y="6426882"/>
              <a:ext cx="1719937" cy="372896"/>
            </a:xfrm>
            <a:prstGeom prst="rect">
              <a:avLst/>
            </a:prstGeom>
            <a:noFill/>
          </p:spPr>
          <p:txBody>
            <a:bodyPr wrap="square" rtlCol="0">
              <a:spAutoFit/>
            </a:bodyPr>
            <a:lstStyle/>
            <a:p>
              <a:r>
                <a:rPr lang="en-US" b="1" dirty="0">
                  <a:solidFill>
                    <a:schemeClr val="bg1"/>
                  </a:solidFill>
                </a:rPr>
                <a:t>FOLLOW US :</a:t>
              </a:r>
            </a:p>
          </p:txBody>
        </p:sp>
        <p:grpSp>
          <p:nvGrpSpPr>
            <p:cNvPr id="33" name="Group 32"/>
            <p:cNvGrpSpPr/>
            <p:nvPr/>
          </p:nvGrpSpPr>
          <p:grpSpPr>
            <a:xfrm>
              <a:off x="9563849" y="6491552"/>
              <a:ext cx="1411087" cy="247121"/>
              <a:chOff x="9563849" y="6408334"/>
              <a:chExt cx="2361451" cy="413557"/>
            </a:xfrm>
          </p:grpSpPr>
          <p:sp>
            <p:nvSpPr>
              <p:cNvPr id="35" name="Shape 5499"/>
              <p:cNvSpPr/>
              <p:nvPr/>
            </p:nvSpPr>
            <p:spPr>
              <a:xfrm>
                <a:off x="9563849" y="6408334"/>
                <a:ext cx="210650" cy="413557"/>
              </a:xfrm>
              <a:custGeom>
                <a:avLst/>
                <a:gdLst/>
                <a:ahLst/>
                <a:cxnLst>
                  <a:cxn ang="0">
                    <a:pos x="wd2" y="hd2"/>
                  </a:cxn>
                  <a:cxn ang="5400000">
                    <a:pos x="wd2" y="hd2"/>
                  </a:cxn>
                  <a:cxn ang="10800000">
                    <a:pos x="wd2" y="hd2"/>
                  </a:cxn>
                  <a:cxn ang="16200000">
                    <a:pos x="wd2" y="hd2"/>
                  </a:cxn>
                </a:cxnLst>
                <a:rect l="0" t="0" r="r" b="b"/>
                <a:pathLst>
                  <a:path w="21600" h="21600" extrusionOk="0">
                    <a:moveTo>
                      <a:pt x="21600" y="3588"/>
                    </a:moveTo>
                    <a:lnTo>
                      <a:pt x="16754" y="3588"/>
                    </a:lnTo>
                    <a:lnTo>
                      <a:pt x="15923" y="3660"/>
                    </a:lnTo>
                    <a:lnTo>
                      <a:pt x="15231" y="3803"/>
                    </a:lnTo>
                    <a:lnTo>
                      <a:pt x="14677" y="4090"/>
                    </a:lnTo>
                    <a:lnTo>
                      <a:pt x="14400" y="4377"/>
                    </a:lnTo>
                    <a:lnTo>
                      <a:pt x="14123" y="4593"/>
                    </a:lnTo>
                    <a:lnTo>
                      <a:pt x="13846" y="5454"/>
                    </a:lnTo>
                    <a:lnTo>
                      <a:pt x="13846" y="7965"/>
                    </a:lnTo>
                    <a:lnTo>
                      <a:pt x="21323" y="7965"/>
                    </a:lnTo>
                    <a:lnTo>
                      <a:pt x="21323" y="11697"/>
                    </a:lnTo>
                    <a:lnTo>
                      <a:pt x="13846" y="11697"/>
                    </a:lnTo>
                    <a:lnTo>
                      <a:pt x="13846" y="21600"/>
                    </a:lnTo>
                    <a:lnTo>
                      <a:pt x="6508" y="21600"/>
                    </a:lnTo>
                    <a:lnTo>
                      <a:pt x="6508" y="11697"/>
                    </a:lnTo>
                    <a:lnTo>
                      <a:pt x="0" y="11697"/>
                    </a:lnTo>
                    <a:lnTo>
                      <a:pt x="0" y="7965"/>
                    </a:lnTo>
                    <a:lnTo>
                      <a:pt x="6508" y="7965"/>
                    </a:lnTo>
                    <a:lnTo>
                      <a:pt x="6508" y="3803"/>
                    </a:lnTo>
                    <a:lnTo>
                      <a:pt x="6923" y="2870"/>
                    </a:lnTo>
                    <a:lnTo>
                      <a:pt x="8031" y="1938"/>
                    </a:lnTo>
                    <a:lnTo>
                      <a:pt x="9000" y="1292"/>
                    </a:lnTo>
                    <a:lnTo>
                      <a:pt x="10246" y="789"/>
                    </a:lnTo>
                    <a:lnTo>
                      <a:pt x="12046" y="215"/>
                    </a:lnTo>
                    <a:lnTo>
                      <a:pt x="13846" y="72"/>
                    </a:lnTo>
                    <a:lnTo>
                      <a:pt x="15923" y="0"/>
                    </a:lnTo>
                    <a:lnTo>
                      <a:pt x="21600" y="0"/>
                    </a:lnTo>
                    <a:lnTo>
                      <a:pt x="21600" y="3588"/>
                    </a:lnTo>
                    <a:close/>
                  </a:path>
                </a:pathLst>
              </a:custGeom>
              <a:solidFill>
                <a:schemeClr val="bg1"/>
              </a:solidFill>
              <a:ln w="12700">
                <a:miter lim="400000"/>
              </a:ln>
            </p:spPr>
            <p:txBody>
              <a:bodyPr lIns="60958" rIns="60958"/>
              <a:lstStyle/>
              <a:p>
                <a:pPr defTabSz="1219122" hangingPunct="0"/>
                <a:endParaRPr sz="2400" b="1" kern="0">
                  <a:solidFill>
                    <a:srgbClr val="000000"/>
                  </a:solidFill>
                  <a:latin typeface="Roboto Regular"/>
                  <a:ea typeface="Roboto Regular"/>
                  <a:cs typeface="Roboto Regular"/>
                  <a:sym typeface="Roboto Regular"/>
                </a:endParaRPr>
              </a:p>
            </p:txBody>
          </p:sp>
          <p:sp>
            <p:nvSpPr>
              <p:cNvPr id="36" name="Shape 5500"/>
              <p:cNvSpPr/>
              <p:nvPr/>
            </p:nvSpPr>
            <p:spPr>
              <a:xfrm>
                <a:off x="10144995" y="6448605"/>
                <a:ext cx="405811" cy="333015"/>
              </a:xfrm>
              <a:custGeom>
                <a:avLst/>
                <a:gdLst/>
                <a:ahLst/>
                <a:cxnLst>
                  <a:cxn ang="0">
                    <a:pos x="wd2" y="hd2"/>
                  </a:cxn>
                  <a:cxn ang="5400000">
                    <a:pos x="wd2" y="hd2"/>
                  </a:cxn>
                  <a:cxn ang="10800000">
                    <a:pos x="wd2" y="hd2"/>
                  </a:cxn>
                  <a:cxn ang="16200000">
                    <a:pos x="wd2" y="hd2"/>
                  </a:cxn>
                </a:cxnLst>
                <a:rect l="0" t="0" r="r" b="b"/>
                <a:pathLst>
                  <a:path w="21600" h="21600" extrusionOk="0">
                    <a:moveTo>
                      <a:pt x="21600" y="2678"/>
                    </a:moveTo>
                    <a:lnTo>
                      <a:pt x="21455" y="2678"/>
                    </a:lnTo>
                    <a:lnTo>
                      <a:pt x="20509" y="2945"/>
                    </a:lnTo>
                    <a:lnTo>
                      <a:pt x="19418" y="3302"/>
                    </a:lnTo>
                    <a:lnTo>
                      <a:pt x="19927" y="2767"/>
                    </a:lnTo>
                    <a:lnTo>
                      <a:pt x="20800" y="1517"/>
                    </a:lnTo>
                    <a:lnTo>
                      <a:pt x="21018" y="625"/>
                    </a:lnTo>
                    <a:lnTo>
                      <a:pt x="21018" y="536"/>
                    </a:lnTo>
                    <a:lnTo>
                      <a:pt x="20873" y="536"/>
                    </a:lnTo>
                    <a:lnTo>
                      <a:pt x="19564" y="1339"/>
                    </a:lnTo>
                    <a:lnTo>
                      <a:pt x="18182" y="1785"/>
                    </a:lnTo>
                    <a:lnTo>
                      <a:pt x="17527" y="982"/>
                    </a:lnTo>
                    <a:lnTo>
                      <a:pt x="16727" y="536"/>
                    </a:lnTo>
                    <a:lnTo>
                      <a:pt x="15782" y="179"/>
                    </a:lnTo>
                    <a:lnTo>
                      <a:pt x="14982" y="0"/>
                    </a:lnTo>
                    <a:lnTo>
                      <a:pt x="14036" y="179"/>
                    </a:lnTo>
                    <a:lnTo>
                      <a:pt x="13236" y="536"/>
                    </a:lnTo>
                    <a:lnTo>
                      <a:pt x="12436" y="982"/>
                    </a:lnTo>
                    <a:lnTo>
                      <a:pt x="11709" y="1607"/>
                    </a:lnTo>
                    <a:lnTo>
                      <a:pt x="11200" y="2499"/>
                    </a:lnTo>
                    <a:lnTo>
                      <a:pt x="10836" y="3481"/>
                    </a:lnTo>
                    <a:lnTo>
                      <a:pt x="10545" y="4463"/>
                    </a:lnTo>
                    <a:lnTo>
                      <a:pt x="10400" y="5623"/>
                    </a:lnTo>
                    <a:lnTo>
                      <a:pt x="10545" y="6605"/>
                    </a:lnTo>
                    <a:lnTo>
                      <a:pt x="9164" y="6426"/>
                    </a:lnTo>
                    <a:lnTo>
                      <a:pt x="8000" y="6069"/>
                    </a:lnTo>
                    <a:lnTo>
                      <a:pt x="6764" y="5623"/>
                    </a:lnTo>
                    <a:lnTo>
                      <a:pt x="5673" y="4909"/>
                    </a:lnTo>
                    <a:lnTo>
                      <a:pt x="4509" y="4284"/>
                    </a:lnTo>
                    <a:lnTo>
                      <a:pt x="2618" y="2321"/>
                    </a:lnTo>
                    <a:lnTo>
                      <a:pt x="1673" y="1160"/>
                    </a:lnTo>
                    <a:lnTo>
                      <a:pt x="1673" y="982"/>
                    </a:lnTo>
                    <a:lnTo>
                      <a:pt x="1527" y="1160"/>
                    </a:lnTo>
                    <a:lnTo>
                      <a:pt x="1091" y="2499"/>
                    </a:lnTo>
                    <a:lnTo>
                      <a:pt x="945" y="3838"/>
                    </a:lnTo>
                    <a:lnTo>
                      <a:pt x="945" y="5088"/>
                    </a:lnTo>
                    <a:lnTo>
                      <a:pt x="1382" y="6248"/>
                    </a:lnTo>
                    <a:lnTo>
                      <a:pt x="1891" y="7230"/>
                    </a:lnTo>
                    <a:lnTo>
                      <a:pt x="2618" y="8301"/>
                    </a:lnTo>
                    <a:lnTo>
                      <a:pt x="1745" y="7944"/>
                    </a:lnTo>
                    <a:lnTo>
                      <a:pt x="945" y="7587"/>
                    </a:lnTo>
                    <a:lnTo>
                      <a:pt x="873" y="7765"/>
                    </a:lnTo>
                    <a:lnTo>
                      <a:pt x="945" y="8569"/>
                    </a:lnTo>
                    <a:lnTo>
                      <a:pt x="1091" y="9550"/>
                    </a:lnTo>
                    <a:lnTo>
                      <a:pt x="1382" y="10264"/>
                    </a:lnTo>
                    <a:lnTo>
                      <a:pt x="1745" y="11068"/>
                    </a:lnTo>
                    <a:lnTo>
                      <a:pt x="2182" y="11693"/>
                    </a:lnTo>
                    <a:lnTo>
                      <a:pt x="2691" y="12228"/>
                    </a:lnTo>
                    <a:lnTo>
                      <a:pt x="3418" y="12764"/>
                    </a:lnTo>
                    <a:lnTo>
                      <a:pt x="4073" y="13031"/>
                    </a:lnTo>
                    <a:lnTo>
                      <a:pt x="2473" y="13031"/>
                    </a:lnTo>
                    <a:lnTo>
                      <a:pt x="2473" y="13210"/>
                    </a:lnTo>
                    <a:lnTo>
                      <a:pt x="2691" y="13835"/>
                    </a:lnTo>
                    <a:lnTo>
                      <a:pt x="2982" y="14727"/>
                    </a:lnTo>
                    <a:lnTo>
                      <a:pt x="3418" y="15174"/>
                    </a:lnTo>
                    <a:lnTo>
                      <a:pt x="3927" y="15888"/>
                    </a:lnTo>
                    <a:lnTo>
                      <a:pt x="4509" y="16155"/>
                    </a:lnTo>
                    <a:lnTo>
                      <a:pt x="5018" y="16691"/>
                    </a:lnTo>
                    <a:lnTo>
                      <a:pt x="6327" y="17048"/>
                    </a:lnTo>
                    <a:lnTo>
                      <a:pt x="5164" y="17851"/>
                    </a:lnTo>
                    <a:lnTo>
                      <a:pt x="3927" y="18476"/>
                    </a:lnTo>
                    <a:lnTo>
                      <a:pt x="2618" y="18833"/>
                    </a:lnTo>
                    <a:lnTo>
                      <a:pt x="1091" y="19012"/>
                    </a:lnTo>
                    <a:lnTo>
                      <a:pt x="0" y="19012"/>
                    </a:lnTo>
                    <a:lnTo>
                      <a:pt x="0" y="19190"/>
                    </a:lnTo>
                    <a:lnTo>
                      <a:pt x="1673" y="20350"/>
                    </a:lnTo>
                    <a:lnTo>
                      <a:pt x="3273" y="20975"/>
                    </a:lnTo>
                    <a:lnTo>
                      <a:pt x="5018" y="21511"/>
                    </a:lnTo>
                    <a:lnTo>
                      <a:pt x="6909" y="21600"/>
                    </a:lnTo>
                    <a:lnTo>
                      <a:pt x="8218" y="21511"/>
                    </a:lnTo>
                    <a:lnTo>
                      <a:pt x="9600" y="21332"/>
                    </a:lnTo>
                    <a:lnTo>
                      <a:pt x="10909" y="20797"/>
                    </a:lnTo>
                    <a:lnTo>
                      <a:pt x="12145" y="20350"/>
                    </a:lnTo>
                    <a:lnTo>
                      <a:pt x="13236" y="19636"/>
                    </a:lnTo>
                    <a:lnTo>
                      <a:pt x="14327" y="18833"/>
                    </a:lnTo>
                    <a:lnTo>
                      <a:pt x="15273" y="17851"/>
                    </a:lnTo>
                    <a:lnTo>
                      <a:pt x="16073" y="16869"/>
                    </a:lnTo>
                    <a:lnTo>
                      <a:pt x="16873" y="15709"/>
                    </a:lnTo>
                    <a:lnTo>
                      <a:pt x="17527" y="14370"/>
                    </a:lnTo>
                    <a:lnTo>
                      <a:pt x="18036" y="13210"/>
                    </a:lnTo>
                    <a:lnTo>
                      <a:pt x="18618" y="11871"/>
                    </a:lnTo>
                    <a:lnTo>
                      <a:pt x="18982" y="10443"/>
                    </a:lnTo>
                    <a:lnTo>
                      <a:pt x="19273" y="9104"/>
                    </a:lnTo>
                    <a:lnTo>
                      <a:pt x="19418" y="7587"/>
                    </a:lnTo>
                    <a:lnTo>
                      <a:pt x="19418" y="5623"/>
                    </a:lnTo>
                    <a:lnTo>
                      <a:pt x="20655" y="4284"/>
                    </a:lnTo>
                    <a:lnTo>
                      <a:pt x="21600" y="2767"/>
                    </a:lnTo>
                    <a:lnTo>
                      <a:pt x="21600" y="2678"/>
                    </a:lnTo>
                    <a:close/>
                  </a:path>
                </a:pathLst>
              </a:custGeom>
              <a:solidFill>
                <a:schemeClr val="bg1"/>
              </a:solidFill>
              <a:ln w="12700">
                <a:miter lim="400000"/>
              </a:ln>
            </p:spPr>
            <p:txBody>
              <a:bodyPr lIns="60958" rIns="60958"/>
              <a:lstStyle/>
              <a:p>
                <a:pPr defTabSz="1219122" hangingPunct="0"/>
                <a:endParaRPr sz="2400" b="1" kern="0">
                  <a:solidFill>
                    <a:srgbClr val="000000"/>
                  </a:solidFill>
                  <a:latin typeface="Roboto Regular"/>
                  <a:ea typeface="Roboto Regular"/>
                  <a:cs typeface="Roboto Regular"/>
                  <a:sym typeface="Roboto Regular"/>
                </a:endParaRPr>
              </a:p>
            </p:txBody>
          </p:sp>
          <p:sp>
            <p:nvSpPr>
              <p:cNvPr id="37" name="Shape 5504"/>
              <p:cNvSpPr/>
              <p:nvPr/>
            </p:nvSpPr>
            <p:spPr>
              <a:xfrm>
                <a:off x="10921302" y="6435439"/>
                <a:ext cx="260216" cy="359346"/>
              </a:xfrm>
              <a:custGeom>
                <a:avLst/>
                <a:gdLst/>
                <a:ahLst/>
                <a:cxnLst>
                  <a:cxn ang="0">
                    <a:pos x="wd2" y="hd2"/>
                  </a:cxn>
                  <a:cxn ang="5400000">
                    <a:pos x="wd2" y="hd2"/>
                  </a:cxn>
                  <a:cxn ang="10800000">
                    <a:pos x="wd2" y="hd2"/>
                  </a:cxn>
                  <a:cxn ang="16200000">
                    <a:pos x="wd2" y="hd2"/>
                  </a:cxn>
                </a:cxnLst>
                <a:rect l="0" t="0" r="r" b="b"/>
                <a:pathLst>
                  <a:path w="21600" h="21600" extrusionOk="0">
                    <a:moveTo>
                      <a:pt x="8369" y="15522"/>
                    </a:moveTo>
                    <a:lnTo>
                      <a:pt x="8821" y="15769"/>
                    </a:lnTo>
                    <a:lnTo>
                      <a:pt x="9386" y="15933"/>
                    </a:lnTo>
                    <a:lnTo>
                      <a:pt x="10065" y="16097"/>
                    </a:lnTo>
                    <a:lnTo>
                      <a:pt x="10857" y="16262"/>
                    </a:lnTo>
                    <a:lnTo>
                      <a:pt x="18660" y="16262"/>
                    </a:lnTo>
                    <a:lnTo>
                      <a:pt x="19225" y="16426"/>
                    </a:lnTo>
                    <a:lnTo>
                      <a:pt x="19904" y="16672"/>
                    </a:lnTo>
                    <a:lnTo>
                      <a:pt x="20582" y="17001"/>
                    </a:lnTo>
                    <a:lnTo>
                      <a:pt x="20921" y="17494"/>
                    </a:lnTo>
                    <a:lnTo>
                      <a:pt x="21374" y="17904"/>
                    </a:lnTo>
                    <a:lnTo>
                      <a:pt x="21600" y="18397"/>
                    </a:lnTo>
                    <a:lnTo>
                      <a:pt x="21600" y="19465"/>
                    </a:lnTo>
                    <a:lnTo>
                      <a:pt x="21374" y="19875"/>
                    </a:lnTo>
                    <a:lnTo>
                      <a:pt x="20921" y="20368"/>
                    </a:lnTo>
                    <a:lnTo>
                      <a:pt x="20582" y="20779"/>
                    </a:lnTo>
                    <a:lnTo>
                      <a:pt x="19225" y="21436"/>
                    </a:lnTo>
                    <a:lnTo>
                      <a:pt x="18660" y="21600"/>
                    </a:lnTo>
                    <a:lnTo>
                      <a:pt x="10857" y="21600"/>
                    </a:lnTo>
                    <a:lnTo>
                      <a:pt x="8595" y="21436"/>
                    </a:lnTo>
                    <a:lnTo>
                      <a:pt x="6672" y="20943"/>
                    </a:lnTo>
                    <a:lnTo>
                      <a:pt x="4863" y="20204"/>
                    </a:lnTo>
                    <a:lnTo>
                      <a:pt x="3166" y="19300"/>
                    </a:lnTo>
                    <a:lnTo>
                      <a:pt x="1923" y="17904"/>
                    </a:lnTo>
                    <a:lnTo>
                      <a:pt x="905" y="16590"/>
                    </a:lnTo>
                    <a:lnTo>
                      <a:pt x="226" y="15194"/>
                    </a:lnTo>
                    <a:lnTo>
                      <a:pt x="0" y="13551"/>
                    </a:lnTo>
                    <a:lnTo>
                      <a:pt x="0" y="2135"/>
                    </a:lnTo>
                    <a:lnTo>
                      <a:pt x="226" y="1643"/>
                    </a:lnTo>
                    <a:lnTo>
                      <a:pt x="679" y="1232"/>
                    </a:lnTo>
                    <a:lnTo>
                      <a:pt x="1018" y="739"/>
                    </a:lnTo>
                    <a:lnTo>
                      <a:pt x="1696" y="411"/>
                    </a:lnTo>
                    <a:lnTo>
                      <a:pt x="2262" y="329"/>
                    </a:lnTo>
                    <a:lnTo>
                      <a:pt x="3619" y="0"/>
                    </a:lnTo>
                    <a:lnTo>
                      <a:pt x="4410" y="164"/>
                    </a:lnTo>
                    <a:lnTo>
                      <a:pt x="5089" y="329"/>
                    </a:lnTo>
                    <a:lnTo>
                      <a:pt x="5654" y="411"/>
                    </a:lnTo>
                    <a:lnTo>
                      <a:pt x="6333" y="739"/>
                    </a:lnTo>
                    <a:lnTo>
                      <a:pt x="6672" y="1232"/>
                    </a:lnTo>
                    <a:lnTo>
                      <a:pt x="6898" y="1643"/>
                    </a:lnTo>
                    <a:lnTo>
                      <a:pt x="7125" y="2135"/>
                    </a:lnTo>
                    <a:lnTo>
                      <a:pt x="7351" y="2710"/>
                    </a:lnTo>
                    <a:lnTo>
                      <a:pt x="7351" y="5421"/>
                    </a:lnTo>
                    <a:lnTo>
                      <a:pt x="18660" y="5421"/>
                    </a:lnTo>
                    <a:lnTo>
                      <a:pt x="19225" y="5585"/>
                    </a:lnTo>
                    <a:lnTo>
                      <a:pt x="20582" y="6242"/>
                    </a:lnTo>
                    <a:lnTo>
                      <a:pt x="20921" y="6652"/>
                    </a:lnTo>
                    <a:lnTo>
                      <a:pt x="21374" y="7145"/>
                    </a:lnTo>
                    <a:lnTo>
                      <a:pt x="21600" y="7556"/>
                    </a:lnTo>
                    <a:lnTo>
                      <a:pt x="21600" y="8624"/>
                    </a:lnTo>
                    <a:lnTo>
                      <a:pt x="21374" y="9116"/>
                    </a:lnTo>
                    <a:lnTo>
                      <a:pt x="20921" y="9527"/>
                    </a:lnTo>
                    <a:lnTo>
                      <a:pt x="20582" y="10020"/>
                    </a:lnTo>
                    <a:lnTo>
                      <a:pt x="19904" y="10348"/>
                    </a:lnTo>
                    <a:lnTo>
                      <a:pt x="19225" y="10595"/>
                    </a:lnTo>
                    <a:lnTo>
                      <a:pt x="18660" y="10759"/>
                    </a:lnTo>
                    <a:lnTo>
                      <a:pt x="7351" y="10759"/>
                    </a:lnTo>
                    <a:lnTo>
                      <a:pt x="7351" y="14126"/>
                    </a:lnTo>
                    <a:lnTo>
                      <a:pt x="7577" y="14619"/>
                    </a:lnTo>
                    <a:lnTo>
                      <a:pt x="7803" y="15030"/>
                    </a:lnTo>
                    <a:lnTo>
                      <a:pt x="8369" y="15522"/>
                    </a:lnTo>
                    <a:close/>
                  </a:path>
                </a:pathLst>
              </a:custGeom>
              <a:solidFill>
                <a:schemeClr val="bg1"/>
              </a:solidFill>
              <a:ln w="12700">
                <a:miter lim="400000"/>
              </a:ln>
            </p:spPr>
            <p:txBody>
              <a:bodyPr lIns="60958" rIns="60958"/>
              <a:lstStyle/>
              <a:p>
                <a:pPr defTabSz="1219122" hangingPunct="0"/>
                <a:endParaRPr sz="2400" b="1" kern="0">
                  <a:solidFill>
                    <a:srgbClr val="000000"/>
                  </a:solidFill>
                  <a:latin typeface="Roboto Regular"/>
                  <a:ea typeface="Roboto Regular"/>
                  <a:cs typeface="Roboto Regular"/>
                  <a:sym typeface="Roboto Regular"/>
                </a:endParaRPr>
              </a:p>
            </p:txBody>
          </p:sp>
          <p:grpSp>
            <p:nvGrpSpPr>
              <p:cNvPr id="38" name="Group 5544"/>
              <p:cNvGrpSpPr/>
              <p:nvPr/>
            </p:nvGrpSpPr>
            <p:grpSpPr>
              <a:xfrm>
                <a:off x="11552013" y="6429244"/>
                <a:ext cx="373287" cy="371736"/>
                <a:chOff x="0" y="0"/>
                <a:chExt cx="382588" cy="380999"/>
              </a:xfrm>
              <a:solidFill>
                <a:schemeClr val="bg1"/>
              </a:solidFill>
            </p:grpSpPr>
            <p:sp>
              <p:nvSpPr>
                <p:cNvPr id="39" name="Shape 5541"/>
                <p:cNvSpPr/>
                <p:nvPr/>
              </p:nvSpPr>
              <p:spPr>
                <a:xfrm>
                  <a:off x="0" y="0"/>
                  <a:ext cx="92075" cy="92075"/>
                </a:xfrm>
                <a:custGeom>
                  <a:avLst/>
                  <a:gdLst/>
                  <a:ahLst/>
                  <a:cxnLst>
                    <a:cxn ang="0">
                      <a:pos x="wd2" y="hd2"/>
                    </a:cxn>
                    <a:cxn ang="5400000">
                      <a:pos x="wd2" y="hd2"/>
                    </a:cxn>
                    <a:cxn ang="10800000">
                      <a:pos x="wd2" y="hd2"/>
                    </a:cxn>
                    <a:cxn ang="16200000">
                      <a:pos x="wd2" y="hd2"/>
                    </a:cxn>
                  </a:cxnLst>
                  <a:rect l="0" t="0" r="r" b="b"/>
                  <a:pathLst>
                    <a:path w="21600" h="21600" extrusionOk="0">
                      <a:moveTo>
                        <a:pt x="10462" y="0"/>
                      </a:moveTo>
                      <a:lnTo>
                        <a:pt x="8775" y="645"/>
                      </a:lnTo>
                      <a:lnTo>
                        <a:pt x="4725" y="1934"/>
                      </a:lnTo>
                      <a:lnTo>
                        <a:pt x="3037" y="3224"/>
                      </a:lnTo>
                      <a:lnTo>
                        <a:pt x="1687" y="4836"/>
                      </a:lnTo>
                      <a:lnTo>
                        <a:pt x="337" y="6770"/>
                      </a:lnTo>
                      <a:lnTo>
                        <a:pt x="0" y="8382"/>
                      </a:lnTo>
                      <a:lnTo>
                        <a:pt x="0" y="12573"/>
                      </a:lnTo>
                      <a:lnTo>
                        <a:pt x="337" y="15152"/>
                      </a:lnTo>
                      <a:lnTo>
                        <a:pt x="1687" y="16764"/>
                      </a:lnTo>
                      <a:lnTo>
                        <a:pt x="4725" y="19666"/>
                      </a:lnTo>
                      <a:lnTo>
                        <a:pt x="8775" y="20955"/>
                      </a:lnTo>
                      <a:lnTo>
                        <a:pt x="10462" y="21600"/>
                      </a:lnTo>
                      <a:lnTo>
                        <a:pt x="13162" y="20955"/>
                      </a:lnTo>
                      <a:lnTo>
                        <a:pt x="14850" y="20310"/>
                      </a:lnTo>
                      <a:lnTo>
                        <a:pt x="16875" y="19666"/>
                      </a:lnTo>
                      <a:lnTo>
                        <a:pt x="19912" y="16764"/>
                      </a:lnTo>
                      <a:lnTo>
                        <a:pt x="21263" y="15152"/>
                      </a:lnTo>
                      <a:lnTo>
                        <a:pt x="21600" y="12573"/>
                      </a:lnTo>
                      <a:lnTo>
                        <a:pt x="21600" y="8382"/>
                      </a:lnTo>
                      <a:lnTo>
                        <a:pt x="21263" y="6770"/>
                      </a:lnTo>
                      <a:lnTo>
                        <a:pt x="19912" y="4836"/>
                      </a:lnTo>
                      <a:lnTo>
                        <a:pt x="18562" y="3224"/>
                      </a:lnTo>
                      <a:lnTo>
                        <a:pt x="16875" y="1934"/>
                      </a:lnTo>
                      <a:lnTo>
                        <a:pt x="14850" y="1290"/>
                      </a:lnTo>
                      <a:lnTo>
                        <a:pt x="13162" y="645"/>
                      </a:lnTo>
                      <a:lnTo>
                        <a:pt x="10462" y="0"/>
                      </a:lnTo>
                      <a:close/>
                    </a:path>
                  </a:pathLst>
                </a:custGeom>
                <a:grpFill/>
                <a:ln w="12700" cap="flat">
                  <a:noFill/>
                  <a:miter lim="400000"/>
                </a:ln>
                <a:effectLst/>
              </p:spPr>
              <p:txBody>
                <a:bodyPr wrap="square" lIns="60958" tIns="60958" rIns="60958" bIns="60958" numCol="1" anchor="t">
                  <a:noAutofit/>
                </a:bodyPr>
                <a:lstStyle/>
                <a:p>
                  <a:pPr defTabSz="1219122" hangingPunct="0"/>
                  <a:endParaRPr sz="2400" b="1" kern="0">
                    <a:solidFill>
                      <a:srgbClr val="000000"/>
                    </a:solidFill>
                    <a:latin typeface="Roboto Regular"/>
                    <a:ea typeface="Roboto Regular"/>
                    <a:cs typeface="Roboto Regular"/>
                    <a:sym typeface="Roboto Regular"/>
                  </a:endParaRPr>
                </a:p>
              </p:txBody>
            </p:sp>
            <p:sp>
              <p:nvSpPr>
                <p:cNvPr id="40" name="Shape 5542"/>
                <p:cNvSpPr/>
                <p:nvPr/>
              </p:nvSpPr>
              <p:spPr>
                <a:xfrm>
                  <a:off x="6349" y="125413"/>
                  <a:ext cx="80963" cy="255587"/>
                </a:xfrm>
                <a:prstGeom prst="rect">
                  <a:avLst/>
                </a:prstGeom>
                <a:grpFill/>
                <a:ln w="12700" cap="flat">
                  <a:noFill/>
                  <a:miter lim="400000"/>
                </a:ln>
                <a:effectLst/>
              </p:spPr>
              <p:txBody>
                <a:bodyPr wrap="square" lIns="60958" tIns="60958" rIns="60958" bIns="60958" numCol="1" anchor="t">
                  <a:noAutofit/>
                </a:bodyPr>
                <a:lstStyle/>
                <a:p>
                  <a:pPr defTabSz="1219122" hangingPunct="0"/>
                  <a:endParaRPr sz="2400" b="1" kern="0">
                    <a:solidFill>
                      <a:srgbClr val="000000"/>
                    </a:solidFill>
                    <a:latin typeface="Roboto Regular"/>
                    <a:ea typeface="Roboto Regular"/>
                    <a:cs typeface="Roboto Regular"/>
                    <a:sym typeface="Roboto Regular"/>
                  </a:endParaRPr>
                </a:p>
              </p:txBody>
            </p:sp>
            <p:sp>
              <p:nvSpPr>
                <p:cNvPr id="41" name="Shape 5543"/>
                <p:cNvSpPr/>
                <p:nvPr/>
              </p:nvSpPr>
              <p:spPr>
                <a:xfrm>
                  <a:off x="134938" y="120650"/>
                  <a:ext cx="247651" cy="260350"/>
                </a:xfrm>
                <a:custGeom>
                  <a:avLst/>
                  <a:gdLst/>
                  <a:ahLst/>
                  <a:cxnLst>
                    <a:cxn ang="0">
                      <a:pos x="wd2" y="hd2"/>
                    </a:cxn>
                    <a:cxn ang="5400000">
                      <a:pos x="wd2" y="hd2"/>
                    </a:cxn>
                    <a:cxn ang="10800000">
                      <a:pos x="wd2" y="hd2"/>
                    </a:cxn>
                    <a:cxn ang="16200000">
                      <a:pos x="wd2" y="hd2"/>
                    </a:cxn>
                  </a:cxnLst>
                  <a:rect l="0" t="0" r="r" b="b"/>
                  <a:pathLst>
                    <a:path w="21600" h="21600" extrusionOk="0">
                      <a:moveTo>
                        <a:pt x="13132" y="0"/>
                      </a:moveTo>
                      <a:lnTo>
                        <a:pt x="12027" y="0"/>
                      </a:lnTo>
                      <a:lnTo>
                        <a:pt x="10923" y="232"/>
                      </a:lnTo>
                      <a:lnTo>
                        <a:pt x="9941" y="697"/>
                      </a:lnTo>
                      <a:lnTo>
                        <a:pt x="9082" y="1161"/>
                      </a:lnTo>
                      <a:lnTo>
                        <a:pt x="7732" y="2206"/>
                      </a:lnTo>
                      <a:lnTo>
                        <a:pt x="6627" y="3252"/>
                      </a:lnTo>
                      <a:lnTo>
                        <a:pt x="6627" y="465"/>
                      </a:lnTo>
                      <a:lnTo>
                        <a:pt x="0" y="465"/>
                      </a:lnTo>
                      <a:lnTo>
                        <a:pt x="0" y="21600"/>
                      </a:lnTo>
                      <a:lnTo>
                        <a:pt x="6750" y="21600"/>
                      </a:lnTo>
                      <a:lnTo>
                        <a:pt x="6750" y="11265"/>
                      </a:lnTo>
                      <a:lnTo>
                        <a:pt x="6995" y="9058"/>
                      </a:lnTo>
                      <a:lnTo>
                        <a:pt x="7241" y="8245"/>
                      </a:lnTo>
                      <a:lnTo>
                        <a:pt x="7486" y="7316"/>
                      </a:lnTo>
                      <a:lnTo>
                        <a:pt x="8223" y="6735"/>
                      </a:lnTo>
                      <a:lnTo>
                        <a:pt x="8836" y="6271"/>
                      </a:lnTo>
                      <a:lnTo>
                        <a:pt x="9818" y="5806"/>
                      </a:lnTo>
                      <a:lnTo>
                        <a:pt x="11168" y="5690"/>
                      </a:lnTo>
                      <a:lnTo>
                        <a:pt x="12273" y="5806"/>
                      </a:lnTo>
                      <a:lnTo>
                        <a:pt x="13132" y="6271"/>
                      </a:lnTo>
                      <a:lnTo>
                        <a:pt x="13623" y="6968"/>
                      </a:lnTo>
                      <a:lnTo>
                        <a:pt x="14114" y="7548"/>
                      </a:lnTo>
                      <a:lnTo>
                        <a:pt x="14482" y="8477"/>
                      </a:lnTo>
                      <a:lnTo>
                        <a:pt x="14482" y="21600"/>
                      </a:lnTo>
                      <a:lnTo>
                        <a:pt x="21600" y="21600"/>
                      </a:lnTo>
                      <a:lnTo>
                        <a:pt x="21600" y="8013"/>
                      </a:lnTo>
                      <a:lnTo>
                        <a:pt x="21355" y="6039"/>
                      </a:lnTo>
                      <a:lnTo>
                        <a:pt x="20618" y="4297"/>
                      </a:lnTo>
                      <a:lnTo>
                        <a:pt x="20005" y="2787"/>
                      </a:lnTo>
                      <a:lnTo>
                        <a:pt x="18900" y="1510"/>
                      </a:lnTo>
                      <a:lnTo>
                        <a:pt x="17427" y="697"/>
                      </a:lnTo>
                      <a:lnTo>
                        <a:pt x="15709" y="232"/>
                      </a:lnTo>
                      <a:lnTo>
                        <a:pt x="13132" y="0"/>
                      </a:lnTo>
                      <a:close/>
                    </a:path>
                  </a:pathLst>
                </a:custGeom>
                <a:grpFill/>
                <a:ln w="12700" cap="flat">
                  <a:noFill/>
                  <a:miter lim="400000"/>
                </a:ln>
                <a:effectLst/>
              </p:spPr>
              <p:txBody>
                <a:bodyPr wrap="square" lIns="60958" tIns="60958" rIns="60958" bIns="60958" numCol="1" anchor="t">
                  <a:noAutofit/>
                </a:bodyPr>
                <a:lstStyle/>
                <a:p>
                  <a:pPr defTabSz="1219122" hangingPunct="0"/>
                  <a:endParaRPr sz="2400" b="1" kern="0">
                    <a:solidFill>
                      <a:srgbClr val="000000"/>
                    </a:solidFill>
                    <a:latin typeface="Roboto Regular"/>
                    <a:ea typeface="Roboto Regular"/>
                    <a:cs typeface="Roboto Regular"/>
                    <a:sym typeface="Roboto Regular"/>
                  </a:endParaRPr>
                </a:p>
              </p:txBody>
            </p:sp>
          </p:grpSp>
        </p:grpSp>
      </p:grpSp>
      <p:cxnSp>
        <p:nvCxnSpPr>
          <p:cNvPr id="10" name="Straight Connector 9"/>
          <p:cNvCxnSpPr/>
          <p:nvPr/>
        </p:nvCxnSpPr>
        <p:spPr>
          <a:xfrm>
            <a:off x="0" y="3995516"/>
            <a:ext cx="24909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5729" y="2062229"/>
            <a:ext cx="3695826" cy="921782"/>
          </a:xfrm>
          <a:prstGeom prst="rect">
            <a:avLst/>
          </a:prstGeom>
        </p:spPr>
      </p:pic>
    </p:spTree>
    <p:extLst>
      <p:ext uri="{BB962C8B-B14F-4D97-AF65-F5344CB8AC3E}">
        <p14:creationId xmlns:p14="http://schemas.microsoft.com/office/powerpoint/2010/main" val="215293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p:pic>
      <p:sp>
        <p:nvSpPr>
          <p:cNvPr id="2" name="Rectangle 1"/>
          <p:cNvSpPr/>
          <p:nvPr/>
        </p:nvSpPr>
        <p:spPr>
          <a:xfrm>
            <a:off x="0" y="0"/>
            <a:ext cx="12192000" cy="685800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p:cNvSpPr txBox="1"/>
          <p:nvPr/>
        </p:nvSpPr>
        <p:spPr>
          <a:xfrm>
            <a:off x="372172" y="3330577"/>
            <a:ext cx="5723828" cy="584775"/>
          </a:xfrm>
          <a:prstGeom prst="rect">
            <a:avLst/>
          </a:prstGeom>
          <a:noFill/>
        </p:spPr>
        <p:txBody>
          <a:bodyPr wrap="square" rtlCol="0">
            <a:spAutoFit/>
          </a:bodyPr>
          <a:lstStyle/>
          <a:p>
            <a:r>
              <a:rPr lang="en-US" sz="3200" b="1" dirty="0">
                <a:solidFill>
                  <a:schemeClr val="bg1"/>
                </a:solidFill>
              </a:rPr>
              <a:t>CONTACT :</a:t>
            </a:r>
          </a:p>
        </p:txBody>
      </p:sp>
      <p:grpSp>
        <p:nvGrpSpPr>
          <p:cNvPr id="19" name="Group 18"/>
          <p:cNvGrpSpPr/>
          <p:nvPr/>
        </p:nvGrpSpPr>
        <p:grpSpPr>
          <a:xfrm>
            <a:off x="458727" y="4340257"/>
            <a:ext cx="3993762" cy="857116"/>
            <a:chOff x="6796666" y="3943198"/>
            <a:chExt cx="3732214" cy="800984"/>
          </a:xfrm>
        </p:grpSpPr>
        <p:sp>
          <p:nvSpPr>
            <p:cNvPr id="22" name="TextBox 21"/>
            <p:cNvSpPr txBox="1"/>
            <p:nvPr/>
          </p:nvSpPr>
          <p:spPr>
            <a:xfrm>
              <a:off x="7102965" y="3943198"/>
              <a:ext cx="3209907" cy="338554"/>
            </a:xfrm>
            <a:prstGeom prst="rect">
              <a:avLst/>
            </a:prstGeom>
            <a:noFill/>
          </p:spPr>
          <p:txBody>
            <a:bodyPr wrap="square" rtlCol="0">
              <a:spAutoFit/>
            </a:bodyPr>
            <a:lstStyle/>
            <a:p>
              <a:r>
                <a:rPr lang="en-US" sz="1600" dirty="0">
                  <a:solidFill>
                    <a:schemeClr val="bg1"/>
                  </a:solidFill>
                  <a:latin typeface="+mj-lt"/>
                </a:rPr>
                <a:t>emailaddress@email.com</a:t>
              </a:r>
            </a:p>
          </p:txBody>
        </p:sp>
        <p:pic>
          <p:nvPicPr>
            <p:cNvPr id="24" name="Picture 2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6666" y="3997728"/>
              <a:ext cx="240000" cy="240000"/>
            </a:xfrm>
            <a:prstGeom prst="rect">
              <a:avLst/>
            </a:prstGeom>
          </p:spPr>
        </p:pic>
        <p:sp>
          <p:nvSpPr>
            <p:cNvPr id="26" name="TextBox 25"/>
            <p:cNvSpPr txBox="1"/>
            <p:nvPr/>
          </p:nvSpPr>
          <p:spPr>
            <a:xfrm>
              <a:off x="7102965" y="4405628"/>
              <a:ext cx="3425915" cy="338554"/>
            </a:xfrm>
            <a:prstGeom prst="rect">
              <a:avLst/>
            </a:prstGeom>
            <a:noFill/>
          </p:spPr>
          <p:txBody>
            <a:bodyPr wrap="square" rtlCol="0">
              <a:spAutoFit/>
            </a:bodyPr>
            <a:lstStyle/>
            <a:p>
              <a:r>
                <a:rPr lang="en-US" sz="1600" dirty="0">
                  <a:solidFill>
                    <a:schemeClr val="bg1"/>
                  </a:solidFill>
                  <a:latin typeface="+mj-lt"/>
                </a:rPr>
                <a:t>www.website-address.com</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96666" y="4440184"/>
              <a:ext cx="240000" cy="240000"/>
            </a:xfrm>
            <a:prstGeom prst="rect">
              <a:avLst/>
            </a:prstGeom>
          </p:spPr>
        </p:pic>
      </p:grpSp>
      <p:grpSp>
        <p:nvGrpSpPr>
          <p:cNvPr id="34" name="Group 33"/>
          <p:cNvGrpSpPr/>
          <p:nvPr/>
        </p:nvGrpSpPr>
        <p:grpSpPr>
          <a:xfrm>
            <a:off x="395938" y="5458805"/>
            <a:ext cx="3158791" cy="372896"/>
            <a:chOff x="7816145" y="6426882"/>
            <a:chExt cx="3158791" cy="372896"/>
          </a:xfrm>
        </p:grpSpPr>
        <p:sp>
          <p:nvSpPr>
            <p:cNvPr id="18" name="TextBox 17"/>
            <p:cNvSpPr txBox="1"/>
            <p:nvPr/>
          </p:nvSpPr>
          <p:spPr>
            <a:xfrm>
              <a:off x="7816145" y="6426882"/>
              <a:ext cx="1719937" cy="372896"/>
            </a:xfrm>
            <a:prstGeom prst="rect">
              <a:avLst/>
            </a:prstGeom>
            <a:noFill/>
          </p:spPr>
          <p:txBody>
            <a:bodyPr wrap="square" rtlCol="0">
              <a:spAutoFit/>
            </a:bodyPr>
            <a:lstStyle/>
            <a:p>
              <a:r>
                <a:rPr lang="en-US" b="1" dirty="0">
                  <a:solidFill>
                    <a:schemeClr val="bg1"/>
                  </a:solidFill>
                </a:rPr>
                <a:t>FOLLOW US :</a:t>
              </a:r>
            </a:p>
          </p:txBody>
        </p:sp>
        <p:grpSp>
          <p:nvGrpSpPr>
            <p:cNvPr id="33" name="Group 32"/>
            <p:cNvGrpSpPr/>
            <p:nvPr/>
          </p:nvGrpSpPr>
          <p:grpSpPr>
            <a:xfrm>
              <a:off x="9563849" y="6491552"/>
              <a:ext cx="1411087" cy="247121"/>
              <a:chOff x="9563849" y="6408334"/>
              <a:chExt cx="2361451" cy="413557"/>
            </a:xfrm>
          </p:grpSpPr>
          <p:sp>
            <p:nvSpPr>
              <p:cNvPr id="35" name="Shape 5499"/>
              <p:cNvSpPr/>
              <p:nvPr/>
            </p:nvSpPr>
            <p:spPr>
              <a:xfrm>
                <a:off x="9563849" y="6408334"/>
                <a:ext cx="210650" cy="413557"/>
              </a:xfrm>
              <a:custGeom>
                <a:avLst/>
                <a:gdLst/>
                <a:ahLst/>
                <a:cxnLst>
                  <a:cxn ang="0">
                    <a:pos x="wd2" y="hd2"/>
                  </a:cxn>
                  <a:cxn ang="5400000">
                    <a:pos x="wd2" y="hd2"/>
                  </a:cxn>
                  <a:cxn ang="10800000">
                    <a:pos x="wd2" y="hd2"/>
                  </a:cxn>
                  <a:cxn ang="16200000">
                    <a:pos x="wd2" y="hd2"/>
                  </a:cxn>
                </a:cxnLst>
                <a:rect l="0" t="0" r="r" b="b"/>
                <a:pathLst>
                  <a:path w="21600" h="21600" extrusionOk="0">
                    <a:moveTo>
                      <a:pt x="21600" y="3588"/>
                    </a:moveTo>
                    <a:lnTo>
                      <a:pt x="16754" y="3588"/>
                    </a:lnTo>
                    <a:lnTo>
                      <a:pt x="15923" y="3660"/>
                    </a:lnTo>
                    <a:lnTo>
                      <a:pt x="15231" y="3803"/>
                    </a:lnTo>
                    <a:lnTo>
                      <a:pt x="14677" y="4090"/>
                    </a:lnTo>
                    <a:lnTo>
                      <a:pt x="14400" y="4377"/>
                    </a:lnTo>
                    <a:lnTo>
                      <a:pt x="14123" y="4593"/>
                    </a:lnTo>
                    <a:lnTo>
                      <a:pt x="13846" y="5454"/>
                    </a:lnTo>
                    <a:lnTo>
                      <a:pt x="13846" y="7965"/>
                    </a:lnTo>
                    <a:lnTo>
                      <a:pt x="21323" y="7965"/>
                    </a:lnTo>
                    <a:lnTo>
                      <a:pt x="21323" y="11697"/>
                    </a:lnTo>
                    <a:lnTo>
                      <a:pt x="13846" y="11697"/>
                    </a:lnTo>
                    <a:lnTo>
                      <a:pt x="13846" y="21600"/>
                    </a:lnTo>
                    <a:lnTo>
                      <a:pt x="6508" y="21600"/>
                    </a:lnTo>
                    <a:lnTo>
                      <a:pt x="6508" y="11697"/>
                    </a:lnTo>
                    <a:lnTo>
                      <a:pt x="0" y="11697"/>
                    </a:lnTo>
                    <a:lnTo>
                      <a:pt x="0" y="7965"/>
                    </a:lnTo>
                    <a:lnTo>
                      <a:pt x="6508" y="7965"/>
                    </a:lnTo>
                    <a:lnTo>
                      <a:pt x="6508" y="3803"/>
                    </a:lnTo>
                    <a:lnTo>
                      <a:pt x="6923" y="2870"/>
                    </a:lnTo>
                    <a:lnTo>
                      <a:pt x="8031" y="1938"/>
                    </a:lnTo>
                    <a:lnTo>
                      <a:pt x="9000" y="1292"/>
                    </a:lnTo>
                    <a:lnTo>
                      <a:pt x="10246" y="789"/>
                    </a:lnTo>
                    <a:lnTo>
                      <a:pt x="12046" y="215"/>
                    </a:lnTo>
                    <a:lnTo>
                      <a:pt x="13846" y="72"/>
                    </a:lnTo>
                    <a:lnTo>
                      <a:pt x="15923" y="0"/>
                    </a:lnTo>
                    <a:lnTo>
                      <a:pt x="21600" y="0"/>
                    </a:lnTo>
                    <a:lnTo>
                      <a:pt x="21600" y="3588"/>
                    </a:lnTo>
                    <a:close/>
                  </a:path>
                </a:pathLst>
              </a:custGeom>
              <a:solidFill>
                <a:schemeClr val="bg1"/>
              </a:solidFill>
              <a:ln w="12700">
                <a:miter lim="400000"/>
              </a:ln>
            </p:spPr>
            <p:txBody>
              <a:bodyPr lIns="60958" rIns="60958"/>
              <a:lstStyle/>
              <a:p>
                <a:pPr defTabSz="1219122" hangingPunct="0"/>
                <a:endParaRPr sz="2400" b="1" kern="0">
                  <a:solidFill>
                    <a:srgbClr val="000000"/>
                  </a:solidFill>
                  <a:latin typeface="Roboto Regular"/>
                  <a:ea typeface="Roboto Regular"/>
                  <a:cs typeface="Roboto Regular"/>
                  <a:sym typeface="Roboto Regular"/>
                </a:endParaRPr>
              </a:p>
            </p:txBody>
          </p:sp>
          <p:sp>
            <p:nvSpPr>
              <p:cNvPr id="36" name="Shape 5500"/>
              <p:cNvSpPr/>
              <p:nvPr/>
            </p:nvSpPr>
            <p:spPr>
              <a:xfrm>
                <a:off x="10144995" y="6448605"/>
                <a:ext cx="405811" cy="333015"/>
              </a:xfrm>
              <a:custGeom>
                <a:avLst/>
                <a:gdLst/>
                <a:ahLst/>
                <a:cxnLst>
                  <a:cxn ang="0">
                    <a:pos x="wd2" y="hd2"/>
                  </a:cxn>
                  <a:cxn ang="5400000">
                    <a:pos x="wd2" y="hd2"/>
                  </a:cxn>
                  <a:cxn ang="10800000">
                    <a:pos x="wd2" y="hd2"/>
                  </a:cxn>
                  <a:cxn ang="16200000">
                    <a:pos x="wd2" y="hd2"/>
                  </a:cxn>
                </a:cxnLst>
                <a:rect l="0" t="0" r="r" b="b"/>
                <a:pathLst>
                  <a:path w="21600" h="21600" extrusionOk="0">
                    <a:moveTo>
                      <a:pt x="21600" y="2678"/>
                    </a:moveTo>
                    <a:lnTo>
                      <a:pt x="21455" y="2678"/>
                    </a:lnTo>
                    <a:lnTo>
                      <a:pt x="20509" y="2945"/>
                    </a:lnTo>
                    <a:lnTo>
                      <a:pt x="19418" y="3302"/>
                    </a:lnTo>
                    <a:lnTo>
                      <a:pt x="19927" y="2767"/>
                    </a:lnTo>
                    <a:lnTo>
                      <a:pt x="20800" y="1517"/>
                    </a:lnTo>
                    <a:lnTo>
                      <a:pt x="21018" y="625"/>
                    </a:lnTo>
                    <a:lnTo>
                      <a:pt x="21018" y="536"/>
                    </a:lnTo>
                    <a:lnTo>
                      <a:pt x="20873" y="536"/>
                    </a:lnTo>
                    <a:lnTo>
                      <a:pt x="19564" y="1339"/>
                    </a:lnTo>
                    <a:lnTo>
                      <a:pt x="18182" y="1785"/>
                    </a:lnTo>
                    <a:lnTo>
                      <a:pt x="17527" y="982"/>
                    </a:lnTo>
                    <a:lnTo>
                      <a:pt x="16727" y="536"/>
                    </a:lnTo>
                    <a:lnTo>
                      <a:pt x="15782" y="179"/>
                    </a:lnTo>
                    <a:lnTo>
                      <a:pt x="14982" y="0"/>
                    </a:lnTo>
                    <a:lnTo>
                      <a:pt x="14036" y="179"/>
                    </a:lnTo>
                    <a:lnTo>
                      <a:pt x="13236" y="536"/>
                    </a:lnTo>
                    <a:lnTo>
                      <a:pt x="12436" y="982"/>
                    </a:lnTo>
                    <a:lnTo>
                      <a:pt x="11709" y="1607"/>
                    </a:lnTo>
                    <a:lnTo>
                      <a:pt x="11200" y="2499"/>
                    </a:lnTo>
                    <a:lnTo>
                      <a:pt x="10836" y="3481"/>
                    </a:lnTo>
                    <a:lnTo>
                      <a:pt x="10545" y="4463"/>
                    </a:lnTo>
                    <a:lnTo>
                      <a:pt x="10400" y="5623"/>
                    </a:lnTo>
                    <a:lnTo>
                      <a:pt x="10545" y="6605"/>
                    </a:lnTo>
                    <a:lnTo>
                      <a:pt x="9164" y="6426"/>
                    </a:lnTo>
                    <a:lnTo>
                      <a:pt x="8000" y="6069"/>
                    </a:lnTo>
                    <a:lnTo>
                      <a:pt x="6764" y="5623"/>
                    </a:lnTo>
                    <a:lnTo>
                      <a:pt x="5673" y="4909"/>
                    </a:lnTo>
                    <a:lnTo>
                      <a:pt x="4509" y="4284"/>
                    </a:lnTo>
                    <a:lnTo>
                      <a:pt x="2618" y="2321"/>
                    </a:lnTo>
                    <a:lnTo>
                      <a:pt x="1673" y="1160"/>
                    </a:lnTo>
                    <a:lnTo>
                      <a:pt x="1673" y="982"/>
                    </a:lnTo>
                    <a:lnTo>
                      <a:pt x="1527" y="1160"/>
                    </a:lnTo>
                    <a:lnTo>
                      <a:pt x="1091" y="2499"/>
                    </a:lnTo>
                    <a:lnTo>
                      <a:pt x="945" y="3838"/>
                    </a:lnTo>
                    <a:lnTo>
                      <a:pt x="945" y="5088"/>
                    </a:lnTo>
                    <a:lnTo>
                      <a:pt x="1382" y="6248"/>
                    </a:lnTo>
                    <a:lnTo>
                      <a:pt x="1891" y="7230"/>
                    </a:lnTo>
                    <a:lnTo>
                      <a:pt x="2618" y="8301"/>
                    </a:lnTo>
                    <a:lnTo>
                      <a:pt x="1745" y="7944"/>
                    </a:lnTo>
                    <a:lnTo>
                      <a:pt x="945" y="7587"/>
                    </a:lnTo>
                    <a:lnTo>
                      <a:pt x="873" y="7765"/>
                    </a:lnTo>
                    <a:lnTo>
                      <a:pt x="945" y="8569"/>
                    </a:lnTo>
                    <a:lnTo>
                      <a:pt x="1091" y="9550"/>
                    </a:lnTo>
                    <a:lnTo>
                      <a:pt x="1382" y="10264"/>
                    </a:lnTo>
                    <a:lnTo>
                      <a:pt x="1745" y="11068"/>
                    </a:lnTo>
                    <a:lnTo>
                      <a:pt x="2182" y="11693"/>
                    </a:lnTo>
                    <a:lnTo>
                      <a:pt x="2691" y="12228"/>
                    </a:lnTo>
                    <a:lnTo>
                      <a:pt x="3418" y="12764"/>
                    </a:lnTo>
                    <a:lnTo>
                      <a:pt x="4073" y="13031"/>
                    </a:lnTo>
                    <a:lnTo>
                      <a:pt x="2473" y="13031"/>
                    </a:lnTo>
                    <a:lnTo>
                      <a:pt x="2473" y="13210"/>
                    </a:lnTo>
                    <a:lnTo>
                      <a:pt x="2691" y="13835"/>
                    </a:lnTo>
                    <a:lnTo>
                      <a:pt x="2982" y="14727"/>
                    </a:lnTo>
                    <a:lnTo>
                      <a:pt x="3418" y="15174"/>
                    </a:lnTo>
                    <a:lnTo>
                      <a:pt x="3927" y="15888"/>
                    </a:lnTo>
                    <a:lnTo>
                      <a:pt x="4509" y="16155"/>
                    </a:lnTo>
                    <a:lnTo>
                      <a:pt x="5018" y="16691"/>
                    </a:lnTo>
                    <a:lnTo>
                      <a:pt x="6327" y="17048"/>
                    </a:lnTo>
                    <a:lnTo>
                      <a:pt x="5164" y="17851"/>
                    </a:lnTo>
                    <a:lnTo>
                      <a:pt x="3927" y="18476"/>
                    </a:lnTo>
                    <a:lnTo>
                      <a:pt x="2618" y="18833"/>
                    </a:lnTo>
                    <a:lnTo>
                      <a:pt x="1091" y="19012"/>
                    </a:lnTo>
                    <a:lnTo>
                      <a:pt x="0" y="19012"/>
                    </a:lnTo>
                    <a:lnTo>
                      <a:pt x="0" y="19190"/>
                    </a:lnTo>
                    <a:lnTo>
                      <a:pt x="1673" y="20350"/>
                    </a:lnTo>
                    <a:lnTo>
                      <a:pt x="3273" y="20975"/>
                    </a:lnTo>
                    <a:lnTo>
                      <a:pt x="5018" y="21511"/>
                    </a:lnTo>
                    <a:lnTo>
                      <a:pt x="6909" y="21600"/>
                    </a:lnTo>
                    <a:lnTo>
                      <a:pt x="8218" y="21511"/>
                    </a:lnTo>
                    <a:lnTo>
                      <a:pt x="9600" y="21332"/>
                    </a:lnTo>
                    <a:lnTo>
                      <a:pt x="10909" y="20797"/>
                    </a:lnTo>
                    <a:lnTo>
                      <a:pt x="12145" y="20350"/>
                    </a:lnTo>
                    <a:lnTo>
                      <a:pt x="13236" y="19636"/>
                    </a:lnTo>
                    <a:lnTo>
                      <a:pt x="14327" y="18833"/>
                    </a:lnTo>
                    <a:lnTo>
                      <a:pt x="15273" y="17851"/>
                    </a:lnTo>
                    <a:lnTo>
                      <a:pt x="16073" y="16869"/>
                    </a:lnTo>
                    <a:lnTo>
                      <a:pt x="16873" y="15709"/>
                    </a:lnTo>
                    <a:lnTo>
                      <a:pt x="17527" y="14370"/>
                    </a:lnTo>
                    <a:lnTo>
                      <a:pt x="18036" y="13210"/>
                    </a:lnTo>
                    <a:lnTo>
                      <a:pt x="18618" y="11871"/>
                    </a:lnTo>
                    <a:lnTo>
                      <a:pt x="18982" y="10443"/>
                    </a:lnTo>
                    <a:lnTo>
                      <a:pt x="19273" y="9104"/>
                    </a:lnTo>
                    <a:lnTo>
                      <a:pt x="19418" y="7587"/>
                    </a:lnTo>
                    <a:lnTo>
                      <a:pt x="19418" y="5623"/>
                    </a:lnTo>
                    <a:lnTo>
                      <a:pt x="20655" y="4284"/>
                    </a:lnTo>
                    <a:lnTo>
                      <a:pt x="21600" y="2767"/>
                    </a:lnTo>
                    <a:lnTo>
                      <a:pt x="21600" y="2678"/>
                    </a:lnTo>
                    <a:close/>
                  </a:path>
                </a:pathLst>
              </a:custGeom>
              <a:solidFill>
                <a:schemeClr val="bg1"/>
              </a:solidFill>
              <a:ln w="12700">
                <a:miter lim="400000"/>
              </a:ln>
            </p:spPr>
            <p:txBody>
              <a:bodyPr lIns="60958" rIns="60958"/>
              <a:lstStyle/>
              <a:p>
                <a:pPr defTabSz="1219122" hangingPunct="0"/>
                <a:endParaRPr sz="2400" b="1" kern="0">
                  <a:solidFill>
                    <a:srgbClr val="000000"/>
                  </a:solidFill>
                  <a:latin typeface="Roboto Regular"/>
                  <a:ea typeface="Roboto Regular"/>
                  <a:cs typeface="Roboto Regular"/>
                  <a:sym typeface="Roboto Regular"/>
                </a:endParaRPr>
              </a:p>
            </p:txBody>
          </p:sp>
          <p:sp>
            <p:nvSpPr>
              <p:cNvPr id="37" name="Shape 5504"/>
              <p:cNvSpPr/>
              <p:nvPr/>
            </p:nvSpPr>
            <p:spPr>
              <a:xfrm>
                <a:off x="10921302" y="6435439"/>
                <a:ext cx="260216" cy="359346"/>
              </a:xfrm>
              <a:custGeom>
                <a:avLst/>
                <a:gdLst/>
                <a:ahLst/>
                <a:cxnLst>
                  <a:cxn ang="0">
                    <a:pos x="wd2" y="hd2"/>
                  </a:cxn>
                  <a:cxn ang="5400000">
                    <a:pos x="wd2" y="hd2"/>
                  </a:cxn>
                  <a:cxn ang="10800000">
                    <a:pos x="wd2" y="hd2"/>
                  </a:cxn>
                  <a:cxn ang="16200000">
                    <a:pos x="wd2" y="hd2"/>
                  </a:cxn>
                </a:cxnLst>
                <a:rect l="0" t="0" r="r" b="b"/>
                <a:pathLst>
                  <a:path w="21600" h="21600" extrusionOk="0">
                    <a:moveTo>
                      <a:pt x="8369" y="15522"/>
                    </a:moveTo>
                    <a:lnTo>
                      <a:pt x="8821" y="15769"/>
                    </a:lnTo>
                    <a:lnTo>
                      <a:pt x="9386" y="15933"/>
                    </a:lnTo>
                    <a:lnTo>
                      <a:pt x="10065" y="16097"/>
                    </a:lnTo>
                    <a:lnTo>
                      <a:pt x="10857" y="16262"/>
                    </a:lnTo>
                    <a:lnTo>
                      <a:pt x="18660" y="16262"/>
                    </a:lnTo>
                    <a:lnTo>
                      <a:pt x="19225" y="16426"/>
                    </a:lnTo>
                    <a:lnTo>
                      <a:pt x="19904" y="16672"/>
                    </a:lnTo>
                    <a:lnTo>
                      <a:pt x="20582" y="17001"/>
                    </a:lnTo>
                    <a:lnTo>
                      <a:pt x="20921" y="17494"/>
                    </a:lnTo>
                    <a:lnTo>
                      <a:pt x="21374" y="17904"/>
                    </a:lnTo>
                    <a:lnTo>
                      <a:pt x="21600" y="18397"/>
                    </a:lnTo>
                    <a:lnTo>
                      <a:pt x="21600" y="19465"/>
                    </a:lnTo>
                    <a:lnTo>
                      <a:pt x="21374" y="19875"/>
                    </a:lnTo>
                    <a:lnTo>
                      <a:pt x="20921" y="20368"/>
                    </a:lnTo>
                    <a:lnTo>
                      <a:pt x="20582" y="20779"/>
                    </a:lnTo>
                    <a:lnTo>
                      <a:pt x="19225" y="21436"/>
                    </a:lnTo>
                    <a:lnTo>
                      <a:pt x="18660" y="21600"/>
                    </a:lnTo>
                    <a:lnTo>
                      <a:pt x="10857" y="21600"/>
                    </a:lnTo>
                    <a:lnTo>
                      <a:pt x="8595" y="21436"/>
                    </a:lnTo>
                    <a:lnTo>
                      <a:pt x="6672" y="20943"/>
                    </a:lnTo>
                    <a:lnTo>
                      <a:pt x="4863" y="20204"/>
                    </a:lnTo>
                    <a:lnTo>
                      <a:pt x="3166" y="19300"/>
                    </a:lnTo>
                    <a:lnTo>
                      <a:pt x="1923" y="17904"/>
                    </a:lnTo>
                    <a:lnTo>
                      <a:pt x="905" y="16590"/>
                    </a:lnTo>
                    <a:lnTo>
                      <a:pt x="226" y="15194"/>
                    </a:lnTo>
                    <a:lnTo>
                      <a:pt x="0" y="13551"/>
                    </a:lnTo>
                    <a:lnTo>
                      <a:pt x="0" y="2135"/>
                    </a:lnTo>
                    <a:lnTo>
                      <a:pt x="226" y="1643"/>
                    </a:lnTo>
                    <a:lnTo>
                      <a:pt x="679" y="1232"/>
                    </a:lnTo>
                    <a:lnTo>
                      <a:pt x="1018" y="739"/>
                    </a:lnTo>
                    <a:lnTo>
                      <a:pt x="1696" y="411"/>
                    </a:lnTo>
                    <a:lnTo>
                      <a:pt x="2262" y="329"/>
                    </a:lnTo>
                    <a:lnTo>
                      <a:pt x="3619" y="0"/>
                    </a:lnTo>
                    <a:lnTo>
                      <a:pt x="4410" y="164"/>
                    </a:lnTo>
                    <a:lnTo>
                      <a:pt x="5089" y="329"/>
                    </a:lnTo>
                    <a:lnTo>
                      <a:pt x="5654" y="411"/>
                    </a:lnTo>
                    <a:lnTo>
                      <a:pt x="6333" y="739"/>
                    </a:lnTo>
                    <a:lnTo>
                      <a:pt x="6672" y="1232"/>
                    </a:lnTo>
                    <a:lnTo>
                      <a:pt x="6898" y="1643"/>
                    </a:lnTo>
                    <a:lnTo>
                      <a:pt x="7125" y="2135"/>
                    </a:lnTo>
                    <a:lnTo>
                      <a:pt x="7351" y="2710"/>
                    </a:lnTo>
                    <a:lnTo>
                      <a:pt x="7351" y="5421"/>
                    </a:lnTo>
                    <a:lnTo>
                      <a:pt x="18660" y="5421"/>
                    </a:lnTo>
                    <a:lnTo>
                      <a:pt x="19225" y="5585"/>
                    </a:lnTo>
                    <a:lnTo>
                      <a:pt x="20582" y="6242"/>
                    </a:lnTo>
                    <a:lnTo>
                      <a:pt x="20921" y="6652"/>
                    </a:lnTo>
                    <a:lnTo>
                      <a:pt x="21374" y="7145"/>
                    </a:lnTo>
                    <a:lnTo>
                      <a:pt x="21600" y="7556"/>
                    </a:lnTo>
                    <a:lnTo>
                      <a:pt x="21600" y="8624"/>
                    </a:lnTo>
                    <a:lnTo>
                      <a:pt x="21374" y="9116"/>
                    </a:lnTo>
                    <a:lnTo>
                      <a:pt x="20921" y="9527"/>
                    </a:lnTo>
                    <a:lnTo>
                      <a:pt x="20582" y="10020"/>
                    </a:lnTo>
                    <a:lnTo>
                      <a:pt x="19904" y="10348"/>
                    </a:lnTo>
                    <a:lnTo>
                      <a:pt x="19225" y="10595"/>
                    </a:lnTo>
                    <a:lnTo>
                      <a:pt x="18660" y="10759"/>
                    </a:lnTo>
                    <a:lnTo>
                      <a:pt x="7351" y="10759"/>
                    </a:lnTo>
                    <a:lnTo>
                      <a:pt x="7351" y="14126"/>
                    </a:lnTo>
                    <a:lnTo>
                      <a:pt x="7577" y="14619"/>
                    </a:lnTo>
                    <a:lnTo>
                      <a:pt x="7803" y="15030"/>
                    </a:lnTo>
                    <a:lnTo>
                      <a:pt x="8369" y="15522"/>
                    </a:lnTo>
                    <a:close/>
                  </a:path>
                </a:pathLst>
              </a:custGeom>
              <a:solidFill>
                <a:schemeClr val="bg1"/>
              </a:solidFill>
              <a:ln w="12700">
                <a:miter lim="400000"/>
              </a:ln>
            </p:spPr>
            <p:txBody>
              <a:bodyPr lIns="60958" rIns="60958"/>
              <a:lstStyle/>
              <a:p>
                <a:pPr defTabSz="1219122" hangingPunct="0"/>
                <a:endParaRPr sz="2400" b="1" kern="0">
                  <a:solidFill>
                    <a:srgbClr val="000000"/>
                  </a:solidFill>
                  <a:latin typeface="Roboto Regular"/>
                  <a:ea typeface="Roboto Regular"/>
                  <a:cs typeface="Roboto Regular"/>
                  <a:sym typeface="Roboto Regular"/>
                </a:endParaRPr>
              </a:p>
            </p:txBody>
          </p:sp>
          <p:grpSp>
            <p:nvGrpSpPr>
              <p:cNvPr id="38" name="Group 5544"/>
              <p:cNvGrpSpPr/>
              <p:nvPr/>
            </p:nvGrpSpPr>
            <p:grpSpPr>
              <a:xfrm>
                <a:off x="11552013" y="6429244"/>
                <a:ext cx="373287" cy="371736"/>
                <a:chOff x="0" y="0"/>
                <a:chExt cx="382588" cy="380999"/>
              </a:xfrm>
              <a:solidFill>
                <a:schemeClr val="bg1"/>
              </a:solidFill>
            </p:grpSpPr>
            <p:sp>
              <p:nvSpPr>
                <p:cNvPr id="39" name="Shape 5541"/>
                <p:cNvSpPr/>
                <p:nvPr/>
              </p:nvSpPr>
              <p:spPr>
                <a:xfrm>
                  <a:off x="0" y="0"/>
                  <a:ext cx="92075" cy="92075"/>
                </a:xfrm>
                <a:custGeom>
                  <a:avLst/>
                  <a:gdLst/>
                  <a:ahLst/>
                  <a:cxnLst>
                    <a:cxn ang="0">
                      <a:pos x="wd2" y="hd2"/>
                    </a:cxn>
                    <a:cxn ang="5400000">
                      <a:pos x="wd2" y="hd2"/>
                    </a:cxn>
                    <a:cxn ang="10800000">
                      <a:pos x="wd2" y="hd2"/>
                    </a:cxn>
                    <a:cxn ang="16200000">
                      <a:pos x="wd2" y="hd2"/>
                    </a:cxn>
                  </a:cxnLst>
                  <a:rect l="0" t="0" r="r" b="b"/>
                  <a:pathLst>
                    <a:path w="21600" h="21600" extrusionOk="0">
                      <a:moveTo>
                        <a:pt x="10462" y="0"/>
                      </a:moveTo>
                      <a:lnTo>
                        <a:pt x="8775" y="645"/>
                      </a:lnTo>
                      <a:lnTo>
                        <a:pt x="4725" y="1934"/>
                      </a:lnTo>
                      <a:lnTo>
                        <a:pt x="3037" y="3224"/>
                      </a:lnTo>
                      <a:lnTo>
                        <a:pt x="1687" y="4836"/>
                      </a:lnTo>
                      <a:lnTo>
                        <a:pt x="337" y="6770"/>
                      </a:lnTo>
                      <a:lnTo>
                        <a:pt x="0" y="8382"/>
                      </a:lnTo>
                      <a:lnTo>
                        <a:pt x="0" y="12573"/>
                      </a:lnTo>
                      <a:lnTo>
                        <a:pt x="337" y="15152"/>
                      </a:lnTo>
                      <a:lnTo>
                        <a:pt x="1687" y="16764"/>
                      </a:lnTo>
                      <a:lnTo>
                        <a:pt x="4725" y="19666"/>
                      </a:lnTo>
                      <a:lnTo>
                        <a:pt x="8775" y="20955"/>
                      </a:lnTo>
                      <a:lnTo>
                        <a:pt x="10462" y="21600"/>
                      </a:lnTo>
                      <a:lnTo>
                        <a:pt x="13162" y="20955"/>
                      </a:lnTo>
                      <a:lnTo>
                        <a:pt x="14850" y="20310"/>
                      </a:lnTo>
                      <a:lnTo>
                        <a:pt x="16875" y="19666"/>
                      </a:lnTo>
                      <a:lnTo>
                        <a:pt x="19912" y="16764"/>
                      </a:lnTo>
                      <a:lnTo>
                        <a:pt x="21263" y="15152"/>
                      </a:lnTo>
                      <a:lnTo>
                        <a:pt x="21600" y="12573"/>
                      </a:lnTo>
                      <a:lnTo>
                        <a:pt x="21600" y="8382"/>
                      </a:lnTo>
                      <a:lnTo>
                        <a:pt x="21263" y="6770"/>
                      </a:lnTo>
                      <a:lnTo>
                        <a:pt x="19912" y="4836"/>
                      </a:lnTo>
                      <a:lnTo>
                        <a:pt x="18562" y="3224"/>
                      </a:lnTo>
                      <a:lnTo>
                        <a:pt x="16875" y="1934"/>
                      </a:lnTo>
                      <a:lnTo>
                        <a:pt x="14850" y="1290"/>
                      </a:lnTo>
                      <a:lnTo>
                        <a:pt x="13162" y="645"/>
                      </a:lnTo>
                      <a:lnTo>
                        <a:pt x="10462" y="0"/>
                      </a:lnTo>
                      <a:close/>
                    </a:path>
                  </a:pathLst>
                </a:custGeom>
                <a:grpFill/>
                <a:ln w="12700" cap="flat">
                  <a:noFill/>
                  <a:miter lim="400000"/>
                </a:ln>
                <a:effectLst/>
              </p:spPr>
              <p:txBody>
                <a:bodyPr wrap="square" lIns="60958" tIns="60958" rIns="60958" bIns="60958" numCol="1" anchor="t">
                  <a:noAutofit/>
                </a:bodyPr>
                <a:lstStyle/>
                <a:p>
                  <a:pPr defTabSz="1219122" hangingPunct="0"/>
                  <a:endParaRPr sz="2400" b="1" kern="0">
                    <a:solidFill>
                      <a:srgbClr val="000000"/>
                    </a:solidFill>
                    <a:latin typeface="Roboto Regular"/>
                    <a:ea typeface="Roboto Regular"/>
                    <a:cs typeface="Roboto Regular"/>
                    <a:sym typeface="Roboto Regular"/>
                  </a:endParaRPr>
                </a:p>
              </p:txBody>
            </p:sp>
            <p:sp>
              <p:nvSpPr>
                <p:cNvPr id="40" name="Shape 5542"/>
                <p:cNvSpPr/>
                <p:nvPr/>
              </p:nvSpPr>
              <p:spPr>
                <a:xfrm>
                  <a:off x="6349" y="125413"/>
                  <a:ext cx="80963" cy="255587"/>
                </a:xfrm>
                <a:prstGeom prst="rect">
                  <a:avLst/>
                </a:prstGeom>
                <a:grpFill/>
                <a:ln w="12700" cap="flat">
                  <a:noFill/>
                  <a:miter lim="400000"/>
                </a:ln>
                <a:effectLst/>
              </p:spPr>
              <p:txBody>
                <a:bodyPr wrap="square" lIns="60958" tIns="60958" rIns="60958" bIns="60958" numCol="1" anchor="t">
                  <a:noAutofit/>
                </a:bodyPr>
                <a:lstStyle/>
                <a:p>
                  <a:pPr defTabSz="1219122" hangingPunct="0"/>
                  <a:endParaRPr sz="2400" b="1" kern="0">
                    <a:solidFill>
                      <a:srgbClr val="000000"/>
                    </a:solidFill>
                    <a:latin typeface="Roboto Regular"/>
                    <a:ea typeface="Roboto Regular"/>
                    <a:cs typeface="Roboto Regular"/>
                    <a:sym typeface="Roboto Regular"/>
                  </a:endParaRPr>
                </a:p>
              </p:txBody>
            </p:sp>
            <p:sp>
              <p:nvSpPr>
                <p:cNvPr id="41" name="Shape 5543"/>
                <p:cNvSpPr/>
                <p:nvPr/>
              </p:nvSpPr>
              <p:spPr>
                <a:xfrm>
                  <a:off x="134938" y="120650"/>
                  <a:ext cx="247651" cy="260350"/>
                </a:xfrm>
                <a:custGeom>
                  <a:avLst/>
                  <a:gdLst/>
                  <a:ahLst/>
                  <a:cxnLst>
                    <a:cxn ang="0">
                      <a:pos x="wd2" y="hd2"/>
                    </a:cxn>
                    <a:cxn ang="5400000">
                      <a:pos x="wd2" y="hd2"/>
                    </a:cxn>
                    <a:cxn ang="10800000">
                      <a:pos x="wd2" y="hd2"/>
                    </a:cxn>
                    <a:cxn ang="16200000">
                      <a:pos x="wd2" y="hd2"/>
                    </a:cxn>
                  </a:cxnLst>
                  <a:rect l="0" t="0" r="r" b="b"/>
                  <a:pathLst>
                    <a:path w="21600" h="21600" extrusionOk="0">
                      <a:moveTo>
                        <a:pt x="13132" y="0"/>
                      </a:moveTo>
                      <a:lnTo>
                        <a:pt x="12027" y="0"/>
                      </a:lnTo>
                      <a:lnTo>
                        <a:pt x="10923" y="232"/>
                      </a:lnTo>
                      <a:lnTo>
                        <a:pt x="9941" y="697"/>
                      </a:lnTo>
                      <a:lnTo>
                        <a:pt x="9082" y="1161"/>
                      </a:lnTo>
                      <a:lnTo>
                        <a:pt x="7732" y="2206"/>
                      </a:lnTo>
                      <a:lnTo>
                        <a:pt x="6627" y="3252"/>
                      </a:lnTo>
                      <a:lnTo>
                        <a:pt x="6627" y="465"/>
                      </a:lnTo>
                      <a:lnTo>
                        <a:pt x="0" y="465"/>
                      </a:lnTo>
                      <a:lnTo>
                        <a:pt x="0" y="21600"/>
                      </a:lnTo>
                      <a:lnTo>
                        <a:pt x="6750" y="21600"/>
                      </a:lnTo>
                      <a:lnTo>
                        <a:pt x="6750" y="11265"/>
                      </a:lnTo>
                      <a:lnTo>
                        <a:pt x="6995" y="9058"/>
                      </a:lnTo>
                      <a:lnTo>
                        <a:pt x="7241" y="8245"/>
                      </a:lnTo>
                      <a:lnTo>
                        <a:pt x="7486" y="7316"/>
                      </a:lnTo>
                      <a:lnTo>
                        <a:pt x="8223" y="6735"/>
                      </a:lnTo>
                      <a:lnTo>
                        <a:pt x="8836" y="6271"/>
                      </a:lnTo>
                      <a:lnTo>
                        <a:pt x="9818" y="5806"/>
                      </a:lnTo>
                      <a:lnTo>
                        <a:pt x="11168" y="5690"/>
                      </a:lnTo>
                      <a:lnTo>
                        <a:pt x="12273" y="5806"/>
                      </a:lnTo>
                      <a:lnTo>
                        <a:pt x="13132" y="6271"/>
                      </a:lnTo>
                      <a:lnTo>
                        <a:pt x="13623" y="6968"/>
                      </a:lnTo>
                      <a:lnTo>
                        <a:pt x="14114" y="7548"/>
                      </a:lnTo>
                      <a:lnTo>
                        <a:pt x="14482" y="8477"/>
                      </a:lnTo>
                      <a:lnTo>
                        <a:pt x="14482" y="21600"/>
                      </a:lnTo>
                      <a:lnTo>
                        <a:pt x="21600" y="21600"/>
                      </a:lnTo>
                      <a:lnTo>
                        <a:pt x="21600" y="8013"/>
                      </a:lnTo>
                      <a:lnTo>
                        <a:pt x="21355" y="6039"/>
                      </a:lnTo>
                      <a:lnTo>
                        <a:pt x="20618" y="4297"/>
                      </a:lnTo>
                      <a:lnTo>
                        <a:pt x="20005" y="2787"/>
                      </a:lnTo>
                      <a:lnTo>
                        <a:pt x="18900" y="1510"/>
                      </a:lnTo>
                      <a:lnTo>
                        <a:pt x="17427" y="697"/>
                      </a:lnTo>
                      <a:lnTo>
                        <a:pt x="15709" y="232"/>
                      </a:lnTo>
                      <a:lnTo>
                        <a:pt x="13132" y="0"/>
                      </a:lnTo>
                      <a:close/>
                    </a:path>
                  </a:pathLst>
                </a:custGeom>
                <a:grpFill/>
                <a:ln w="12700" cap="flat">
                  <a:noFill/>
                  <a:miter lim="400000"/>
                </a:ln>
                <a:effectLst/>
              </p:spPr>
              <p:txBody>
                <a:bodyPr wrap="square" lIns="60958" tIns="60958" rIns="60958" bIns="60958" numCol="1" anchor="t">
                  <a:noAutofit/>
                </a:bodyPr>
                <a:lstStyle/>
                <a:p>
                  <a:pPr defTabSz="1219122" hangingPunct="0"/>
                  <a:endParaRPr sz="2400" b="1" kern="0">
                    <a:solidFill>
                      <a:srgbClr val="000000"/>
                    </a:solidFill>
                    <a:latin typeface="Roboto Regular"/>
                    <a:ea typeface="Roboto Regular"/>
                    <a:cs typeface="Roboto Regular"/>
                    <a:sym typeface="Roboto Regular"/>
                  </a:endParaRPr>
                </a:p>
              </p:txBody>
            </p:sp>
          </p:grpSp>
        </p:grpSp>
      </p:grpSp>
      <p:cxnSp>
        <p:nvCxnSpPr>
          <p:cNvPr id="10" name="Straight Connector 9"/>
          <p:cNvCxnSpPr/>
          <p:nvPr/>
        </p:nvCxnSpPr>
        <p:spPr>
          <a:xfrm>
            <a:off x="0" y="3995516"/>
            <a:ext cx="24909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5729" y="2062229"/>
            <a:ext cx="3695826" cy="921782"/>
          </a:xfrm>
          <a:prstGeom prst="rect">
            <a:avLst/>
          </a:prstGeom>
        </p:spPr>
      </p:pic>
    </p:spTree>
    <p:extLst>
      <p:ext uri="{BB962C8B-B14F-4D97-AF65-F5344CB8AC3E}">
        <p14:creationId xmlns:p14="http://schemas.microsoft.com/office/powerpoint/2010/main" val="12846040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12" name="Rectangle 11"/>
          <p:cNvSpPr/>
          <p:nvPr/>
        </p:nvSpPr>
        <p:spPr>
          <a:xfrm>
            <a:off x="0" y="0"/>
            <a:ext cx="12192000" cy="6858000"/>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0" y="-1"/>
            <a:ext cx="12191999" cy="6824133"/>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0" y="2643242"/>
            <a:ext cx="5892800" cy="1891869"/>
          </a:xfrm>
          <a:custGeom>
            <a:avLst/>
            <a:gdLst>
              <a:gd name="connsiteX0" fmla="*/ 622 w 2587658"/>
              <a:gd name="connsiteY0" fmla="*/ 0 h 904974"/>
              <a:gd name="connsiteX1" fmla="*/ 2587658 w 2587658"/>
              <a:gd name="connsiteY1" fmla="*/ 0 h 904974"/>
              <a:gd name="connsiteX2" fmla="*/ 2182302 w 2587658"/>
              <a:gd name="connsiteY2" fmla="*/ 904974 h 904974"/>
              <a:gd name="connsiteX3" fmla="*/ 0 w 2587658"/>
              <a:gd name="connsiteY3" fmla="*/ 904974 h 904974"/>
              <a:gd name="connsiteX4" fmla="*/ 0 w 2587658"/>
              <a:gd name="connsiteY4" fmla="*/ 1389 h 904974"/>
              <a:gd name="connsiteX5" fmla="*/ 622 w 2587658"/>
              <a:gd name="connsiteY5" fmla="*/ 0 h 90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7658" h="904974">
                <a:moveTo>
                  <a:pt x="622" y="0"/>
                </a:moveTo>
                <a:lnTo>
                  <a:pt x="2587658" y="0"/>
                </a:lnTo>
                <a:lnTo>
                  <a:pt x="2182302" y="904974"/>
                </a:lnTo>
                <a:lnTo>
                  <a:pt x="0" y="904974"/>
                </a:lnTo>
                <a:lnTo>
                  <a:pt x="0" y="1389"/>
                </a:lnTo>
                <a:lnTo>
                  <a:pt x="622"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8118" y="3235233"/>
            <a:ext cx="5266267" cy="707886"/>
          </a:xfrm>
          <a:prstGeom prst="rect">
            <a:avLst/>
          </a:prstGeom>
        </p:spPr>
        <p:txBody>
          <a:bodyPr wrap="square">
            <a:spAutoFit/>
          </a:bodyPr>
          <a:lstStyle/>
          <a:p>
            <a:pPr algn="r"/>
            <a:r>
              <a:rPr lang="en-US" sz="4000" b="1" dirty="0">
                <a:solidFill>
                  <a:schemeClr val="bg1"/>
                </a:solidFill>
              </a:rPr>
              <a:t>ADDITIONAL SLIDES</a:t>
            </a:r>
          </a:p>
        </p:txBody>
      </p:sp>
      <p:sp>
        <p:nvSpPr>
          <p:cNvPr id="17" name="Parallelogram 16"/>
          <p:cNvSpPr/>
          <p:nvPr/>
        </p:nvSpPr>
        <p:spPr>
          <a:xfrm rot="21094258">
            <a:off x="4944570" y="2732630"/>
            <a:ext cx="1346918" cy="1727567"/>
          </a:xfrm>
          <a:prstGeom prst="parallelogram">
            <a:avLst>
              <a:gd name="adj" fmla="val 8913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19917" y="2884918"/>
            <a:ext cx="5705383" cy="1422989"/>
          </a:xfrm>
          <a:prstGeom prst="rect">
            <a:avLst/>
          </a:prstGeom>
        </p:spPr>
      </p:pic>
    </p:spTree>
    <p:extLst>
      <p:ext uri="{BB962C8B-B14F-4D97-AF65-F5344CB8AC3E}">
        <p14:creationId xmlns:p14="http://schemas.microsoft.com/office/powerpoint/2010/main" val="15559871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2" cstate="screen">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a:ext>
            </a:extLst>
          </a:blip>
          <a:srcRect/>
          <a:stretch>
            <a:fillRect/>
          </a:stretch>
        </p:blipFill>
        <p:spPr/>
      </p:pic>
      <p:sp>
        <p:nvSpPr>
          <p:cNvPr id="8" name="Rectangle 7"/>
          <p:cNvSpPr/>
          <p:nvPr/>
        </p:nvSpPr>
        <p:spPr>
          <a:xfrm>
            <a:off x="0" y="2181726"/>
            <a:ext cx="6057900" cy="3192379"/>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161925" y="2737773"/>
            <a:ext cx="5752948" cy="2080285"/>
            <a:chOff x="161925" y="2657784"/>
            <a:chExt cx="5752948" cy="2080285"/>
          </a:xfrm>
        </p:grpSpPr>
        <p:sp>
          <p:nvSpPr>
            <p:cNvPr id="9" name="Rectangle 8"/>
            <p:cNvSpPr/>
            <p:nvPr/>
          </p:nvSpPr>
          <p:spPr>
            <a:xfrm>
              <a:off x="161925" y="3168409"/>
              <a:ext cx="5752948" cy="1569660"/>
            </a:xfrm>
            <a:prstGeom prst="rect">
              <a:avLst/>
            </a:prstGeom>
          </p:spPr>
          <p:txBody>
            <a:bodyPr wrap="square">
              <a:spAutoFit/>
            </a:bodyPr>
            <a:lstStyle/>
            <a:p>
              <a:r>
                <a:rPr lang="en-US" sz="1600" dirty="0">
                  <a:solidFill>
                    <a:schemeClr val="bg1"/>
                  </a:solidFill>
                  <a:latin typeface="+mj-lt"/>
                  <a:ea typeface="Roboto" panose="02000000000000000000" pitchFamily="2" charset="0"/>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
          <p:nvSpPr>
            <p:cNvPr id="10" name="Footer Text"/>
            <p:cNvSpPr txBox="1"/>
            <p:nvPr/>
          </p:nvSpPr>
          <p:spPr>
            <a:xfrm flipH="1">
              <a:off x="266700" y="2657784"/>
              <a:ext cx="5595788" cy="492444"/>
            </a:xfrm>
            <a:prstGeom prst="rect">
              <a:avLst/>
            </a:prstGeom>
            <a:noFill/>
          </p:spPr>
          <p:txBody>
            <a:bodyPr wrap="square" lIns="0" tIns="0" rIns="0" bIns="0" rtlCol="0">
              <a:spAutoFit/>
            </a:bodyPr>
            <a:lstStyle/>
            <a:p>
              <a:r>
                <a:rPr lang="en-GB" sz="3200" b="1" dirty="0">
                  <a:solidFill>
                    <a:schemeClr val="bg1"/>
                  </a:solidFill>
                  <a:latin typeface="+mj-lt"/>
                  <a:ea typeface="Roboto" panose="02000000000000000000" pitchFamily="2" charset="0"/>
                </a:rPr>
                <a:t>HEADING HERE</a:t>
              </a:r>
            </a:p>
          </p:txBody>
        </p:sp>
      </p:grpSp>
    </p:spTree>
    <p:extLst>
      <p:ext uri="{BB962C8B-B14F-4D97-AF65-F5344CB8AC3E}">
        <p14:creationId xmlns:p14="http://schemas.microsoft.com/office/powerpoint/2010/main" val="3867511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teps</a:t>
            </a:r>
          </a:p>
        </p:txBody>
      </p:sp>
      <p:sp>
        <p:nvSpPr>
          <p:cNvPr id="7" name="Freeform 255"/>
          <p:cNvSpPr>
            <a:spLocks/>
          </p:cNvSpPr>
          <p:nvPr/>
        </p:nvSpPr>
        <p:spPr bwMode="auto">
          <a:xfrm rot="10800000">
            <a:off x="1371598" y="1750485"/>
            <a:ext cx="2643810" cy="3922712"/>
          </a:xfrm>
          <a:prstGeom prst="snip2DiagRect">
            <a:avLst>
              <a:gd name="adj1" fmla="val 0"/>
              <a:gd name="adj2" fmla="val 29144"/>
            </a:avLst>
          </a:prstGeom>
          <a:noFill/>
          <a:ln w="571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1" name="Rectangle 258"/>
          <p:cNvSpPr>
            <a:spLocks noChangeArrowheads="1"/>
          </p:cNvSpPr>
          <p:nvPr/>
        </p:nvSpPr>
        <p:spPr bwMode="auto">
          <a:xfrm>
            <a:off x="1699158" y="3479799"/>
            <a:ext cx="191077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3800" b="1" i="0" u="none" strike="noStrike" cap="none" normalizeH="0" baseline="0" dirty="0">
                <a:ln>
                  <a:noFill/>
                </a:ln>
                <a:solidFill>
                  <a:schemeClr val="accent1"/>
                </a:solidFill>
                <a:effectLst/>
                <a:latin typeface="+mj-lt"/>
              </a:rPr>
              <a:t>STEP 01</a:t>
            </a:r>
            <a:endParaRPr kumimoji="0" lang="ru-RU" altLang="ru-RU" sz="1800" b="0" i="0" u="none" strike="noStrike" cap="none" normalizeH="0" baseline="0" dirty="0">
              <a:ln>
                <a:noFill/>
              </a:ln>
              <a:solidFill>
                <a:schemeClr val="accent1"/>
              </a:solidFill>
              <a:effectLst/>
              <a:latin typeface="+mj-lt"/>
            </a:endParaRPr>
          </a:p>
        </p:txBody>
      </p:sp>
      <p:sp>
        <p:nvSpPr>
          <p:cNvPr id="13" name="TextBox 159"/>
          <p:cNvSpPr txBox="1">
            <a:spLocks noChangeArrowheads="1"/>
          </p:cNvSpPr>
          <p:nvPr/>
        </p:nvSpPr>
        <p:spPr bwMode="auto">
          <a:xfrm>
            <a:off x="1673619" y="3997592"/>
            <a:ext cx="252584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ru-RU" sz="1600" dirty="0">
                <a:solidFill>
                  <a:schemeClr val="accent1"/>
                </a:solidFill>
                <a:latin typeface="+mj-lt"/>
                <a:cs typeface="Open Sans" panose="020B0606030504020204" pitchFamily="34" charset="0"/>
              </a:rPr>
              <a:t>Lorem ipsum dolor sit amet, consectetur adipiscing elit, sed do eiusmod tempor incididunt ut </a:t>
            </a:r>
            <a:r>
              <a:rPr lang="en-US" altLang="ru-RU" sz="1600" dirty="0" err="1">
                <a:solidFill>
                  <a:schemeClr val="accent1"/>
                </a:solidFill>
                <a:latin typeface="+mj-lt"/>
                <a:cs typeface="Open Sans" panose="020B0606030504020204" pitchFamily="34" charset="0"/>
              </a:rPr>
              <a:t>labore</a:t>
            </a:r>
            <a:r>
              <a:rPr lang="en-US" altLang="ru-RU" sz="1600" dirty="0">
                <a:solidFill>
                  <a:schemeClr val="accent1"/>
                </a:solidFill>
                <a:latin typeface="+mj-lt"/>
                <a:cs typeface="Open Sans" panose="020B0606030504020204" pitchFamily="34" charset="0"/>
              </a:rPr>
              <a:t> et</a:t>
            </a:r>
            <a:endParaRPr lang="ru-RU" altLang="ru-RU" sz="1600" dirty="0">
              <a:solidFill>
                <a:schemeClr val="accent1"/>
              </a:solidFill>
              <a:latin typeface="+mj-lt"/>
              <a:cs typeface="Open Sans" panose="020B0606030504020204" pitchFamily="34" charset="0"/>
            </a:endParaRPr>
          </a:p>
        </p:txBody>
      </p:sp>
      <p:sp>
        <p:nvSpPr>
          <p:cNvPr id="16" name="Rectangle 258"/>
          <p:cNvSpPr>
            <a:spLocks noChangeArrowheads="1"/>
          </p:cNvSpPr>
          <p:nvPr/>
        </p:nvSpPr>
        <p:spPr bwMode="auto">
          <a:xfrm>
            <a:off x="5102510" y="3479799"/>
            <a:ext cx="191077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3800" b="1" i="0" u="none" strike="noStrike" cap="none" normalizeH="0" baseline="0" dirty="0">
                <a:ln>
                  <a:noFill/>
                </a:ln>
                <a:solidFill>
                  <a:schemeClr val="accent2"/>
                </a:solidFill>
                <a:effectLst/>
                <a:latin typeface="+mj-lt"/>
              </a:rPr>
              <a:t>STEP 01</a:t>
            </a:r>
            <a:endParaRPr kumimoji="0" lang="ru-RU" altLang="ru-RU" sz="1800" b="0" i="0" u="none" strike="noStrike" cap="none" normalizeH="0" baseline="0" dirty="0">
              <a:ln>
                <a:noFill/>
              </a:ln>
              <a:solidFill>
                <a:schemeClr val="accent2"/>
              </a:solidFill>
              <a:effectLst/>
              <a:latin typeface="+mj-lt"/>
            </a:endParaRPr>
          </a:p>
        </p:txBody>
      </p:sp>
      <p:sp>
        <p:nvSpPr>
          <p:cNvPr id="17" name="TextBox 159"/>
          <p:cNvSpPr txBox="1">
            <a:spLocks noChangeArrowheads="1"/>
          </p:cNvSpPr>
          <p:nvPr/>
        </p:nvSpPr>
        <p:spPr bwMode="auto">
          <a:xfrm>
            <a:off x="5076971" y="3997592"/>
            <a:ext cx="252584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ru-RU" sz="1600" dirty="0">
                <a:solidFill>
                  <a:schemeClr val="accent1"/>
                </a:solidFill>
                <a:latin typeface="+mj-lt"/>
                <a:cs typeface="Open Sans" panose="020B0606030504020204" pitchFamily="34" charset="0"/>
              </a:rPr>
              <a:t>Lorem ipsum dolor sit amet, consectetur adipiscing elit, sed do eiusmod tempor incididunt ut </a:t>
            </a:r>
            <a:r>
              <a:rPr lang="en-US" altLang="ru-RU" sz="1600" dirty="0" err="1">
                <a:solidFill>
                  <a:schemeClr val="accent1"/>
                </a:solidFill>
                <a:latin typeface="+mj-lt"/>
                <a:cs typeface="Open Sans" panose="020B0606030504020204" pitchFamily="34" charset="0"/>
              </a:rPr>
              <a:t>labore</a:t>
            </a:r>
            <a:r>
              <a:rPr lang="en-US" altLang="ru-RU" sz="1600" dirty="0">
                <a:solidFill>
                  <a:schemeClr val="accent1"/>
                </a:solidFill>
                <a:latin typeface="+mj-lt"/>
                <a:cs typeface="Open Sans" panose="020B0606030504020204" pitchFamily="34" charset="0"/>
              </a:rPr>
              <a:t> et</a:t>
            </a:r>
            <a:endParaRPr lang="ru-RU" altLang="ru-RU" sz="1600" dirty="0">
              <a:solidFill>
                <a:schemeClr val="accent1"/>
              </a:solidFill>
              <a:latin typeface="+mj-lt"/>
              <a:cs typeface="Open Sans" panose="020B0606030504020204" pitchFamily="34" charset="0"/>
            </a:endParaRPr>
          </a:p>
        </p:txBody>
      </p:sp>
      <p:sp>
        <p:nvSpPr>
          <p:cNvPr id="18" name="Rectangle 258"/>
          <p:cNvSpPr>
            <a:spLocks noChangeArrowheads="1"/>
          </p:cNvSpPr>
          <p:nvPr/>
        </p:nvSpPr>
        <p:spPr bwMode="auto">
          <a:xfrm>
            <a:off x="8499478" y="3479799"/>
            <a:ext cx="191077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3800" b="1" i="0" u="none" strike="noStrike" cap="none" normalizeH="0" baseline="0" dirty="0">
                <a:ln>
                  <a:noFill/>
                </a:ln>
                <a:solidFill>
                  <a:schemeClr val="accent5"/>
                </a:solidFill>
                <a:effectLst/>
                <a:latin typeface="+mj-lt"/>
              </a:rPr>
              <a:t>STEP 01</a:t>
            </a:r>
            <a:endParaRPr kumimoji="0" lang="ru-RU" altLang="ru-RU" sz="1800" b="0" i="0" u="none" strike="noStrike" cap="none" normalizeH="0" baseline="0" dirty="0">
              <a:ln>
                <a:noFill/>
              </a:ln>
              <a:solidFill>
                <a:schemeClr val="accent5"/>
              </a:solidFill>
              <a:effectLst/>
              <a:latin typeface="+mj-lt"/>
            </a:endParaRPr>
          </a:p>
        </p:txBody>
      </p:sp>
      <p:sp>
        <p:nvSpPr>
          <p:cNvPr id="19" name="TextBox 159"/>
          <p:cNvSpPr txBox="1">
            <a:spLocks noChangeArrowheads="1"/>
          </p:cNvSpPr>
          <p:nvPr/>
        </p:nvSpPr>
        <p:spPr bwMode="auto">
          <a:xfrm>
            <a:off x="8473939" y="3997592"/>
            <a:ext cx="252584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ru-RU" sz="1600" dirty="0">
                <a:solidFill>
                  <a:schemeClr val="accent1"/>
                </a:solidFill>
                <a:latin typeface="+mj-lt"/>
                <a:cs typeface="Open Sans" panose="020B0606030504020204" pitchFamily="34" charset="0"/>
              </a:rPr>
              <a:t>Lorem ipsum dolor sit amet, consectetur adipiscing elit, sed do eiusmod tempor incididunt ut </a:t>
            </a:r>
            <a:r>
              <a:rPr lang="en-US" altLang="ru-RU" sz="1600" dirty="0" err="1">
                <a:solidFill>
                  <a:schemeClr val="accent1"/>
                </a:solidFill>
                <a:latin typeface="+mj-lt"/>
                <a:cs typeface="Open Sans" panose="020B0606030504020204" pitchFamily="34" charset="0"/>
              </a:rPr>
              <a:t>labore</a:t>
            </a:r>
            <a:r>
              <a:rPr lang="en-US" altLang="ru-RU" sz="1600" dirty="0">
                <a:solidFill>
                  <a:schemeClr val="accent1"/>
                </a:solidFill>
                <a:latin typeface="+mj-lt"/>
                <a:cs typeface="Open Sans" panose="020B0606030504020204" pitchFamily="34" charset="0"/>
              </a:rPr>
              <a:t> et</a:t>
            </a:r>
            <a:endParaRPr lang="ru-RU" altLang="ru-RU" sz="1600" dirty="0">
              <a:solidFill>
                <a:schemeClr val="accent1"/>
              </a:solidFill>
              <a:latin typeface="+mj-lt"/>
              <a:cs typeface="Open Sans" panose="020B0606030504020204" pitchFamily="34" charset="0"/>
            </a:endParaRPr>
          </a:p>
        </p:txBody>
      </p:sp>
      <p:grpSp>
        <p:nvGrpSpPr>
          <p:cNvPr id="20" name="Group 102"/>
          <p:cNvGrpSpPr>
            <a:grpSpLocks noChangeAspect="1"/>
          </p:cNvGrpSpPr>
          <p:nvPr/>
        </p:nvGrpSpPr>
        <p:grpSpPr bwMode="auto">
          <a:xfrm>
            <a:off x="5531839" y="1990448"/>
            <a:ext cx="1052120" cy="1052120"/>
            <a:chOff x="1779" y="956"/>
            <a:chExt cx="3101" cy="3101"/>
          </a:xfrm>
          <a:solidFill>
            <a:schemeClr val="accent2"/>
          </a:solidFill>
        </p:grpSpPr>
        <p:sp>
          <p:nvSpPr>
            <p:cNvPr id="21" name="Freeform 103"/>
            <p:cNvSpPr>
              <a:spLocks noEditPoints="1"/>
            </p:cNvSpPr>
            <p:nvPr/>
          </p:nvSpPr>
          <p:spPr bwMode="auto">
            <a:xfrm>
              <a:off x="1779" y="956"/>
              <a:ext cx="3101" cy="3101"/>
            </a:xfrm>
            <a:custGeom>
              <a:avLst/>
              <a:gdLst>
                <a:gd name="T0" fmla="*/ 1440 w 1638"/>
                <a:gd name="T1" fmla="*/ 298 h 1638"/>
                <a:gd name="T2" fmla="*/ 1478 w 1638"/>
                <a:gd name="T3" fmla="*/ 249 h 1638"/>
                <a:gd name="T4" fmla="*/ 1317 w 1638"/>
                <a:gd name="T5" fmla="*/ 79 h 1638"/>
                <a:gd name="T6" fmla="*/ 1237 w 1638"/>
                <a:gd name="T7" fmla="*/ 298 h 1638"/>
                <a:gd name="T8" fmla="*/ 1280 w 1638"/>
                <a:gd name="T9" fmla="*/ 950 h 1638"/>
                <a:gd name="T10" fmla="*/ 1293 w 1638"/>
                <a:gd name="T11" fmla="*/ 237 h 1638"/>
                <a:gd name="T12" fmla="*/ 1376 w 1638"/>
                <a:gd name="T13" fmla="*/ 266 h 1638"/>
                <a:gd name="T14" fmla="*/ 1050 w 1638"/>
                <a:gd name="T15" fmla="*/ 1235 h 1638"/>
                <a:gd name="T16" fmla="*/ 874 w 1638"/>
                <a:gd name="T17" fmla="*/ 1242 h 1638"/>
                <a:gd name="T18" fmla="*/ 676 w 1638"/>
                <a:gd name="T19" fmla="*/ 729 h 1638"/>
                <a:gd name="T20" fmla="*/ 886 w 1638"/>
                <a:gd name="T21" fmla="*/ 700 h 1638"/>
                <a:gd name="T22" fmla="*/ 804 w 1638"/>
                <a:gd name="T23" fmla="*/ 510 h 1638"/>
                <a:gd name="T24" fmla="*/ 682 w 1638"/>
                <a:gd name="T25" fmla="*/ 178 h 1638"/>
                <a:gd name="T26" fmla="*/ 384 w 1638"/>
                <a:gd name="T27" fmla="*/ 149 h 1638"/>
                <a:gd name="T28" fmla="*/ 256 w 1638"/>
                <a:gd name="T29" fmla="*/ 474 h 1638"/>
                <a:gd name="T30" fmla="*/ 384 w 1638"/>
                <a:gd name="T31" fmla="*/ 978 h 1638"/>
                <a:gd name="T32" fmla="*/ 448 w 1638"/>
                <a:gd name="T33" fmla="*/ 793 h 1638"/>
                <a:gd name="T34" fmla="*/ 810 w 1638"/>
                <a:gd name="T35" fmla="*/ 1242 h 1638"/>
                <a:gd name="T36" fmla="*/ 701 w 1638"/>
                <a:gd name="T37" fmla="*/ 896 h 1638"/>
                <a:gd name="T38" fmla="*/ 525 w 1638"/>
                <a:gd name="T39" fmla="*/ 1395 h 1638"/>
                <a:gd name="T40" fmla="*/ 416 w 1638"/>
                <a:gd name="T41" fmla="*/ 1206 h 1638"/>
                <a:gd name="T42" fmla="*/ 96 w 1638"/>
                <a:gd name="T43" fmla="*/ 1395 h 1638"/>
                <a:gd name="T44" fmla="*/ 32 w 1638"/>
                <a:gd name="T45" fmla="*/ 1638 h 1638"/>
                <a:gd name="T46" fmla="*/ 1638 w 1638"/>
                <a:gd name="T47" fmla="*/ 1235 h 1638"/>
                <a:gd name="T48" fmla="*/ 533 w 1638"/>
                <a:gd name="T49" fmla="*/ 64 h 1638"/>
                <a:gd name="T50" fmla="*/ 533 w 1638"/>
                <a:gd name="T51" fmla="*/ 263 h 1638"/>
                <a:gd name="T52" fmla="*/ 644 w 1638"/>
                <a:gd name="T53" fmla="*/ 474 h 1638"/>
                <a:gd name="T54" fmla="*/ 448 w 1638"/>
                <a:gd name="T55" fmla="*/ 729 h 1638"/>
                <a:gd name="T56" fmla="*/ 384 w 1638"/>
                <a:gd name="T57" fmla="*/ 506 h 1638"/>
                <a:gd name="T58" fmla="*/ 320 w 1638"/>
                <a:gd name="T59" fmla="*/ 474 h 1638"/>
                <a:gd name="T60" fmla="*/ 740 w 1638"/>
                <a:gd name="T61" fmla="*/ 474 h 1638"/>
                <a:gd name="T62" fmla="*/ 886 w 1638"/>
                <a:gd name="T63" fmla="*/ 574 h 1638"/>
                <a:gd name="T64" fmla="*/ 720 w 1638"/>
                <a:gd name="T65" fmla="*/ 636 h 1638"/>
                <a:gd name="T66" fmla="*/ 644 w 1638"/>
                <a:gd name="T67" fmla="*/ 474 h 1638"/>
                <a:gd name="T68" fmla="*/ 64 w 1638"/>
                <a:gd name="T69" fmla="*/ 1491 h 1638"/>
                <a:gd name="T70" fmla="*/ 525 w 1638"/>
                <a:gd name="T71" fmla="*/ 1491 h 1638"/>
                <a:gd name="T72" fmla="*/ 669 w 1638"/>
                <a:gd name="T73" fmla="*/ 960 h 1638"/>
                <a:gd name="T74" fmla="*/ 589 w 1638"/>
                <a:gd name="T75" fmla="*/ 1247 h 1638"/>
                <a:gd name="T76" fmla="*/ 589 w 1638"/>
                <a:gd name="T77" fmla="*/ 1574 h 1638"/>
                <a:gd name="T78" fmla="*/ 1018 w 1638"/>
                <a:gd name="T79" fmla="*/ 1306 h 1638"/>
                <a:gd name="T80" fmla="*/ 1574 w 1638"/>
                <a:gd name="T81" fmla="*/ 1574 h 1638"/>
                <a:gd name="T82" fmla="*/ 1146 w 1638"/>
                <a:gd name="T83" fmla="*/ 1203 h 1638"/>
                <a:gd name="T84" fmla="*/ 1574 w 1638"/>
                <a:gd name="T85" fmla="*/ 1574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 h="1638">
                  <a:moveTo>
                    <a:pt x="1542" y="1139"/>
                  </a:moveTo>
                  <a:cubicBezTo>
                    <a:pt x="1440" y="1139"/>
                    <a:pt x="1440" y="1139"/>
                    <a:pt x="1440" y="1139"/>
                  </a:cubicBezTo>
                  <a:cubicBezTo>
                    <a:pt x="1440" y="298"/>
                    <a:pt x="1440" y="298"/>
                    <a:pt x="1440" y="298"/>
                  </a:cubicBezTo>
                  <a:cubicBezTo>
                    <a:pt x="1451" y="298"/>
                    <a:pt x="1451" y="298"/>
                    <a:pt x="1451" y="298"/>
                  </a:cubicBezTo>
                  <a:cubicBezTo>
                    <a:pt x="1462" y="298"/>
                    <a:pt x="1473" y="292"/>
                    <a:pt x="1479" y="282"/>
                  </a:cubicBezTo>
                  <a:cubicBezTo>
                    <a:pt x="1484" y="272"/>
                    <a:pt x="1484" y="259"/>
                    <a:pt x="1478" y="249"/>
                  </a:cubicBezTo>
                  <a:cubicBezTo>
                    <a:pt x="1371" y="79"/>
                    <a:pt x="1371" y="79"/>
                    <a:pt x="1371" y="79"/>
                  </a:cubicBezTo>
                  <a:cubicBezTo>
                    <a:pt x="1365" y="70"/>
                    <a:pt x="1355" y="64"/>
                    <a:pt x="1344" y="64"/>
                  </a:cubicBezTo>
                  <a:cubicBezTo>
                    <a:pt x="1333" y="64"/>
                    <a:pt x="1323" y="70"/>
                    <a:pt x="1317" y="79"/>
                  </a:cubicBezTo>
                  <a:cubicBezTo>
                    <a:pt x="1210" y="249"/>
                    <a:pt x="1210" y="249"/>
                    <a:pt x="1210" y="249"/>
                  </a:cubicBezTo>
                  <a:cubicBezTo>
                    <a:pt x="1204" y="259"/>
                    <a:pt x="1204" y="272"/>
                    <a:pt x="1209" y="282"/>
                  </a:cubicBezTo>
                  <a:cubicBezTo>
                    <a:pt x="1215" y="292"/>
                    <a:pt x="1226" y="298"/>
                    <a:pt x="1237" y="298"/>
                  </a:cubicBezTo>
                  <a:cubicBezTo>
                    <a:pt x="1248" y="298"/>
                    <a:pt x="1248" y="298"/>
                    <a:pt x="1248" y="298"/>
                  </a:cubicBezTo>
                  <a:cubicBezTo>
                    <a:pt x="1248" y="918"/>
                    <a:pt x="1248" y="918"/>
                    <a:pt x="1248" y="918"/>
                  </a:cubicBezTo>
                  <a:cubicBezTo>
                    <a:pt x="1248" y="936"/>
                    <a:pt x="1262" y="950"/>
                    <a:pt x="1280" y="950"/>
                  </a:cubicBezTo>
                  <a:cubicBezTo>
                    <a:pt x="1298" y="950"/>
                    <a:pt x="1312" y="936"/>
                    <a:pt x="1312" y="918"/>
                  </a:cubicBezTo>
                  <a:cubicBezTo>
                    <a:pt x="1312" y="266"/>
                    <a:pt x="1312" y="266"/>
                    <a:pt x="1312" y="266"/>
                  </a:cubicBezTo>
                  <a:cubicBezTo>
                    <a:pt x="1312" y="253"/>
                    <a:pt x="1304" y="242"/>
                    <a:pt x="1293" y="237"/>
                  </a:cubicBezTo>
                  <a:cubicBezTo>
                    <a:pt x="1344" y="156"/>
                    <a:pt x="1344" y="156"/>
                    <a:pt x="1344" y="156"/>
                  </a:cubicBezTo>
                  <a:cubicBezTo>
                    <a:pt x="1395" y="237"/>
                    <a:pt x="1395" y="237"/>
                    <a:pt x="1395" y="237"/>
                  </a:cubicBezTo>
                  <a:cubicBezTo>
                    <a:pt x="1384" y="242"/>
                    <a:pt x="1376" y="253"/>
                    <a:pt x="1376" y="266"/>
                  </a:cubicBezTo>
                  <a:cubicBezTo>
                    <a:pt x="1376" y="1139"/>
                    <a:pt x="1376" y="1139"/>
                    <a:pt x="1376" y="1139"/>
                  </a:cubicBezTo>
                  <a:cubicBezTo>
                    <a:pt x="1146" y="1139"/>
                    <a:pt x="1146" y="1139"/>
                    <a:pt x="1146" y="1139"/>
                  </a:cubicBezTo>
                  <a:cubicBezTo>
                    <a:pt x="1093" y="1139"/>
                    <a:pt x="1050" y="1182"/>
                    <a:pt x="1050" y="1235"/>
                  </a:cubicBezTo>
                  <a:cubicBezTo>
                    <a:pt x="1050" y="1247"/>
                    <a:pt x="1050" y="1247"/>
                    <a:pt x="1050" y="1247"/>
                  </a:cubicBezTo>
                  <a:cubicBezTo>
                    <a:pt x="1040" y="1244"/>
                    <a:pt x="1029" y="1242"/>
                    <a:pt x="1018" y="1242"/>
                  </a:cubicBezTo>
                  <a:cubicBezTo>
                    <a:pt x="874" y="1242"/>
                    <a:pt x="874" y="1242"/>
                    <a:pt x="874" y="1242"/>
                  </a:cubicBezTo>
                  <a:cubicBezTo>
                    <a:pt x="874" y="889"/>
                    <a:pt x="874" y="889"/>
                    <a:pt x="874" y="889"/>
                  </a:cubicBezTo>
                  <a:cubicBezTo>
                    <a:pt x="874" y="801"/>
                    <a:pt x="802" y="729"/>
                    <a:pt x="714" y="729"/>
                  </a:cubicBezTo>
                  <a:cubicBezTo>
                    <a:pt x="676" y="729"/>
                    <a:pt x="676" y="729"/>
                    <a:pt x="676" y="729"/>
                  </a:cubicBezTo>
                  <a:cubicBezTo>
                    <a:pt x="676" y="690"/>
                    <a:pt x="676" y="690"/>
                    <a:pt x="676" y="690"/>
                  </a:cubicBezTo>
                  <a:cubicBezTo>
                    <a:pt x="689" y="696"/>
                    <a:pt x="704" y="700"/>
                    <a:pt x="720" y="700"/>
                  </a:cubicBezTo>
                  <a:cubicBezTo>
                    <a:pt x="886" y="700"/>
                    <a:pt x="886" y="700"/>
                    <a:pt x="886" y="700"/>
                  </a:cubicBezTo>
                  <a:cubicBezTo>
                    <a:pt x="938" y="700"/>
                    <a:pt x="981" y="657"/>
                    <a:pt x="981" y="605"/>
                  </a:cubicBezTo>
                  <a:cubicBezTo>
                    <a:pt x="981" y="552"/>
                    <a:pt x="938" y="510"/>
                    <a:pt x="886" y="510"/>
                  </a:cubicBezTo>
                  <a:cubicBezTo>
                    <a:pt x="804" y="510"/>
                    <a:pt x="804" y="510"/>
                    <a:pt x="804" y="510"/>
                  </a:cubicBezTo>
                  <a:cubicBezTo>
                    <a:pt x="804" y="474"/>
                    <a:pt x="804" y="474"/>
                    <a:pt x="804" y="474"/>
                  </a:cubicBezTo>
                  <a:cubicBezTo>
                    <a:pt x="804" y="377"/>
                    <a:pt x="738" y="295"/>
                    <a:pt x="649" y="271"/>
                  </a:cubicBezTo>
                  <a:cubicBezTo>
                    <a:pt x="670" y="245"/>
                    <a:pt x="682" y="213"/>
                    <a:pt x="682" y="178"/>
                  </a:cubicBezTo>
                  <a:cubicBezTo>
                    <a:pt x="682" y="149"/>
                    <a:pt x="682" y="149"/>
                    <a:pt x="682" y="149"/>
                  </a:cubicBezTo>
                  <a:cubicBezTo>
                    <a:pt x="682" y="67"/>
                    <a:pt x="615" y="0"/>
                    <a:pt x="533" y="0"/>
                  </a:cubicBezTo>
                  <a:cubicBezTo>
                    <a:pt x="451" y="0"/>
                    <a:pt x="384" y="67"/>
                    <a:pt x="384" y="149"/>
                  </a:cubicBezTo>
                  <a:cubicBezTo>
                    <a:pt x="384" y="178"/>
                    <a:pt x="384" y="178"/>
                    <a:pt x="384" y="178"/>
                  </a:cubicBezTo>
                  <a:cubicBezTo>
                    <a:pt x="384" y="212"/>
                    <a:pt x="396" y="244"/>
                    <a:pt x="416" y="269"/>
                  </a:cubicBezTo>
                  <a:cubicBezTo>
                    <a:pt x="324" y="292"/>
                    <a:pt x="256" y="375"/>
                    <a:pt x="256" y="474"/>
                  </a:cubicBezTo>
                  <a:cubicBezTo>
                    <a:pt x="256" y="640"/>
                    <a:pt x="256" y="640"/>
                    <a:pt x="256" y="640"/>
                  </a:cubicBezTo>
                  <a:cubicBezTo>
                    <a:pt x="256" y="717"/>
                    <a:pt x="311" y="782"/>
                    <a:pt x="384" y="796"/>
                  </a:cubicBezTo>
                  <a:cubicBezTo>
                    <a:pt x="384" y="978"/>
                    <a:pt x="384" y="978"/>
                    <a:pt x="384" y="978"/>
                  </a:cubicBezTo>
                  <a:cubicBezTo>
                    <a:pt x="384" y="995"/>
                    <a:pt x="399" y="1010"/>
                    <a:pt x="416" y="1010"/>
                  </a:cubicBezTo>
                  <a:cubicBezTo>
                    <a:pt x="434" y="1010"/>
                    <a:pt x="448" y="995"/>
                    <a:pt x="448" y="978"/>
                  </a:cubicBezTo>
                  <a:cubicBezTo>
                    <a:pt x="448" y="793"/>
                    <a:pt x="448" y="793"/>
                    <a:pt x="448" y="793"/>
                  </a:cubicBezTo>
                  <a:cubicBezTo>
                    <a:pt x="714" y="793"/>
                    <a:pt x="714" y="793"/>
                    <a:pt x="714" y="793"/>
                  </a:cubicBezTo>
                  <a:cubicBezTo>
                    <a:pt x="767" y="793"/>
                    <a:pt x="810" y="836"/>
                    <a:pt x="810" y="889"/>
                  </a:cubicBezTo>
                  <a:cubicBezTo>
                    <a:pt x="810" y="1242"/>
                    <a:pt x="810" y="1242"/>
                    <a:pt x="810" y="1242"/>
                  </a:cubicBezTo>
                  <a:cubicBezTo>
                    <a:pt x="733" y="1242"/>
                    <a:pt x="733" y="1242"/>
                    <a:pt x="733" y="1242"/>
                  </a:cubicBezTo>
                  <a:cubicBezTo>
                    <a:pt x="733" y="928"/>
                    <a:pt x="733" y="928"/>
                    <a:pt x="733" y="928"/>
                  </a:cubicBezTo>
                  <a:cubicBezTo>
                    <a:pt x="733" y="910"/>
                    <a:pt x="719" y="896"/>
                    <a:pt x="701" y="896"/>
                  </a:cubicBezTo>
                  <a:cubicBezTo>
                    <a:pt x="557" y="896"/>
                    <a:pt x="557" y="896"/>
                    <a:pt x="557" y="896"/>
                  </a:cubicBezTo>
                  <a:cubicBezTo>
                    <a:pt x="539" y="896"/>
                    <a:pt x="525" y="910"/>
                    <a:pt x="525" y="928"/>
                  </a:cubicBezTo>
                  <a:cubicBezTo>
                    <a:pt x="525" y="1395"/>
                    <a:pt x="525" y="1395"/>
                    <a:pt x="525" y="1395"/>
                  </a:cubicBezTo>
                  <a:cubicBezTo>
                    <a:pt x="448" y="1395"/>
                    <a:pt x="448" y="1395"/>
                    <a:pt x="448" y="1395"/>
                  </a:cubicBezTo>
                  <a:cubicBezTo>
                    <a:pt x="448" y="1238"/>
                    <a:pt x="448" y="1238"/>
                    <a:pt x="448" y="1238"/>
                  </a:cubicBezTo>
                  <a:cubicBezTo>
                    <a:pt x="448" y="1221"/>
                    <a:pt x="434" y="1206"/>
                    <a:pt x="416" y="1206"/>
                  </a:cubicBezTo>
                  <a:cubicBezTo>
                    <a:pt x="399" y="1206"/>
                    <a:pt x="384" y="1221"/>
                    <a:pt x="384" y="1238"/>
                  </a:cubicBezTo>
                  <a:cubicBezTo>
                    <a:pt x="384" y="1395"/>
                    <a:pt x="384" y="1395"/>
                    <a:pt x="384" y="1395"/>
                  </a:cubicBezTo>
                  <a:cubicBezTo>
                    <a:pt x="96" y="1395"/>
                    <a:pt x="96" y="1395"/>
                    <a:pt x="96" y="1395"/>
                  </a:cubicBezTo>
                  <a:cubicBezTo>
                    <a:pt x="43" y="1395"/>
                    <a:pt x="0" y="1438"/>
                    <a:pt x="0" y="1491"/>
                  </a:cubicBezTo>
                  <a:cubicBezTo>
                    <a:pt x="0" y="1606"/>
                    <a:pt x="0" y="1606"/>
                    <a:pt x="0" y="1606"/>
                  </a:cubicBezTo>
                  <a:cubicBezTo>
                    <a:pt x="0" y="1624"/>
                    <a:pt x="14" y="1638"/>
                    <a:pt x="32" y="1638"/>
                  </a:cubicBezTo>
                  <a:cubicBezTo>
                    <a:pt x="1606" y="1638"/>
                    <a:pt x="1606" y="1638"/>
                    <a:pt x="1606" y="1638"/>
                  </a:cubicBezTo>
                  <a:cubicBezTo>
                    <a:pt x="1624" y="1638"/>
                    <a:pt x="1638" y="1624"/>
                    <a:pt x="1638" y="1606"/>
                  </a:cubicBezTo>
                  <a:cubicBezTo>
                    <a:pt x="1638" y="1235"/>
                    <a:pt x="1638" y="1235"/>
                    <a:pt x="1638" y="1235"/>
                  </a:cubicBezTo>
                  <a:cubicBezTo>
                    <a:pt x="1638" y="1182"/>
                    <a:pt x="1595" y="1139"/>
                    <a:pt x="1542" y="1139"/>
                  </a:cubicBezTo>
                  <a:close/>
                  <a:moveTo>
                    <a:pt x="448" y="149"/>
                  </a:moveTo>
                  <a:cubicBezTo>
                    <a:pt x="448" y="102"/>
                    <a:pt x="486" y="64"/>
                    <a:pt x="533" y="64"/>
                  </a:cubicBezTo>
                  <a:cubicBezTo>
                    <a:pt x="580" y="64"/>
                    <a:pt x="618" y="102"/>
                    <a:pt x="618" y="149"/>
                  </a:cubicBezTo>
                  <a:cubicBezTo>
                    <a:pt x="618" y="178"/>
                    <a:pt x="618" y="178"/>
                    <a:pt x="618" y="178"/>
                  </a:cubicBezTo>
                  <a:cubicBezTo>
                    <a:pt x="618" y="225"/>
                    <a:pt x="580" y="263"/>
                    <a:pt x="533" y="263"/>
                  </a:cubicBezTo>
                  <a:cubicBezTo>
                    <a:pt x="486" y="263"/>
                    <a:pt x="448" y="225"/>
                    <a:pt x="448" y="178"/>
                  </a:cubicBezTo>
                  <a:lnTo>
                    <a:pt x="448" y="149"/>
                  </a:lnTo>
                  <a:close/>
                  <a:moveTo>
                    <a:pt x="644" y="474"/>
                  </a:moveTo>
                  <a:cubicBezTo>
                    <a:pt x="626" y="474"/>
                    <a:pt x="612" y="489"/>
                    <a:pt x="612" y="506"/>
                  </a:cubicBezTo>
                  <a:cubicBezTo>
                    <a:pt x="612" y="729"/>
                    <a:pt x="612" y="729"/>
                    <a:pt x="612" y="729"/>
                  </a:cubicBezTo>
                  <a:cubicBezTo>
                    <a:pt x="448" y="729"/>
                    <a:pt x="448" y="729"/>
                    <a:pt x="448" y="729"/>
                  </a:cubicBezTo>
                  <a:cubicBezTo>
                    <a:pt x="448" y="506"/>
                    <a:pt x="448" y="506"/>
                    <a:pt x="448" y="506"/>
                  </a:cubicBezTo>
                  <a:cubicBezTo>
                    <a:pt x="448" y="489"/>
                    <a:pt x="434" y="474"/>
                    <a:pt x="416" y="474"/>
                  </a:cubicBezTo>
                  <a:cubicBezTo>
                    <a:pt x="399" y="474"/>
                    <a:pt x="384" y="489"/>
                    <a:pt x="384" y="506"/>
                  </a:cubicBezTo>
                  <a:cubicBezTo>
                    <a:pt x="384" y="730"/>
                    <a:pt x="384" y="730"/>
                    <a:pt x="384" y="730"/>
                  </a:cubicBezTo>
                  <a:cubicBezTo>
                    <a:pt x="347" y="717"/>
                    <a:pt x="320" y="681"/>
                    <a:pt x="320" y="640"/>
                  </a:cubicBezTo>
                  <a:cubicBezTo>
                    <a:pt x="320" y="474"/>
                    <a:pt x="320" y="474"/>
                    <a:pt x="320" y="474"/>
                  </a:cubicBezTo>
                  <a:cubicBezTo>
                    <a:pt x="320" y="393"/>
                    <a:pt x="386" y="327"/>
                    <a:pt x="467" y="327"/>
                  </a:cubicBezTo>
                  <a:cubicBezTo>
                    <a:pt x="593" y="327"/>
                    <a:pt x="593" y="327"/>
                    <a:pt x="593" y="327"/>
                  </a:cubicBezTo>
                  <a:cubicBezTo>
                    <a:pt x="674" y="327"/>
                    <a:pt x="740" y="393"/>
                    <a:pt x="740" y="474"/>
                  </a:cubicBezTo>
                  <a:cubicBezTo>
                    <a:pt x="740" y="542"/>
                    <a:pt x="740" y="542"/>
                    <a:pt x="740" y="542"/>
                  </a:cubicBezTo>
                  <a:cubicBezTo>
                    <a:pt x="740" y="560"/>
                    <a:pt x="754" y="574"/>
                    <a:pt x="772" y="574"/>
                  </a:cubicBezTo>
                  <a:cubicBezTo>
                    <a:pt x="886" y="574"/>
                    <a:pt x="886" y="574"/>
                    <a:pt x="886" y="574"/>
                  </a:cubicBezTo>
                  <a:cubicBezTo>
                    <a:pt x="903" y="574"/>
                    <a:pt x="917" y="588"/>
                    <a:pt x="917" y="605"/>
                  </a:cubicBezTo>
                  <a:cubicBezTo>
                    <a:pt x="917" y="622"/>
                    <a:pt x="903" y="636"/>
                    <a:pt x="886" y="636"/>
                  </a:cubicBezTo>
                  <a:cubicBezTo>
                    <a:pt x="720" y="636"/>
                    <a:pt x="720" y="636"/>
                    <a:pt x="720" y="636"/>
                  </a:cubicBezTo>
                  <a:cubicBezTo>
                    <a:pt x="696" y="636"/>
                    <a:pt x="676" y="616"/>
                    <a:pt x="676" y="591"/>
                  </a:cubicBezTo>
                  <a:cubicBezTo>
                    <a:pt x="676" y="506"/>
                    <a:pt x="676" y="506"/>
                    <a:pt x="676" y="506"/>
                  </a:cubicBezTo>
                  <a:cubicBezTo>
                    <a:pt x="676" y="489"/>
                    <a:pt x="662" y="474"/>
                    <a:pt x="644" y="474"/>
                  </a:cubicBezTo>
                  <a:close/>
                  <a:moveTo>
                    <a:pt x="525" y="1574"/>
                  </a:moveTo>
                  <a:cubicBezTo>
                    <a:pt x="64" y="1574"/>
                    <a:pt x="64" y="1574"/>
                    <a:pt x="64" y="1574"/>
                  </a:cubicBezTo>
                  <a:cubicBezTo>
                    <a:pt x="64" y="1491"/>
                    <a:pt x="64" y="1491"/>
                    <a:pt x="64" y="1491"/>
                  </a:cubicBezTo>
                  <a:cubicBezTo>
                    <a:pt x="64" y="1474"/>
                    <a:pt x="78" y="1459"/>
                    <a:pt x="96" y="1459"/>
                  </a:cubicBezTo>
                  <a:cubicBezTo>
                    <a:pt x="493" y="1459"/>
                    <a:pt x="493" y="1459"/>
                    <a:pt x="493" y="1459"/>
                  </a:cubicBezTo>
                  <a:cubicBezTo>
                    <a:pt x="510" y="1459"/>
                    <a:pt x="525" y="1474"/>
                    <a:pt x="525" y="1491"/>
                  </a:cubicBezTo>
                  <a:lnTo>
                    <a:pt x="525" y="1574"/>
                  </a:lnTo>
                  <a:close/>
                  <a:moveTo>
                    <a:pt x="589" y="960"/>
                  </a:moveTo>
                  <a:cubicBezTo>
                    <a:pt x="669" y="960"/>
                    <a:pt x="669" y="960"/>
                    <a:pt x="669" y="960"/>
                  </a:cubicBezTo>
                  <a:cubicBezTo>
                    <a:pt x="669" y="1242"/>
                    <a:pt x="669" y="1242"/>
                    <a:pt x="669" y="1242"/>
                  </a:cubicBezTo>
                  <a:cubicBezTo>
                    <a:pt x="621" y="1242"/>
                    <a:pt x="621" y="1242"/>
                    <a:pt x="621" y="1242"/>
                  </a:cubicBezTo>
                  <a:cubicBezTo>
                    <a:pt x="610" y="1242"/>
                    <a:pt x="599" y="1244"/>
                    <a:pt x="589" y="1247"/>
                  </a:cubicBezTo>
                  <a:lnTo>
                    <a:pt x="589" y="960"/>
                  </a:lnTo>
                  <a:close/>
                  <a:moveTo>
                    <a:pt x="1050" y="1574"/>
                  </a:moveTo>
                  <a:cubicBezTo>
                    <a:pt x="589" y="1574"/>
                    <a:pt x="589" y="1574"/>
                    <a:pt x="589" y="1574"/>
                  </a:cubicBezTo>
                  <a:cubicBezTo>
                    <a:pt x="589" y="1338"/>
                    <a:pt x="589" y="1338"/>
                    <a:pt x="589" y="1338"/>
                  </a:cubicBezTo>
                  <a:cubicBezTo>
                    <a:pt x="589" y="1320"/>
                    <a:pt x="603" y="1306"/>
                    <a:pt x="621" y="1306"/>
                  </a:cubicBezTo>
                  <a:cubicBezTo>
                    <a:pt x="1018" y="1306"/>
                    <a:pt x="1018" y="1306"/>
                    <a:pt x="1018" y="1306"/>
                  </a:cubicBezTo>
                  <a:cubicBezTo>
                    <a:pt x="1035" y="1306"/>
                    <a:pt x="1050" y="1320"/>
                    <a:pt x="1050" y="1338"/>
                  </a:cubicBezTo>
                  <a:lnTo>
                    <a:pt x="1050" y="1574"/>
                  </a:lnTo>
                  <a:close/>
                  <a:moveTo>
                    <a:pt x="1574" y="1574"/>
                  </a:moveTo>
                  <a:cubicBezTo>
                    <a:pt x="1114" y="1574"/>
                    <a:pt x="1114" y="1574"/>
                    <a:pt x="1114" y="1574"/>
                  </a:cubicBezTo>
                  <a:cubicBezTo>
                    <a:pt x="1114" y="1235"/>
                    <a:pt x="1114" y="1235"/>
                    <a:pt x="1114" y="1235"/>
                  </a:cubicBezTo>
                  <a:cubicBezTo>
                    <a:pt x="1114" y="1218"/>
                    <a:pt x="1128" y="1203"/>
                    <a:pt x="1146" y="1203"/>
                  </a:cubicBezTo>
                  <a:cubicBezTo>
                    <a:pt x="1542" y="1203"/>
                    <a:pt x="1542" y="1203"/>
                    <a:pt x="1542" y="1203"/>
                  </a:cubicBezTo>
                  <a:cubicBezTo>
                    <a:pt x="1560" y="1203"/>
                    <a:pt x="1574" y="1218"/>
                    <a:pt x="1574" y="1235"/>
                  </a:cubicBezTo>
                  <a:lnTo>
                    <a:pt x="1574" y="1574"/>
                  </a:lnTo>
                  <a:close/>
                  <a:moveTo>
                    <a:pt x="1574" y="1574"/>
                  </a:moveTo>
                  <a:cubicBezTo>
                    <a:pt x="1574" y="1574"/>
                    <a:pt x="1574" y="1574"/>
                    <a:pt x="1574" y="15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4"/>
            <p:cNvSpPr>
              <a:spLocks noEditPoints="1"/>
            </p:cNvSpPr>
            <p:nvPr/>
          </p:nvSpPr>
          <p:spPr bwMode="auto">
            <a:xfrm>
              <a:off x="2506" y="2982"/>
              <a:ext cx="121" cy="121"/>
            </a:xfrm>
            <a:custGeom>
              <a:avLst/>
              <a:gdLst>
                <a:gd name="T0" fmla="*/ 55 w 64"/>
                <a:gd name="T1" fmla="*/ 9 h 64"/>
                <a:gd name="T2" fmla="*/ 32 w 64"/>
                <a:gd name="T3" fmla="*/ 0 h 64"/>
                <a:gd name="T4" fmla="*/ 10 w 64"/>
                <a:gd name="T5" fmla="*/ 9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4"/>
                    <a:pt x="0" y="32"/>
                  </a:cubicBezTo>
                  <a:cubicBezTo>
                    <a:pt x="0" y="40"/>
                    <a:pt x="4" y="49"/>
                    <a:pt x="10" y="55"/>
                  </a:cubicBezTo>
                  <a:cubicBezTo>
                    <a:pt x="16" y="61"/>
                    <a:pt x="24" y="64"/>
                    <a:pt x="32" y="64"/>
                  </a:cubicBezTo>
                  <a:cubicBezTo>
                    <a:pt x="41"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05"/>
            <p:cNvSpPr>
              <a:spLocks noEditPoints="1"/>
            </p:cNvSpPr>
            <p:nvPr/>
          </p:nvSpPr>
          <p:spPr bwMode="auto">
            <a:xfrm>
              <a:off x="4142" y="2864"/>
              <a:ext cx="121" cy="122"/>
            </a:xfrm>
            <a:custGeom>
              <a:avLst/>
              <a:gdLst>
                <a:gd name="T0" fmla="*/ 55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5 w 64"/>
                <a:gd name="T13" fmla="*/ 55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4"/>
                    <a:pt x="0" y="32"/>
                  </a:cubicBezTo>
                  <a:cubicBezTo>
                    <a:pt x="0" y="40"/>
                    <a:pt x="3" y="49"/>
                    <a:pt x="9" y="55"/>
                  </a:cubicBezTo>
                  <a:cubicBezTo>
                    <a:pt x="15" y="61"/>
                    <a:pt x="24" y="64"/>
                    <a:pt x="32" y="64"/>
                  </a:cubicBezTo>
                  <a:cubicBezTo>
                    <a:pt x="40" y="64"/>
                    <a:pt x="49" y="61"/>
                    <a:pt x="55" y="55"/>
                  </a:cubicBezTo>
                  <a:cubicBezTo>
                    <a:pt x="61" y="49"/>
                    <a:pt x="64" y="40"/>
                    <a:pt x="64" y="32"/>
                  </a:cubicBezTo>
                  <a:cubicBezTo>
                    <a:pt x="64" y="24"/>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176"/>
          <p:cNvGrpSpPr>
            <a:grpSpLocks noChangeAspect="1"/>
          </p:cNvGrpSpPr>
          <p:nvPr/>
        </p:nvGrpSpPr>
        <p:grpSpPr bwMode="auto">
          <a:xfrm>
            <a:off x="2193947" y="1930882"/>
            <a:ext cx="921199" cy="1052120"/>
            <a:chOff x="1803" y="1194"/>
            <a:chExt cx="2716" cy="3102"/>
          </a:xfrm>
          <a:solidFill>
            <a:schemeClr val="accent1"/>
          </a:solidFill>
        </p:grpSpPr>
        <p:sp>
          <p:nvSpPr>
            <p:cNvPr id="25" name="Freeform 177"/>
            <p:cNvSpPr>
              <a:spLocks noEditPoints="1"/>
            </p:cNvSpPr>
            <p:nvPr/>
          </p:nvSpPr>
          <p:spPr bwMode="auto">
            <a:xfrm>
              <a:off x="2095" y="1442"/>
              <a:ext cx="2072" cy="2854"/>
            </a:xfrm>
            <a:custGeom>
              <a:avLst/>
              <a:gdLst>
                <a:gd name="T0" fmla="*/ 955 w 1094"/>
                <a:gd name="T1" fmla="*/ 626 h 1508"/>
                <a:gd name="T2" fmla="*/ 345 w 1094"/>
                <a:gd name="T3" fmla="*/ 0 h 1508"/>
                <a:gd name="T4" fmla="*/ 313 w 1094"/>
                <a:gd name="T5" fmla="*/ 214 h 1508"/>
                <a:gd name="T6" fmla="*/ 13 w 1094"/>
                <a:gd name="T7" fmla="*/ 650 h 1508"/>
                <a:gd name="T8" fmla="*/ 189 w 1094"/>
                <a:gd name="T9" fmla="*/ 791 h 1508"/>
                <a:gd name="T10" fmla="*/ 413 w 1094"/>
                <a:gd name="T11" fmla="*/ 721 h 1508"/>
                <a:gd name="T12" fmla="*/ 435 w 1094"/>
                <a:gd name="T13" fmla="*/ 789 h 1508"/>
                <a:gd name="T14" fmla="*/ 261 w 1094"/>
                <a:gd name="T15" fmla="*/ 1068 h 1508"/>
                <a:gd name="T16" fmla="*/ 102 w 1094"/>
                <a:gd name="T17" fmla="*/ 1410 h 1508"/>
                <a:gd name="T18" fmla="*/ 134 w 1094"/>
                <a:gd name="T19" fmla="*/ 1508 h 1508"/>
                <a:gd name="T20" fmla="*/ 1094 w 1094"/>
                <a:gd name="T21" fmla="*/ 1476 h 1508"/>
                <a:gd name="T22" fmla="*/ 955 w 1094"/>
                <a:gd name="T23" fmla="*/ 1242 h 1508"/>
                <a:gd name="T24" fmla="*/ 447 w 1094"/>
                <a:gd name="T25" fmla="*/ 970 h 1508"/>
                <a:gd name="T26" fmla="*/ 499 w 1094"/>
                <a:gd name="T27" fmla="*/ 699 h 1508"/>
                <a:gd name="T28" fmla="*/ 596 w 1094"/>
                <a:gd name="T29" fmla="*/ 538 h 1508"/>
                <a:gd name="T30" fmla="*/ 564 w 1094"/>
                <a:gd name="T31" fmla="*/ 485 h 1508"/>
                <a:gd name="T32" fmla="*/ 532 w 1094"/>
                <a:gd name="T33" fmla="*/ 538 h 1508"/>
                <a:gd name="T34" fmla="*/ 413 w 1094"/>
                <a:gd name="T35" fmla="*/ 657 h 1508"/>
                <a:gd name="T36" fmla="*/ 271 w 1094"/>
                <a:gd name="T37" fmla="*/ 662 h 1508"/>
                <a:gd name="T38" fmla="*/ 78 w 1094"/>
                <a:gd name="T39" fmla="*/ 625 h 1508"/>
                <a:gd name="T40" fmla="*/ 377 w 1094"/>
                <a:gd name="T41" fmla="*/ 224 h 1508"/>
                <a:gd name="T42" fmla="*/ 442 w 1094"/>
                <a:gd name="T43" fmla="*/ 162 h 1508"/>
                <a:gd name="T44" fmla="*/ 447 w 1094"/>
                <a:gd name="T45" fmla="*/ 194 h 1508"/>
                <a:gd name="T46" fmla="*/ 478 w 1094"/>
                <a:gd name="T47" fmla="*/ 208 h 1508"/>
                <a:gd name="T48" fmla="*/ 891 w 1094"/>
                <a:gd name="T49" fmla="*/ 1239 h 1508"/>
                <a:gd name="T50" fmla="*/ 802 w 1094"/>
                <a:gd name="T51" fmla="*/ 999 h 1508"/>
                <a:gd name="T52" fmla="*/ 738 w 1094"/>
                <a:gd name="T53" fmla="*/ 999 h 1508"/>
                <a:gd name="T54" fmla="*/ 325 w 1094"/>
                <a:gd name="T55" fmla="*/ 1239 h 1508"/>
                <a:gd name="T56" fmla="*/ 1030 w 1094"/>
                <a:gd name="T57" fmla="*/ 1444 h 1508"/>
                <a:gd name="T58" fmla="*/ 166 w 1094"/>
                <a:gd name="T59" fmla="*/ 1410 h 1508"/>
                <a:gd name="T60" fmla="*/ 923 w 1094"/>
                <a:gd name="T61" fmla="*/ 1303 h 1508"/>
                <a:gd name="T62" fmla="*/ 1030 w 1094"/>
                <a:gd name="T63" fmla="*/ 1444 h 1508"/>
                <a:gd name="T64" fmla="*/ 1030 w 1094"/>
                <a:gd name="T65" fmla="*/ 1444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4" h="1508">
                  <a:moveTo>
                    <a:pt x="955" y="1242"/>
                  </a:moveTo>
                  <a:cubicBezTo>
                    <a:pt x="955" y="626"/>
                    <a:pt x="955" y="626"/>
                    <a:pt x="955" y="626"/>
                  </a:cubicBezTo>
                  <a:cubicBezTo>
                    <a:pt x="955" y="371"/>
                    <a:pt x="756" y="162"/>
                    <a:pt x="505" y="145"/>
                  </a:cubicBezTo>
                  <a:cubicBezTo>
                    <a:pt x="497" y="64"/>
                    <a:pt x="428" y="0"/>
                    <a:pt x="345" y="0"/>
                  </a:cubicBezTo>
                  <a:cubicBezTo>
                    <a:pt x="327" y="0"/>
                    <a:pt x="313" y="15"/>
                    <a:pt x="313" y="32"/>
                  </a:cubicBezTo>
                  <a:cubicBezTo>
                    <a:pt x="313" y="214"/>
                    <a:pt x="313" y="214"/>
                    <a:pt x="313" y="214"/>
                  </a:cubicBezTo>
                  <a:cubicBezTo>
                    <a:pt x="10" y="608"/>
                    <a:pt x="10" y="608"/>
                    <a:pt x="10" y="608"/>
                  </a:cubicBezTo>
                  <a:cubicBezTo>
                    <a:pt x="0" y="621"/>
                    <a:pt x="2" y="639"/>
                    <a:pt x="13" y="650"/>
                  </a:cubicBezTo>
                  <a:cubicBezTo>
                    <a:pt x="149" y="786"/>
                    <a:pt x="149" y="786"/>
                    <a:pt x="149" y="786"/>
                  </a:cubicBezTo>
                  <a:cubicBezTo>
                    <a:pt x="160" y="797"/>
                    <a:pt x="176" y="799"/>
                    <a:pt x="189" y="791"/>
                  </a:cubicBezTo>
                  <a:cubicBezTo>
                    <a:pt x="297" y="721"/>
                    <a:pt x="297" y="721"/>
                    <a:pt x="297" y="721"/>
                  </a:cubicBezTo>
                  <a:cubicBezTo>
                    <a:pt x="413" y="721"/>
                    <a:pt x="413" y="721"/>
                    <a:pt x="413" y="721"/>
                  </a:cubicBezTo>
                  <a:cubicBezTo>
                    <a:pt x="420" y="721"/>
                    <a:pt x="428" y="720"/>
                    <a:pt x="435" y="719"/>
                  </a:cubicBezTo>
                  <a:cubicBezTo>
                    <a:pt x="435" y="789"/>
                    <a:pt x="435" y="789"/>
                    <a:pt x="435" y="789"/>
                  </a:cubicBezTo>
                  <a:cubicBezTo>
                    <a:pt x="435" y="895"/>
                    <a:pt x="374" y="993"/>
                    <a:pt x="279" y="1039"/>
                  </a:cubicBezTo>
                  <a:cubicBezTo>
                    <a:pt x="268" y="1045"/>
                    <a:pt x="261" y="1056"/>
                    <a:pt x="261" y="1068"/>
                  </a:cubicBezTo>
                  <a:cubicBezTo>
                    <a:pt x="261" y="1239"/>
                    <a:pt x="261" y="1239"/>
                    <a:pt x="261" y="1239"/>
                  </a:cubicBezTo>
                  <a:cubicBezTo>
                    <a:pt x="173" y="1246"/>
                    <a:pt x="102" y="1320"/>
                    <a:pt x="102" y="1410"/>
                  </a:cubicBezTo>
                  <a:cubicBezTo>
                    <a:pt x="102" y="1476"/>
                    <a:pt x="102" y="1476"/>
                    <a:pt x="102" y="1476"/>
                  </a:cubicBezTo>
                  <a:cubicBezTo>
                    <a:pt x="102" y="1493"/>
                    <a:pt x="116" y="1508"/>
                    <a:pt x="134" y="1508"/>
                  </a:cubicBezTo>
                  <a:cubicBezTo>
                    <a:pt x="1062" y="1508"/>
                    <a:pt x="1062" y="1508"/>
                    <a:pt x="1062" y="1508"/>
                  </a:cubicBezTo>
                  <a:cubicBezTo>
                    <a:pt x="1080" y="1508"/>
                    <a:pt x="1094" y="1493"/>
                    <a:pt x="1094" y="1476"/>
                  </a:cubicBezTo>
                  <a:cubicBezTo>
                    <a:pt x="1094" y="1410"/>
                    <a:pt x="1094" y="1410"/>
                    <a:pt x="1094" y="1410"/>
                  </a:cubicBezTo>
                  <a:cubicBezTo>
                    <a:pt x="1094" y="1327"/>
                    <a:pt x="1034" y="1257"/>
                    <a:pt x="955" y="1242"/>
                  </a:cubicBezTo>
                  <a:close/>
                  <a:moveTo>
                    <a:pt x="325" y="1087"/>
                  </a:moveTo>
                  <a:cubicBezTo>
                    <a:pt x="375" y="1059"/>
                    <a:pt x="417" y="1019"/>
                    <a:pt x="447" y="970"/>
                  </a:cubicBezTo>
                  <a:cubicBezTo>
                    <a:pt x="481" y="916"/>
                    <a:pt x="499" y="853"/>
                    <a:pt x="499" y="789"/>
                  </a:cubicBezTo>
                  <a:cubicBezTo>
                    <a:pt x="499" y="699"/>
                    <a:pt x="499" y="699"/>
                    <a:pt x="499" y="699"/>
                  </a:cubicBezTo>
                  <a:cubicBezTo>
                    <a:pt x="500" y="699"/>
                    <a:pt x="500" y="699"/>
                    <a:pt x="500" y="699"/>
                  </a:cubicBezTo>
                  <a:cubicBezTo>
                    <a:pt x="559" y="667"/>
                    <a:pt x="596" y="605"/>
                    <a:pt x="596" y="538"/>
                  </a:cubicBezTo>
                  <a:cubicBezTo>
                    <a:pt x="596" y="517"/>
                    <a:pt x="596" y="517"/>
                    <a:pt x="596" y="517"/>
                  </a:cubicBezTo>
                  <a:cubicBezTo>
                    <a:pt x="596" y="500"/>
                    <a:pt x="581" y="485"/>
                    <a:pt x="564" y="485"/>
                  </a:cubicBezTo>
                  <a:cubicBezTo>
                    <a:pt x="546" y="485"/>
                    <a:pt x="532" y="500"/>
                    <a:pt x="532" y="517"/>
                  </a:cubicBezTo>
                  <a:cubicBezTo>
                    <a:pt x="532" y="538"/>
                    <a:pt x="532" y="538"/>
                    <a:pt x="532" y="538"/>
                  </a:cubicBezTo>
                  <a:cubicBezTo>
                    <a:pt x="532" y="582"/>
                    <a:pt x="508" y="622"/>
                    <a:pt x="470" y="642"/>
                  </a:cubicBezTo>
                  <a:cubicBezTo>
                    <a:pt x="452" y="652"/>
                    <a:pt x="433" y="657"/>
                    <a:pt x="413" y="657"/>
                  </a:cubicBezTo>
                  <a:cubicBezTo>
                    <a:pt x="288" y="657"/>
                    <a:pt x="288" y="657"/>
                    <a:pt x="288" y="657"/>
                  </a:cubicBezTo>
                  <a:cubicBezTo>
                    <a:pt x="282" y="657"/>
                    <a:pt x="276" y="659"/>
                    <a:pt x="271" y="662"/>
                  </a:cubicBezTo>
                  <a:cubicBezTo>
                    <a:pt x="176" y="723"/>
                    <a:pt x="176" y="723"/>
                    <a:pt x="176" y="723"/>
                  </a:cubicBezTo>
                  <a:cubicBezTo>
                    <a:pt x="78" y="625"/>
                    <a:pt x="78" y="625"/>
                    <a:pt x="78" y="625"/>
                  </a:cubicBezTo>
                  <a:cubicBezTo>
                    <a:pt x="370" y="244"/>
                    <a:pt x="370" y="244"/>
                    <a:pt x="370" y="244"/>
                  </a:cubicBezTo>
                  <a:cubicBezTo>
                    <a:pt x="374" y="238"/>
                    <a:pt x="377" y="232"/>
                    <a:pt x="377" y="224"/>
                  </a:cubicBezTo>
                  <a:cubicBezTo>
                    <a:pt x="377" y="70"/>
                    <a:pt x="377" y="70"/>
                    <a:pt x="377" y="70"/>
                  </a:cubicBezTo>
                  <a:cubicBezTo>
                    <a:pt x="414" y="83"/>
                    <a:pt x="442" y="119"/>
                    <a:pt x="442" y="162"/>
                  </a:cubicBezTo>
                  <a:cubicBezTo>
                    <a:pt x="442" y="173"/>
                    <a:pt x="442" y="173"/>
                    <a:pt x="442" y="173"/>
                  </a:cubicBezTo>
                  <a:cubicBezTo>
                    <a:pt x="441" y="180"/>
                    <a:pt x="443" y="188"/>
                    <a:pt x="447" y="194"/>
                  </a:cubicBezTo>
                  <a:cubicBezTo>
                    <a:pt x="447" y="194"/>
                    <a:pt x="447" y="194"/>
                    <a:pt x="447" y="194"/>
                  </a:cubicBezTo>
                  <a:cubicBezTo>
                    <a:pt x="454" y="205"/>
                    <a:pt x="466" y="210"/>
                    <a:pt x="478" y="208"/>
                  </a:cubicBezTo>
                  <a:cubicBezTo>
                    <a:pt x="706" y="211"/>
                    <a:pt x="891" y="397"/>
                    <a:pt x="891" y="626"/>
                  </a:cubicBezTo>
                  <a:cubicBezTo>
                    <a:pt x="891" y="1239"/>
                    <a:pt x="891" y="1239"/>
                    <a:pt x="891" y="1239"/>
                  </a:cubicBezTo>
                  <a:cubicBezTo>
                    <a:pt x="802" y="1239"/>
                    <a:pt x="802" y="1239"/>
                    <a:pt x="802" y="1239"/>
                  </a:cubicBezTo>
                  <a:cubicBezTo>
                    <a:pt x="802" y="999"/>
                    <a:pt x="802" y="999"/>
                    <a:pt x="802" y="999"/>
                  </a:cubicBezTo>
                  <a:cubicBezTo>
                    <a:pt x="802" y="981"/>
                    <a:pt x="787" y="967"/>
                    <a:pt x="770" y="967"/>
                  </a:cubicBezTo>
                  <a:cubicBezTo>
                    <a:pt x="752" y="967"/>
                    <a:pt x="738" y="981"/>
                    <a:pt x="738" y="999"/>
                  </a:cubicBezTo>
                  <a:cubicBezTo>
                    <a:pt x="738" y="1239"/>
                    <a:pt x="738" y="1239"/>
                    <a:pt x="738" y="1239"/>
                  </a:cubicBezTo>
                  <a:cubicBezTo>
                    <a:pt x="325" y="1239"/>
                    <a:pt x="325" y="1239"/>
                    <a:pt x="325" y="1239"/>
                  </a:cubicBezTo>
                  <a:lnTo>
                    <a:pt x="325" y="1087"/>
                  </a:lnTo>
                  <a:close/>
                  <a:moveTo>
                    <a:pt x="1030" y="1444"/>
                  </a:moveTo>
                  <a:cubicBezTo>
                    <a:pt x="166" y="1444"/>
                    <a:pt x="166" y="1444"/>
                    <a:pt x="166" y="1444"/>
                  </a:cubicBezTo>
                  <a:cubicBezTo>
                    <a:pt x="166" y="1410"/>
                    <a:pt x="166" y="1410"/>
                    <a:pt x="166" y="1410"/>
                  </a:cubicBezTo>
                  <a:cubicBezTo>
                    <a:pt x="166" y="1351"/>
                    <a:pt x="214" y="1303"/>
                    <a:pt x="273" y="1303"/>
                  </a:cubicBezTo>
                  <a:cubicBezTo>
                    <a:pt x="923" y="1303"/>
                    <a:pt x="923" y="1303"/>
                    <a:pt x="923" y="1303"/>
                  </a:cubicBezTo>
                  <a:cubicBezTo>
                    <a:pt x="982" y="1303"/>
                    <a:pt x="1030" y="1351"/>
                    <a:pt x="1030" y="1410"/>
                  </a:cubicBezTo>
                  <a:lnTo>
                    <a:pt x="1030" y="1444"/>
                  </a:lnTo>
                  <a:close/>
                  <a:moveTo>
                    <a:pt x="1030" y="1444"/>
                  </a:moveTo>
                  <a:cubicBezTo>
                    <a:pt x="1030" y="1444"/>
                    <a:pt x="1030" y="1444"/>
                    <a:pt x="1030" y="1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8"/>
            <p:cNvSpPr>
              <a:spLocks noEditPoints="1"/>
            </p:cNvSpPr>
            <p:nvPr/>
          </p:nvSpPr>
          <p:spPr bwMode="auto">
            <a:xfrm>
              <a:off x="2828" y="2167"/>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5"/>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5"/>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79"/>
            <p:cNvSpPr>
              <a:spLocks noEditPoints="1"/>
            </p:cNvSpPr>
            <p:nvPr/>
          </p:nvSpPr>
          <p:spPr bwMode="auto">
            <a:xfrm>
              <a:off x="1803" y="1194"/>
              <a:ext cx="2716" cy="2243"/>
            </a:xfrm>
            <a:custGeom>
              <a:avLst/>
              <a:gdLst>
                <a:gd name="T0" fmla="*/ 1224 w 1434"/>
                <a:gd name="T1" fmla="*/ 210 h 1185"/>
                <a:gd name="T2" fmla="*/ 717 w 1434"/>
                <a:gd name="T3" fmla="*/ 0 h 1185"/>
                <a:gd name="T4" fmla="*/ 210 w 1434"/>
                <a:gd name="T5" fmla="*/ 210 h 1185"/>
                <a:gd name="T6" fmla="*/ 0 w 1434"/>
                <a:gd name="T7" fmla="*/ 717 h 1185"/>
                <a:gd name="T8" fmla="*/ 79 w 1434"/>
                <a:gd name="T9" fmla="*/ 1043 h 1185"/>
                <a:gd name="T10" fmla="*/ 123 w 1434"/>
                <a:gd name="T11" fmla="*/ 1119 h 1185"/>
                <a:gd name="T12" fmla="*/ 168 w 1434"/>
                <a:gd name="T13" fmla="*/ 1127 h 1185"/>
                <a:gd name="T14" fmla="*/ 176 w 1434"/>
                <a:gd name="T15" fmla="*/ 1083 h 1185"/>
                <a:gd name="T16" fmla="*/ 136 w 1434"/>
                <a:gd name="T17" fmla="*/ 1014 h 1185"/>
                <a:gd name="T18" fmla="*/ 64 w 1434"/>
                <a:gd name="T19" fmla="*/ 717 h 1185"/>
                <a:gd name="T20" fmla="*/ 717 w 1434"/>
                <a:gd name="T21" fmla="*/ 64 h 1185"/>
                <a:gd name="T22" fmla="*/ 1370 w 1434"/>
                <a:gd name="T23" fmla="*/ 717 h 1185"/>
                <a:gd name="T24" fmla="*/ 1301 w 1434"/>
                <a:gd name="T25" fmla="*/ 1009 h 1185"/>
                <a:gd name="T26" fmla="*/ 1221 w 1434"/>
                <a:gd name="T27" fmla="*/ 1133 h 1185"/>
                <a:gd name="T28" fmla="*/ 1225 w 1434"/>
                <a:gd name="T29" fmla="*/ 1178 h 1185"/>
                <a:gd name="T30" fmla="*/ 1245 w 1434"/>
                <a:gd name="T31" fmla="*/ 1185 h 1185"/>
                <a:gd name="T32" fmla="*/ 1270 w 1434"/>
                <a:gd name="T33" fmla="*/ 1173 h 1185"/>
                <a:gd name="T34" fmla="*/ 1359 w 1434"/>
                <a:gd name="T35" fmla="*/ 1037 h 1185"/>
                <a:gd name="T36" fmla="*/ 1434 w 1434"/>
                <a:gd name="T37" fmla="*/ 717 h 1185"/>
                <a:gd name="T38" fmla="*/ 1224 w 1434"/>
                <a:gd name="T39" fmla="*/ 210 h 1185"/>
                <a:gd name="T40" fmla="*/ 1224 w 1434"/>
                <a:gd name="T41" fmla="*/ 210 h 1185"/>
                <a:gd name="T42" fmla="*/ 1224 w 1434"/>
                <a:gd name="T43" fmla="*/ 210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34" h="1185">
                  <a:moveTo>
                    <a:pt x="1224" y="210"/>
                  </a:moveTo>
                  <a:cubicBezTo>
                    <a:pt x="1089" y="75"/>
                    <a:pt x="909" y="0"/>
                    <a:pt x="717" y="0"/>
                  </a:cubicBezTo>
                  <a:cubicBezTo>
                    <a:pt x="526" y="0"/>
                    <a:pt x="346" y="75"/>
                    <a:pt x="210" y="210"/>
                  </a:cubicBezTo>
                  <a:cubicBezTo>
                    <a:pt x="75" y="346"/>
                    <a:pt x="0" y="526"/>
                    <a:pt x="0" y="717"/>
                  </a:cubicBezTo>
                  <a:cubicBezTo>
                    <a:pt x="0" y="832"/>
                    <a:pt x="27" y="942"/>
                    <a:pt x="79" y="1043"/>
                  </a:cubicBezTo>
                  <a:cubicBezTo>
                    <a:pt x="92" y="1069"/>
                    <a:pt x="107" y="1095"/>
                    <a:pt x="123" y="1119"/>
                  </a:cubicBezTo>
                  <a:cubicBezTo>
                    <a:pt x="133" y="1133"/>
                    <a:pt x="153" y="1137"/>
                    <a:pt x="168" y="1127"/>
                  </a:cubicBezTo>
                  <a:cubicBezTo>
                    <a:pt x="182" y="1117"/>
                    <a:pt x="186" y="1097"/>
                    <a:pt x="176" y="1083"/>
                  </a:cubicBezTo>
                  <a:cubicBezTo>
                    <a:pt x="162" y="1061"/>
                    <a:pt x="148" y="1038"/>
                    <a:pt x="136" y="1014"/>
                  </a:cubicBezTo>
                  <a:cubicBezTo>
                    <a:pt x="88" y="922"/>
                    <a:pt x="64" y="822"/>
                    <a:pt x="64" y="717"/>
                  </a:cubicBezTo>
                  <a:cubicBezTo>
                    <a:pt x="64" y="357"/>
                    <a:pt x="357" y="64"/>
                    <a:pt x="717" y="64"/>
                  </a:cubicBezTo>
                  <a:cubicBezTo>
                    <a:pt x="1077" y="64"/>
                    <a:pt x="1370" y="357"/>
                    <a:pt x="1370" y="717"/>
                  </a:cubicBezTo>
                  <a:cubicBezTo>
                    <a:pt x="1370" y="820"/>
                    <a:pt x="1347" y="918"/>
                    <a:pt x="1301" y="1009"/>
                  </a:cubicBezTo>
                  <a:cubicBezTo>
                    <a:pt x="1279" y="1053"/>
                    <a:pt x="1252" y="1095"/>
                    <a:pt x="1221" y="1133"/>
                  </a:cubicBezTo>
                  <a:cubicBezTo>
                    <a:pt x="1209" y="1146"/>
                    <a:pt x="1211" y="1166"/>
                    <a:pt x="1225" y="1178"/>
                  </a:cubicBezTo>
                  <a:cubicBezTo>
                    <a:pt x="1231" y="1183"/>
                    <a:pt x="1238" y="1185"/>
                    <a:pt x="1245" y="1185"/>
                  </a:cubicBezTo>
                  <a:cubicBezTo>
                    <a:pt x="1255" y="1185"/>
                    <a:pt x="1264" y="1181"/>
                    <a:pt x="1270" y="1173"/>
                  </a:cubicBezTo>
                  <a:cubicBezTo>
                    <a:pt x="1305" y="1132"/>
                    <a:pt x="1334" y="1086"/>
                    <a:pt x="1359" y="1037"/>
                  </a:cubicBezTo>
                  <a:cubicBezTo>
                    <a:pt x="1409" y="937"/>
                    <a:pt x="1434" y="830"/>
                    <a:pt x="1434" y="717"/>
                  </a:cubicBezTo>
                  <a:cubicBezTo>
                    <a:pt x="1434" y="526"/>
                    <a:pt x="1359" y="346"/>
                    <a:pt x="1224" y="210"/>
                  </a:cubicBezTo>
                  <a:close/>
                  <a:moveTo>
                    <a:pt x="1224" y="210"/>
                  </a:moveTo>
                  <a:cubicBezTo>
                    <a:pt x="1224" y="210"/>
                    <a:pt x="1224" y="210"/>
                    <a:pt x="1224"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80"/>
            <p:cNvSpPr>
              <a:spLocks noEditPoints="1"/>
            </p:cNvSpPr>
            <p:nvPr/>
          </p:nvSpPr>
          <p:spPr bwMode="auto">
            <a:xfrm>
              <a:off x="2148" y="3371"/>
              <a:ext cx="134" cy="129"/>
            </a:xfrm>
            <a:custGeom>
              <a:avLst/>
              <a:gdLst>
                <a:gd name="T0" fmla="*/ 59 w 71"/>
                <a:gd name="T1" fmla="*/ 14 h 68"/>
                <a:gd name="T2" fmla="*/ 59 w 71"/>
                <a:gd name="T3" fmla="*/ 14 h 68"/>
                <a:gd name="T4" fmla="*/ 14 w 71"/>
                <a:gd name="T5" fmla="*/ 12 h 68"/>
                <a:gd name="T6" fmla="*/ 12 w 71"/>
                <a:gd name="T7" fmla="*/ 57 h 68"/>
                <a:gd name="T8" fmla="*/ 13 w 71"/>
                <a:gd name="T9" fmla="*/ 58 h 68"/>
                <a:gd name="T10" fmla="*/ 36 w 71"/>
                <a:gd name="T11" fmla="*/ 68 h 68"/>
                <a:gd name="T12" fmla="*/ 58 w 71"/>
                <a:gd name="T13" fmla="*/ 59 h 68"/>
                <a:gd name="T14" fmla="*/ 59 w 71"/>
                <a:gd name="T15" fmla="*/ 14 h 68"/>
                <a:gd name="T16" fmla="*/ 59 w 71"/>
                <a:gd name="T17" fmla="*/ 14 h 68"/>
                <a:gd name="T18" fmla="*/ 59 w 71"/>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68">
                  <a:moveTo>
                    <a:pt x="59" y="14"/>
                  </a:moveTo>
                  <a:cubicBezTo>
                    <a:pt x="59" y="14"/>
                    <a:pt x="59" y="14"/>
                    <a:pt x="59" y="14"/>
                  </a:cubicBezTo>
                  <a:cubicBezTo>
                    <a:pt x="47" y="1"/>
                    <a:pt x="27" y="0"/>
                    <a:pt x="14" y="12"/>
                  </a:cubicBezTo>
                  <a:cubicBezTo>
                    <a:pt x="1" y="24"/>
                    <a:pt x="0" y="44"/>
                    <a:pt x="12" y="57"/>
                  </a:cubicBezTo>
                  <a:cubicBezTo>
                    <a:pt x="12" y="57"/>
                    <a:pt x="13" y="58"/>
                    <a:pt x="13" y="58"/>
                  </a:cubicBezTo>
                  <a:cubicBezTo>
                    <a:pt x="19" y="64"/>
                    <a:pt x="27" y="68"/>
                    <a:pt x="36" y="68"/>
                  </a:cubicBezTo>
                  <a:cubicBezTo>
                    <a:pt x="44" y="68"/>
                    <a:pt x="52" y="65"/>
                    <a:pt x="58" y="59"/>
                  </a:cubicBezTo>
                  <a:cubicBezTo>
                    <a:pt x="71" y="47"/>
                    <a:pt x="71" y="27"/>
                    <a:pt x="59" y="14"/>
                  </a:cubicBezTo>
                  <a:close/>
                  <a:moveTo>
                    <a:pt x="59" y="14"/>
                  </a:moveTo>
                  <a:cubicBezTo>
                    <a:pt x="59" y="14"/>
                    <a:pt x="59" y="14"/>
                    <a:pt x="59"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81"/>
            <p:cNvSpPr>
              <a:spLocks noEditPoints="1"/>
            </p:cNvSpPr>
            <p:nvPr/>
          </p:nvSpPr>
          <p:spPr bwMode="auto">
            <a:xfrm>
              <a:off x="3492" y="3070"/>
              <a:ext cx="122"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9"/>
                    <a:pt x="9" y="55"/>
                  </a:cubicBezTo>
                  <a:cubicBezTo>
                    <a:pt x="15" y="61"/>
                    <a:pt x="23" y="64"/>
                    <a:pt x="32" y="64"/>
                  </a:cubicBezTo>
                  <a:cubicBezTo>
                    <a:pt x="40" y="64"/>
                    <a:pt x="48" y="61"/>
                    <a:pt x="54" y="55"/>
                  </a:cubicBezTo>
                  <a:cubicBezTo>
                    <a:pt x="60" y="49"/>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369"/>
          <p:cNvGrpSpPr>
            <a:grpSpLocks noChangeAspect="1"/>
          </p:cNvGrpSpPr>
          <p:nvPr/>
        </p:nvGrpSpPr>
        <p:grpSpPr bwMode="auto">
          <a:xfrm>
            <a:off x="9037390" y="1950383"/>
            <a:ext cx="870837" cy="1052121"/>
            <a:chOff x="1077" y="1451"/>
            <a:chExt cx="2570" cy="3105"/>
          </a:xfrm>
          <a:solidFill>
            <a:schemeClr val="accent5"/>
          </a:solidFill>
        </p:grpSpPr>
        <p:sp>
          <p:nvSpPr>
            <p:cNvPr id="31" name="Freeform 370"/>
            <p:cNvSpPr>
              <a:spLocks noEditPoints="1"/>
            </p:cNvSpPr>
            <p:nvPr/>
          </p:nvSpPr>
          <p:spPr bwMode="auto">
            <a:xfrm>
              <a:off x="1810" y="2453"/>
              <a:ext cx="1102" cy="1104"/>
            </a:xfrm>
            <a:custGeom>
              <a:avLst/>
              <a:gdLst>
                <a:gd name="T0" fmla="*/ 291 w 582"/>
                <a:gd name="T1" fmla="*/ 0 h 583"/>
                <a:gd name="T2" fmla="*/ 0 w 582"/>
                <a:gd name="T3" fmla="*/ 291 h 583"/>
                <a:gd name="T4" fmla="*/ 44 w 582"/>
                <a:gd name="T5" fmla="*/ 446 h 583"/>
                <a:gd name="T6" fmla="*/ 47 w 582"/>
                <a:gd name="T7" fmla="*/ 450 h 583"/>
                <a:gd name="T8" fmla="*/ 291 w 582"/>
                <a:gd name="T9" fmla="*/ 583 h 583"/>
                <a:gd name="T10" fmla="*/ 582 w 582"/>
                <a:gd name="T11" fmla="*/ 291 h 583"/>
                <a:gd name="T12" fmla="*/ 291 w 582"/>
                <a:gd name="T13" fmla="*/ 0 h 583"/>
                <a:gd name="T14" fmla="*/ 81 w 582"/>
                <a:gd name="T15" fmla="*/ 377 h 583"/>
                <a:gd name="T16" fmla="*/ 64 w 582"/>
                <a:gd name="T17" fmla="*/ 291 h 583"/>
                <a:gd name="T18" fmla="*/ 291 w 582"/>
                <a:gd name="T19" fmla="*/ 64 h 583"/>
                <a:gd name="T20" fmla="*/ 477 w 582"/>
                <a:gd name="T21" fmla="*/ 161 h 583"/>
                <a:gd name="T22" fmla="*/ 301 w 582"/>
                <a:gd name="T23" fmla="*/ 337 h 583"/>
                <a:gd name="T24" fmla="*/ 234 w 582"/>
                <a:gd name="T25" fmla="*/ 270 h 583"/>
                <a:gd name="T26" fmla="*/ 189 w 582"/>
                <a:gd name="T27" fmla="*/ 270 h 583"/>
                <a:gd name="T28" fmla="*/ 81 w 582"/>
                <a:gd name="T29" fmla="*/ 377 h 583"/>
                <a:gd name="T30" fmla="*/ 291 w 582"/>
                <a:gd name="T31" fmla="*/ 519 h 583"/>
                <a:gd name="T32" fmla="*/ 115 w 582"/>
                <a:gd name="T33" fmla="*/ 434 h 583"/>
                <a:gd name="T34" fmla="*/ 211 w 582"/>
                <a:gd name="T35" fmla="*/ 337 h 583"/>
                <a:gd name="T36" fmla="*/ 279 w 582"/>
                <a:gd name="T37" fmla="*/ 404 h 583"/>
                <a:gd name="T38" fmla="*/ 324 w 582"/>
                <a:gd name="T39" fmla="*/ 404 h 583"/>
                <a:gd name="T40" fmla="*/ 507 w 582"/>
                <a:gd name="T41" fmla="*/ 221 h 583"/>
                <a:gd name="T42" fmla="*/ 518 w 582"/>
                <a:gd name="T43" fmla="*/ 291 h 583"/>
                <a:gd name="T44" fmla="*/ 291 w 582"/>
                <a:gd name="T45" fmla="*/ 519 h 583"/>
                <a:gd name="T46" fmla="*/ 291 w 582"/>
                <a:gd name="T47" fmla="*/ 519 h 583"/>
                <a:gd name="T48" fmla="*/ 291 w 582"/>
                <a:gd name="T49" fmla="*/ 519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2" h="583">
                  <a:moveTo>
                    <a:pt x="291" y="0"/>
                  </a:moveTo>
                  <a:cubicBezTo>
                    <a:pt x="131" y="0"/>
                    <a:pt x="0" y="131"/>
                    <a:pt x="0" y="291"/>
                  </a:cubicBezTo>
                  <a:cubicBezTo>
                    <a:pt x="0" y="348"/>
                    <a:pt x="16" y="401"/>
                    <a:pt x="44" y="446"/>
                  </a:cubicBezTo>
                  <a:cubicBezTo>
                    <a:pt x="45" y="447"/>
                    <a:pt x="46" y="449"/>
                    <a:pt x="47" y="450"/>
                  </a:cubicBezTo>
                  <a:cubicBezTo>
                    <a:pt x="99" y="530"/>
                    <a:pt x="189" y="583"/>
                    <a:pt x="291" y="583"/>
                  </a:cubicBezTo>
                  <a:cubicBezTo>
                    <a:pt x="452" y="583"/>
                    <a:pt x="582" y="452"/>
                    <a:pt x="582" y="291"/>
                  </a:cubicBezTo>
                  <a:cubicBezTo>
                    <a:pt x="582" y="131"/>
                    <a:pt x="452" y="0"/>
                    <a:pt x="291" y="0"/>
                  </a:cubicBezTo>
                  <a:close/>
                  <a:moveTo>
                    <a:pt x="81" y="377"/>
                  </a:moveTo>
                  <a:cubicBezTo>
                    <a:pt x="70" y="351"/>
                    <a:pt x="64" y="322"/>
                    <a:pt x="64" y="291"/>
                  </a:cubicBezTo>
                  <a:cubicBezTo>
                    <a:pt x="64" y="166"/>
                    <a:pt x="166" y="64"/>
                    <a:pt x="291" y="64"/>
                  </a:cubicBezTo>
                  <a:cubicBezTo>
                    <a:pt x="368" y="64"/>
                    <a:pt x="436" y="102"/>
                    <a:pt x="477" y="161"/>
                  </a:cubicBezTo>
                  <a:cubicBezTo>
                    <a:pt x="301" y="337"/>
                    <a:pt x="301" y="337"/>
                    <a:pt x="301" y="337"/>
                  </a:cubicBezTo>
                  <a:cubicBezTo>
                    <a:pt x="234" y="270"/>
                    <a:pt x="234" y="270"/>
                    <a:pt x="234" y="270"/>
                  </a:cubicBezTo>
                  <a:cubicBezTo>
                    <a:pt x="222" y="257"/>
                    <a:pt x="201" y="257"/>
                    <a:pt x="189" y="270"/>
                  </a:cubicBezTo>
                  <a:lnTo>
                    <a:pt x="81" y="377"/>
                  </a:lnTo>
                  <a:close/>
                  <a:moveTo>
                    <a:pt x="291" y="519"/>
                  </a:moveTo>
                  <a:cubicBezTo>
                    <a:pt x="220" y="519"/>
                    <a:pt x="156" y="486"/>
                    <a:pt x="115" y="434"/>
                  </a:cubicBezTo>
                  <a:cubicBezTo>
                    <a:pt x="211" y="337"/>
                    <a:pt x="211" y="337"/>
                    <a:pt x="211" y="337"/>
                  </a:cubicBezTo>
                  <a:cubicBezTo>
                    <a:pt x="279" y="404"/>
                    <a:pt x="279" y="404"/>
                    <a:pt x="279" y="404"/>
                  </a:cubicBezTo>
                  <a:cubicBezTo>
                    <a:pt x="291" y="417"/>
                    <a:pt x="311" y="417"/>
                    <a:pt x="324" y="404"/>
                  </a:cubicBezTo>
                  <a:cubicBezTo>
                    <a:pt x="507" y="221"/>
                    <a:pt x="507" y="221"/>
                    <a:pt x="507" y="221"/>
                  </a:cubicBezTo>
                  <a:cubicBezTo>
                    <a:pt x="514" y="243"/>
                    <a:pt x="518" y="267"/>
                    <a:pt x="518" y="291"/>
                  </a:cubicBezTo>
                  <a:cubicBezTo>
                    <a:pt x="518" y="417"/>
                    <a:pt x="416" y="519"/>
                    <a:pt x="291" y="519"/>
                  </a:cubicBezTo>
                  <a:close/>
                  <a:moveTo>
                    <a:pt x="291" y="519"/>
                  </a:moveTo>
                  <a:cubicBezTo>
                    <a:pt x="291" y="519"/>
                    <a:pt x="291" y="519"/>
                    <a:pt x="291" y="5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71"/>
            <p:cNvSpPr>
              <a:spLocks noEditPoints="1"/>
            </p:cNvSpPr>
            <p:nvPr/>
          </p:nvSpPr>
          <p:spPr bwMode="auto">
            <a:xfrm>
              <a:off x="1077" y="1451"/>
              <a:ext cx="2570" cy="3105"/>
            </a:xfrm>
            <a:custGeom>
              <a:avLst/>
              <a:gdLst>
                <a:gd name="T0" fmla="*/ 1171 w 1357"/>
                <a:gd name="T1" fmla="*/ 798 h 1640"/>
                <a:gd name="T2" fmla="*/ 1043 w 1357"/>
                <a:gd name="T3" fmla="*/ 353 h 1640"/>
                <a:gd name="T4" fmla="*/ 694 w 1357"/>
                <a:gd name="T5" fmla="*/ 6 h 1640"/>
                <a:gd name="T6" fmla="*/ 662 w 1357"/>
                <a:gd name="T7" fmla="*/ 6 h 1640"/>
                <a:gd name="T8" fmla="*/ 313 w 1357"/>
                <a:gd name="T9" fmla="*/ 353 h 1640"/>
                <a:gd name="T10" fmla="*/ 186 w 1357"/>
                <a:gd name="T11" fmla="*/ 798 h 1640"/>
                <a:gd name="T12" fmla="*/ 0 w 1357"/>
                <a:gd name="T13" fmla="*/ 1081 h 1640"/>
                <a:gd name="T14" fmla="*/ 0 w 1357"/>
                <a:gd name="T15" fmla="*/ 1307 h 1640"/>
                <a:gd name="T16" fmla="*/ 32 w 1357"/>
                <a:gd name="T17" fmla="*/ 1339 h 1640"/>
                <a:gd name="T18" fmla="*/ 502 w 1357"/>
                <a:gd name="T19" fmla="*/ 1339 h 1640"/>
                <a:gd name="T20" fmla="*/ 620 w 1357"/>
                <a:gd name="T21" fmla="*/ 1595 h 1640"/>
                <a:gd name="T22" fmla="*/ 656 w 1357"/>
                <a:gd name="T23" fmla="*/ 1630 h 1640"/>
                <a:gd name="T24" fmla="*/ 678 w 1357"/>
                <a:gd name="T25" fmla="*/ 1640 h 1640"/>
                <a:gd name="T26" fmla="*/ 701 w 1357"/>
                <a:gd name="T27" fmla="*/ 1630 h 1640"/>
                <a:gd name="T28" fmla="*/ 736 w 1357"/>
                <a:gd name="T29" fmla="*/ 1595 h 1640"/>
                <a:gd name="T30" fmla="*/ 854 w 1357"/>
                <a:gd name="T31" fmla="*/ 1339 h 1640"/>
                <a:gd name="T32" fmla="*/ 953 w 1357"/>
                <a:gd name="T33" fmla="*/ 1339 h 1640"/>
                <a:gd name="T34" fmla="*/ 953 w 1357"/>
                <a:gd name="T35" fmla="*/ 1504 h 1640"/>
                <a:gd name="T36" fmla="*/ 985 w 1357"/>
                <a:gd name="T37" fmla="*/ 1536 h 1640"/>
                <a:gd name="T38" fmla="*/ 1017 w 1357"/>
                <a:gd name="T39" fmla="*/ 1504 h 1640"/>
                <a:gd name="T40" fmla="*/ 1017 w 1357"/>
                <a:gd name="T41" fmla="*/ 1339 h 1640"/>
                <a:gd name="T42" fmla="*/ 1325 w 1357"/>
                <a:gd name="T43" fmla="*/ 1339 h 1640"/>
                <a:gd name="T44" fmla="*/ 1357 w 1357"/>
                <a:gd name="T45" fmla="*/ 1307 h 1640"/>
                <a:gd name="T46" fmla="*/ 1357 w 1357"/>
                <a:gd name="T47" fmla="*/ 1081 h 1640"/>
                <a:gd name="T48" fmla="*/ 1171 w 1357"/>
                <a:gd name="T49" fmla="*/ 798 h 1640"/>
                <a:gd name="T50" fmla="*/ 678 w 1357"/>
                <a:gd name="T51" fmla="*/ 70 h 1640"/>
                <a:gd name="T52" fmla="*/ 933 w 1357"/>
                <a:gd name="T53" fmla="*/ 302 h 1640"/>
                <a:gd name="T54" fmla="*/ 424 w 1357"/>
                <a:gd name="T55" fmla="*/ 302 h 1640"/>
                <a:gd name="T56" fmla="*/ 678 w 1357"/>
                <a:gd name="T57" fmla="*/ 70 h 1640"/>
                <a:gd name="T58" fmla="*/ 64 w 1357"/>
                <a:gd name="T59" fmla="*/ 1275 h 1640"/>
                <a:gd name="T60" fmla="*/ 64 w 1357"/>
                <a:gd name="T61" fmla="*/ 1081 h 1640"/>
                <a:gd name="T62" fmla="*/ 185 w 1357"/>
                <a:gd name="T63" fmla="*/ 870 h 1640"/>
                <a:gd name="T64" fmla="*/ 185 w 1357"/>
                <a:gd name="T65" fmla="*/ 1243 h 1640"/>
                <a:gd name="T66" fmla="*/ 191 w 1357"/>
                <a:gd name="T67" fmla="*/ 1275 h 1640"/>
                <a:gd name="T68" fmla="*/ 64 w 1357"/>
                <a:gd name="T69" fmla="*/ 1275 h 1640"/>
                <a:gd name="T70" fmla="*/ 691 w 1357"/>
                <a:gd name="T71" fmla="*/ 1550 h 1640"/>
                <a:gd name="T72" fmla="*/ 678 w 1357"/>
                <a:gd name="T73" fmla="*/ 1563 h 1640"/>
                <a:gd name="T74" fmla="*/ 665 w 1357"/>
                <a:gd name="T75" fmla="*/ 1550 h 1640"/>
                <a:gd name="T76" fmla="*/ 566 w 1357"/>
                <a:gd name="T77" fmla="*/ 1339 h 1640"/>
                <a:gd name="T78" fmla="*/ 790 w 1357"/>
                <a:gd name="T79" fmla="*/ 1339 h 1640"/>
                <a:gd name="T80" fmla="*/ 691 w 1357"/>
                <a:gd name="T81" fmla="*/ 1550 h 1640"/>
                <a:gd name="T82" fmla="*/ 1107 w 1357"/>
                <a:gd name="T83" fmla="*/ 1243 h 1640"/>
                <a:gd name="T84" fmla="*/ 1075 w 1357"/>
                <a:gd name="T85" fmla="*/ 1275 h 1640"/>
                <a:gd name="T86" fmla="*/ 281 w 1357"/>
                <a:gd name="T87" fmla="*/ 1275 h 1640"/>
                <a:gd name="T88" fmla="*/ 249 w 1357"/>
                <a:gd name="T89" fmla="*/ 1243 h 1640"/>
                <a:gd name="T90" fmla="*/ 249 w 1357"/>
                <a:gd name="T91" fmla="*/ 829 h 1640"/>
                <a:gd name="T92" fmla="*/ 315 w 1357"/>
                <a:gd name="T93" fmla="*/ 496 h 1640"/>
                <a:gd name="T94" fmla="*/ 460 w 1357"/>
                <a:gd name="T95" fmla="*/ 496 h 1640"/>
                <a:gd name="T96" fmla="*/ 492 w 1357"/>
                <a:gd name="T97" fmla="*/ 464 h 1640"/>
                <a:gd name="T98" fmla="*/ 460 w 1357"/>
                <a:gd name="T99" fmla="*/ 432 h 1640"/>
                <a:gd name="T100" fmla="*/ 344 w 1357"/>
                <a:gd name="T101" fmla="*/ 432 h 1640"/>
                <a:gd name="T102" fmla="*/ 380 w 1357"/>
                <a:gd name="T103" fmla="*/ 366 h 1640"/>
                <a:gd name="T104" fmla="*/ 976 w 1357"/>
                <a:gd name="T105" fmla="*/ 366 h 1640"/>
                <a:gd name="T106" fmla="*/ 1107 w 1357"/>
                <a:gd name="T107" fmla="*/ 829 h 1640"/>
                <a:gd name="T108" fmla="*/ 1107 w 1357"/>
                <a:gd name="T109" fmla="*/ 1243 h 1640"/>
                <a:gd name="T110" fmla="*/ 1293 w 1357"/>
                <a:gd name="T111" fmla="*/ 1275 h 1640"/>
                <a:gd name="T112" fmla="*/ 1166 w 1357"/>
                <a:gd name="T113" fmla="*/ 1275 h 1640"/>
                <a:gd name="T114" fmla="*/ 1171 w 1357"/>
                <a:gd name="T115" fmla="*/ 1243 h 1640"/>
                <a:gd name="T116" fmla="*/ 1171 w 1357"/>
                <a:gd name="T117" fmla="*/ 870 h 1640"/>
                <a:gd name="T118" fmla="*/ 1293 w 1357"/>
                <a:gd name="T119" fmla="*/ 1081 h 1640"/>
                <a:gd name="T120" fmla="*/ 1293 w 1357"/>
                <a:gd name="T121" fmla="*/ 1275 h 1640"/>
                <a:gd name="T122" fmla="*/ 1293 w 1357"/>
                <a:gd name="T123" fmla="*/ 1275 h 1640"/>
                <a:gd name="T124" fmla="*/ 1293 w 1357"/>
                <a:gd name="T125" fmla="*/ 1275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57" h="1640">
                  <a:moveTo>
                    <a:pt x="1171" y="798"/>
                  </a:moveTo>
                  <a:cubicBezTo>
                    <a:pt x="1165" y="642"/>
                    <a:pt x="1122" y="489"/>
                    <a:pt x="1043" y="353"/>
                  </a:cubicBezTo>
                  <a:cubicBezTo>
                    <a:pt x="960" y="209"/>
                    <a:pt x="839" y="89"/>
                    <a:pt x="694" y="6"/>
                  </a:cubicBezTo>
                  <a:cubicBezTo>
                    <a:pt x="684" y="0"/>
                    <a:pt x="672" y="0"/>
                    <a:pt x="662" y="6"/>
                  </a:cubicBezTo>
                  <a:cubicBezTo>
                    <a:pt x="518" y="89"/>
                    <a:pt x="397" y="209"/>
                    <a:pt x="313" y="353"/>
                  </a:cubicBezTo>
                  <a:cubicBezTo>
                    <a:pt x="235" y="489"/>
                    <a:pt x="191" y="642"/>
                    <a:pt x="186" y="798"/>
                  </a:cubicBezTo>
                  <a:cubicBezTo>
                    <a:pt x="74" y="847"/>
                    <a:pt x="0" y="957"/>
                    <a:pt x="0" y="1081"/>
                  </a:cubicBezTo>
                  <a:cubicBezTo>
                    <a:pt x="0" y="1307"/>
                    <a:pt x="0" y="1307"/>
                    <a:pt x="0" y="1307"/>
                  </a:cubicBezTo>
                  <a:cubicBezTo>
                    <a:pt x="0" y="1325"/>
                    <a:pt x="14" y="1339"/>
                    <a:pt x="32" y="1339"/>
                  </a:cubicBezTo>
                  <a:cubicBezTo>
                    <a:pt x="502" y="1339"/>
                    <a:pt x="502" y="1339"/>
                    <a:pt x="502" y="1339"/>
                  </a:cubicBezTo>
                  <a:cubicBezTo>
                    <a:pt x="509" y="1435"/>
                    <a:pt x="551" y="1527"/>
                    <a:pt x="620" y="1595"/>
                  </a:cubicBezTo>
                  <a:cubicBezTo>
                    <a:pt x="656" y="1630"/>
                    <a:pt x="656" y="1630"/>
                    <a:pt x="656" y="1630"/>
                  </a:cubicBezTo>
                  <a:cubicBezTo>
                    <a:pt x="662" y="1637"/>
                    <a:pt x="670" y="1640"/>
                    <a:pt x="678" y="1640"/>
                  </a:cubicBezTo>
                  <a:cubicBezTo>
                    <a:pt x="686" y="1640"/>
                    <a:pt x="694" y="1637"/>
                    <a:pt x="701" y="1630"/>
                  </a:cubicBezTo>
                  <a:cubicBezTo>
                    <a:pt x="736" y="1595"/>
                    <a:pt x="736" y="1595"/>
                    <a:pt x="736" y="1595"/>
                  </a:cubicBezTo>
                  <a:cubicBezTo>
                    <a:pt x="805" y="1527"/>
                    <a:pt x="848" y="1435"/>
                    <a:pt x="854" y="1339"/>
                  </a:cubicBezTo>
                  <a:cubicBezTo>
                    <a:pt x="953" y="1339"/>
                    <a:pt x="953" y="1339"/>
                    <a:pt x="953" y="1339"/>
                  </a:cubicBezTo>
                  <a:cubicBezTo>
                    <a:pt x="953" y="1504"/>
                    <a:pt x="953" y="1504"/>
                    <a:pt x="953" y="1504"/>
                  </a:cubicBezTo>
                  <a:cubicBezTo>
                    <a:pt x="953" y="1522"/>
                    <a:pt x="968" y="1536"/>
                    <a:pt x="985" y="1536"/>
                  </a:cubicBezTo>
                  <a:cubicBezTo>
                    <a:pt x="1003" y="1536"/>
                    <a:pt x="1017" y="1522"/>
                    <a:pt x="1017" y="1504"/>
                  </a:cubicBezTo>
                  <a:cubicBezTo>
                    <a:pt x="1017" y="1339"/>
                    <a:pt x="1017" y="1339"/>
                    <a:pt x="1017" y="1339"/>
                  </a:cubicBezTo>
                  <a:cubicBezTo>
                    <a:pt x="1325" y="1339"/>
                    <a:pt x="1325" y="1339"/>
                    <a:pt x="1325" y="1339"/>
                  </a:cubicBezTo>
                  <a:cubicBezTo>
                    <a:pt x="1342" y="1339"/>
                    <a:pt x="1357" y="1325"/>
                    <a:pt x="1357" y="1307"/>
                  </a:cubicBezTo>
                  <a:cubicBezTo>
                    <a:pt x="1357" y="1081"/>
                    <a:pt x="1357" y="1081"/>
                    <a:pt x="1357" y="1081"/>
                  </a:cubicBezTo>
                  <a:cubicBezTo>
                    <a:pt x="1357" y="957"/>
                    <a:pt x="1283" y="847"/>
                    <a:pt x="1171" y="798"/>
                  </a:cubicBezTo>
                  <a:close/>
                  <a:moveTo>
                    <a:pt x="678" y="70"/>
                  </a:moveTo>
                  <a:cubicBezTo>
                    <a:pt x="779" y="131"/>
                    <a:pt x="865" y="210"/>
                    <a:pt x="933" y="302"/>
                  </a:cubicBezTo>
                  <a:cubicBezTo>
                    <a:pt x="424" y="302"/>
                    <a:pt x="424" y="302"/>
                    <a:pt x="424" y="302"/>
                  </a:cubicBezTo>
                  <a:cubicBezTo>
                    <a:pt x="492" y="210"/>
                    <a:pt x="578" y="131"/>
                    <a:pt x="678" y="70"/>
                  </a:cubicBezTo>
                  <a:close/>
                  <a:moveTo>
                    <a:pt x="64" y="1275"/>
                  </a:moveTo>
                  <a:cubicBezTo>
                    <a:pt x="64" y="1081"/>
                    <a:pt x="64" y="1081"/>
                    <a:pt x="64" y="1081"/>
                  </a:cubicBezTo>
                  <a:cubicBezTo>
                    <a:pt x="64" y="993"/>
                    <a:pt x="111" y="913"/>
                    <a:pt x="185" y="870"/>
                  </a:cubicBezTo>
                  <a:cubicBezTo>
                    <a:pt x="185" y="1243"/>
                    <a:pt x="185" y="1243"/>
                    <a:pt x="185" y="1243"/>
                  </a:cubicBezTo>
                  <a:cubicBezTo>
                    <a:pt x="185" y="1254"/>
                    <a:pt x="187" y="1265"/>
                    <a:pt x="191" y="1275"/>
                  </a:cubicBezTo>
                  <a:lnTo>
                    <a:pt x="64" y="1275"/>
                  </a:lnTo>
                  <a:close/>
                  <a:moveTo>
                    <a:pt x="691" y="1550"/>
                  </a:moveTo>
                  <a:cubicBezTo>
                    <a:pt x="678" y="1563"/>
                    <a:pt x="678" y="1563"/>
                    <a:pt x="678" y="1563"/>
                  </a:cubicBezTo>
                  <a:cubicBezTo>
                    <a:pt x="665" y="1550"/>
                    <a:pt x="665" y="1550"/>
                    <a:pt x="665" y="1550"/>
                  </a:cubicBezTo>
                  <a:cubicBezTo>
                    <a:pt x="608" y="1494"/>
                    <a:pt x="573" y="1418"/>
                    <a:pt x="566" y="1339"/>
                  </a:cubicBezTo>
                  <a:cubicBezTo>
                    <a:pt x="790" y="1339"/>
                    <a:pt x="790" y="1339"/>
                    <a:pt x="790" y="1339"/>
                  </a:cubicBezTo>
                  <a:cubicBezTo>
                    <a:pt x="783" y="1418"/>
                    <a:pt x="748" y="1494"/>
                    <a:pt x="691" y="1550"/>
                  </a:cubicBezTo>
                  <a:close/>
                  <a:moveTo>
                    <a:pt x="1107" y="1243"/>
                  </a:moveTo>
                  <a:cubicBezTo>
                    <a:pt x="1107" y="1261"/>
                    <a:pt x="1093" y="1275"/>
                    <a:pt x="1075" y="1275"/>
                  </a:cubicBezTo>
                  <a:cubicBezTo>
                    <a:pt x="281" y="1275"/>
                    <a:pt x="281" y="1275"/>
                    <a:pt x="281" y="1275"/>
                  </a:cubicBezTo>
                  <a:cubicBezTo>
                    <a:pt x="264" y="1275"/>
                    <a:pt x="249" y="1261"/>
                    <a:pt x="249" y="1243"/>
                  </a:cubicBezTo>
                  <a:cubicBezTo>
                    <a:pt x="249" y="829"/>
                    <a:pt x="249" y="829"/>
                    <a:pt x="249" y="829"/>
                  </a:cubicBezTo>
                  <a:cubicBezTo>
                    <a:pt x="249" y="713"/>
                    <a:pt x="272" y="600"/>
                    <a:pt x="315" y="496"/>
                  </a:cubicBezTo>
                  <a:cubicBezTo>
                    <a:pt x="460" y="496"/>
                    <a:pt x="460" y="496"/>
                    <a:pt x="460" y="496"/>
                  </a:cubicBezTo>
                  <a:cubicBezTo>
                    <a:pt x="477" y="496"/>
                    <a:pt x="492" y="481"/>
                    <a:pt x="492" y="464"/>
                  </a:cubicBezTo>
                  <a:cubicBezTo>
                    <a:pt x="492" y="446"/>
                    <a:pt x="477" y="432"/>
                    <a:pt x="460" y="432"/>
                  </a:cubicBezTo>
                  <a:cubicBezTo>
                    <a:pt x="344" y="432"/>
                    <a:pt x="344" y="432"/>
                    <a:pt x="344" y="432"/>
                  </a:cubicBezTo>
                  <a:cubicBezTo>
                    <a:pt x="355" y="409"/>
                    <a:pt x="367" y="387"/>
                    <a:pt x="380" y="366"/>
                  </a:cubicBezTo>
                  <a:cubicBezTo>
                    <a:pt x="976" y="366"/>
                    <a:pt x="976" y="366"/>
                    <a:pt x="976" y="366"/>
                  </a:cubicBezTo>
                  <a:cubicBezTo>
                    <a:pt x="1060" y="503"/>
                    <a:pt x="1107" y="663"/>
                    <a:pt x="1107" y="829"/>
                  </a:cubicBezTo>
                  <a:lnTo>
                    <a:pt x="1107" y="1243"/>
                  </a:lnTo>
                  <a:close/>
                  <a:moveTo>
                    <a:pt x="1293" y="1275"/>
                  </a:moveTo>
                  <a:cubicBezTo>
                    <a:pt x="1166" y="1275"/>
                    <a:pt x="1166" y="1275"/>
                    <a:pt x="1166" y="1275"/>
                  </a:cubicBezTo>
                  <a:cubicBezTo>
                    <a:pt x="1169" y="1265"/>
                    <a:pt x="1171" y="1254"/>
                    <a:pt x="1171" y="1243"/>
                  </a:cubicBezTo>
                  <a:cubicBezTo>
                    <a:pt x="1171" y="870"/>
                    <a:pt x="1171" y="870"/>
                    <a:pt x="1171" y="870"/>
                  </a:cubicBezTo>
                  <a:cubicBezTo>
                    <a:pt x="1245" y="913"/>
                    <a:pt x="1293" y="993"/>
                    <a:pt x="1293" y="1081"/>
                  </a:cubicBezTo>
                  <a:lnTo>
                    <a:pt x="1293" y="1275"/>
                  </a:lnTo>
                  <a:close/>
                  <a:moveTo>
                    <a:pt x="1293" y="1275"/>
                  </a:moveTo>
                  <a:cubicBezTo>
                    <a:pt x="1293" y="1275"/>
                    <a:pt x="1293" y="1275"/>
                    <a:pt x="1293" y="1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2"/>
            <p:cNvSpPr>
              <a:spLocks noEditPoints="1"/>
            </p:cNvSpPr>
            <p:nvPr/>
          </p:nvSpPr>
          <p:spPr bwMode="auto">
            <a:xfrm>
              <a:off x="2107" y="2269"/>
              <a:ext cx="122"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73"/>
            <p:cNvSpPr>
              <a:spLocks noEditPoints="1"/>
            </p:cNvSpPr>
            <p:nvPr/>
          </p:nvSpPr>
          <p:spPr bwMode="auto">
            <a:xfrm>
              <a:off x="1719" y="4147"/>
              <a:ext cx="121" cy="309"/>
            </a:xfrm>
            <a:custGeom>
              <a:avLst/>
              <a:gdLst>
                <a:gd name="T0" fmla="*/ 32 w 64"/>
                <a:gd name="T1" fmla="*/ 0 h 163"/>
                <a:gd name="T2" fmla="*/ 0 w 64"/>
                <a:gd name="T3" fmla="*/ 32 h 163"/>
                <a:gd name="T4" fmla="*/ 0 w 64"/>
                <a:gd name="T5" fmla="*/ 131 h 163"/>
                <a:gd name="T6" fmla="*/ 32 w 64"/>
                <a:gd name="T7" fmla="*/ 163 h 163"/>
                <a:gd name="T8" fmla="*/ 64 w 64"/>
                <a:gd name="T9" fmla="*/ 131 h 163"/>
                <a:gd name="T10" fmla="*/ 64 w 64"/>
                <a:gd name="T11" fmla="*/ 32 h 163"/>
                <a:gd name="T12" fmla="*/ 32 w 64"/>
                <a:gd name="T13" fmla="*/ 0 h 163"/>
                <a:gd name="T14" fmla="*/ 32 w 64"/>
                <a:gd name="T15" fmla="*/ 0 h 163"/>
                <a:gd name="T16" fmla="*/ 32 w 64"/>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63">
                  <a:moveTo>
                    <a:pt x="32" y="0"/>
                  </a:moveTo>
                  <a:cubicBezTo>
                    <a:pt x="14" y="0"/>
                    <a:pt x="0" y="15"/>
                    <a:pt x="0" y="32"/>
                  </a:cubicBezTo>
                  <a:cubicBezTo>
                    <a:pt x="0" y="131"/>
                    <a:pt x="0" y="131"/>
                    <a:pt x="0" y="131"/>
                  </a:cubicBezTo>
                  <a:cubicBezTo>
                    <a:pt x="0" y="149"/>
                    <a:pt x="14" y="163"/>
                    <a:pt x="32" y="163"/>
                  </a:cubicBezTo>
                  <a:cubicBezTo>
                    <a:pt x="50" y="163"/>
                    <a:pt x="64" y="149"/>
                    <a:pt x="64" y="131"/>
                  </a:cubicBezTo>
                  <a:cubicBezTo>
                    <a:pt x="64" y="32"/>
                    <a:pt x="64" y="32"/>
                    <a:pt x="64" y="32"/>
                  </a:cubicBezTo>
                  <a:cubicBezTo>
                    <a:pt x="64" y="15"/>
                    <a:pt x="50"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74"/>
            <p:cNvSpPr>
              <a:spLocks noEditPoints="1"/>
            </p:cNvSpPr>
            <p:nvPr/>
          </p:nvSpPr>
          <p:spPr bwMode="auto">
            <a:xfrm>
              <a:off x="2882" y="4435"/>
              <a:ext cx="121" cy="121"/>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 name="Freeform 255"/>
          <p:cNvSpPr>
            <a:spLocks/>
          </p:cNvSpPr>
          <p:nvPr/>
        </p:nvSpPr>
        <p:spPr bwMode="auto">
          <a:xfrm rot="10800000">
            <a:off x="4774095" y="1750485"/>
            <a:ext cx="2643810" cy="3922712"/>
          </a:xfrm>
          <a:prstGeom prst="snip2DiagRect">
            <a:avLst>
              <a:gd name="adj1" fmla="val 0"/>
              <a:gd name="adj2" fmla="val 29144"/>
            </a:avLst>
          </a:prstGeom>
          <a:noFill/>
          <a:ln w="571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7" name="Freeform 255"/>
          <p:cNvSpPr>
            <a:spLocks/>
          </p:cNvSpPr>
          <p:nvPr/>
        </p:nvSpPr>
        <p:spPr bwMode="auto">
          <a:xfrm rot="10800000">
            <a:off x="8132962" y="1750485"/>
            <a:ext cx="2643810" cy="3922712"/>
          </a:xfrm>
          <a:prstGeom prst="snip2DiagRect">
            <a:avLst>
              <a:gd name="adj1" fmla="val 0"/>
              <a:gd name="adj2" fmla="val 29144"/>
            </a:avLst>
          </a:prstGeom>
          <a:noFill/>
          <a:ln w="571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Tree>
    <p:extLst>
      <p:ext uri="{BB962C8B-B14F-4D97-AF65-F5344CB8AC3E}">
        <p14:creationId xmlns:p14="http://schemas.microsoft.com/office/powerpoint/2010/main" val="3841888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5" name="Picture Placeholder 24"/>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
        <p:nvSpPr>
          <p:cNvPr id="29" name="Freeform 28">
            <a:extLst>
              <a:ext uri="{FF2B5EF4-FFF2-40B4-BE49-F238E27FC236}">
                <a16:creationId xmlns:a16="http://schemas.microsoft.com/office/drawing/2014/main" id="{38CF0689-2EA7-4D04-91A6-18484B1FB1A7}"/>
              </a:ext>
            </a:extLst>
          </p:cNvPr>
          <p:cNvSpPr/>
          <p:nvPr/>
        </p:nvSpPr>
        <p:spPr>
          <a:xfrm flipV="1">
            <a:off x="8792304" y="6857999"/>
            <a:ext cx="858" cy="1589"/>
          </a:xfrm>
          <a:custGeom>
            <a:avLst/>
            <a:gdLst>
              <a:gd name="connsiteX0" fmla="*/ 0 w 858"/>
              <a:gd name="connsiteY0" fmla="*/ 1589 h 1589"/>
              <a:gd name="connsiteX1" fmla="*/ 858 w 858"/>
              <a:gd name="connsiteY1" fmla="*/ 1589 h 1589"/>
              <a:gd name="connsiteX2" fmla="*/ 858 w 858"/>
              <a:gd name="connsiteY2" fmla="*/ 0 h 1589"/>
              <a:gd name="connsiteX3" fmla="*/ 0 w 858"/>
              <a:gd name="connsiteY3" fmla="*/ 1589 h 1589"/>
            </a:gdLst>
            <a:ahLst/>
            <a:cxnLst>
              <a:cxn ang="0">
                <a:pos x="connsiteX0" y="connsiteY0"/>
              </a:cxn>
              <a:cxn ang="0">
                <a:pos x="connsiteX1" y="connsiteY1"/>
              </a:cxn>
              <a:cxn ang="0">
                <a:pos x="connsiteX2" y="connsiteY2"/>
              </a:cxn>
              <a:cxn ang="0">
                <a:pos x="connsiteX3" y="connsiteY3"/>
              </a:cxn>
            </a:cxnLst>
            <a:rect l="l" t="t" r="r" b="b"/>
            <a:pathLst>
              <a:path w="858" h="1589">
                <a:moveTo>
                  <a:pt x="0" y="1589"/>
                </a:moveTo>
                <a:lnTo>
                  <a:pt x="858" y="1589"/>
                </a:lnTo>
                <a:lnTo>
                  <a:pt x="858" y="0"/>
                </a:lnTo>
                <a:lnTo>
                  <a:pt x="0" y="15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8"/>
          <p:cNvSpPr/>
          <p:nvPr/>
        </p:nvSpPr>
        <p:spPr>
          <a:xfrm rot="10800000">
            <a:off x="-1" y="2729564"/>
            <a:ext cx="7533860" cy="1315901"/>
          </a:xfrm>
          <a:custGeom>
            <a:avLst/>
            <a:gdLst>
              <a:gd name="connsiteX0" fmla="*/ 142018 w 783446"/>
              <a:gd name="connsiteY0" fmla="*/ 0 h 372703"/>
              <a:gd name="connsiteX1" fmla="*/ 783446 w 783446"/>
              <a:gd name="connsiteY1" fmla="*/ 0 h 372703"/>
              <a:gd name="connsiteX2" fmla="*/ 783446 w 783446"/>
              <a:gd name="connsiteY2" fmla="*/ 372703 h 372703"/>
              <a:gd name="connsiteX3" fmla="*/ 0 w 783446"/>
              <a:gd name="connsiteY3" fmla="*/ 372703 h 372703"/>
              <a:gd name="connsiteX4" fmla="*/ 0 w 783446"/>
              <a:gd name="connsiteY4" fmla="*/ 142018 h 372703"/>
              <a:gd name="connsiteX5" fmla="*/ 142018 w 783446"/>
              <a:gd name="connsiteY5" fmla="*/ 0 h 372703"/>
              <a:gd name="connsiteX0" fmla="*/ 142018 w 783446"/>
              <a:gd name="connsiteY0" fmla="*/ 0 h 372703"/>
              <a:gd name="connsiteX1" fmla="*/ 783446 w 783446"/>
              <a:gd name="connsiteY1" fmla="*/ 0 h 372703"/>
              <a:gd name="connsiteX2" fmla="*/ 783446 w 783446"/>
              <a:gd name="connsiteY2" fmla="*/ 372703 h 372703"/>
              <a:gd name="connsiteX3" fmla="*/ 0 w 783446"/>
              <a:gd name="connsiteY3" fmla="*/ 372703 h 372703"/>
              <a:gd name="connsiteX4" fmla="*/ 142018 w 783446"/>
              <a:gd name="connsiteY4" fmla="*/ 0 h 372703"/>
              <a:gd name="connsiteX0" fmla="*/ 64698 w 706126"/>
              <a:gd name="connsiteY0" fmla="*/ 0 h 375518"/>
              <a:gd name="connsiteX1" fmla="*/ 706126 w 706126"/>
              <a:gd name="connsiteY1" fmla="*/ 0 h 375518"/>
              <a:gd name="connsiteX2" fmla="*/ 706126 w 706126"/>
              <a:gd name="connsiteY2" fmla="*/ 372703 h 375518"/>
              <a:gd name="connsiteX3" fmla="*/ 0 w 706126"/>
              <a:gd name="connsiteY3" fmla="*/ 375518 h 375518"/>
              <a:gd name="connsiteX4" fmla="*/ 64698 w 706126"/>
              <a:gd name="connsiteY4" fmla="*/ 0 h 375518"/>
              <a:gd name="connsiteX0" fmla="*/ 64698 w 706126"/>
              <a:gd name="connsiteY0" fmla="*/ 0 h 372703"/>
              <a:gd name="connsiteX1" fmla="*/ 706126 w 706126"/>
              <a:gd name="connsiteY1" fmla="*/ 0 h 372703"/>
              <a:gd name="connsiteX2" fmla="*/ 706126 w 706126"/>
              <a:gd name="connsiteY2" fmla="*/ 372703 h 372703"/>
              <a:gd name="connsiteX3" fmla="*/ 0 w 706126"/>
              <a:gd name="connsiteY3" fmla="*/ 372703 h 372703"/>
              <a:gd name="connsiteX4" fmla="*/ 64698 w 706126"/>
              <a:gd name="connsiteY4" fmla="*/ 0 h 37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6" h="372703">
                <a:moveTo>
                  <a:pt x="64698" y="0"/>
                </a:moveTo>
                <a:lnTo>
                  <a:pt x="706126" y="0"/>
                </a:lnTo>
                <a:lnTo>
                  <a:pt x="706126" y="372703"/>
                </a:lnTo>
                <a:lnTo>
                  <a:pt x="0" y="372703"/>
                </a:lnTo>
                <a:lnTo>
                  <a:pt x="64698" y="0"/>
                </a:lnTo>
                <a:close/>
              </a:path>
            </a:pathLst>
          </a:cu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p:cNvSpPr txBox="1"/>
          <p:nvPr/>
        </p:nvSpPr>
        <p:spPr>
          <a:xfrm>
            <a:off x="241283" y="2879683"/>
            <a:ext cx="6955491" cy="1015663"/>
          </a:xfrm>
          <a:prstGeom prst="rect">
            <a:avLst/>
          </a:prstGeom>
          <a:noFill/>
        </p:spPr>
        <p:txBody>
          <a:bodyPr wrap="square" rtlCol="0">
            <a:spAutoFit/>
          </a:bodyPr>
          <a:lstStyle/>
          <a:p>
            <a:r>
              <a:rPr lang="en-US" sz="4000" b="1" dirty="0">
                <a:solidFill>
                  <a:schemeClr val="bg1"/>
                </a:solidFill>
                <a:latin typeface="+mj-lt"/>
                <a:cs typeface="Times New Roman" panose="02020603050405020304" pitchFamily="18" charset="0"/>
              </a:rPr>
              <a:t>PRESENTATION TITLE</a:t>
            </a:r>
          </a:p>
          <a:p>
            <a:r>
              <a:rPr lang="en-US" sz="2000" b="1" dirty="0">
                <a:solidFill>
                  <a:schemeClr val="bg1"/>
                </a:solidFill>
                <a:latin typeface="+mj-lt"/>
                <a:cs typeface="Times New Roman" panose="02020603050405020304" pitchFamily="18" charset="0"/>
              </a:rPr>
              <a:t>Without Filter</a:t>
            </a:r>
          </a:p>
        </p:txBody>
      </p:sp>
      <p:pic>
        <p:nvPicPr>
          <p:cNvPr id="2" name="Picture 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76939" y="2962654"/>
            <a:ext cx="3739566" cy="932692"/>
          </a:xfrm>
          <a:prstGeom prst="rect">
            <a:avLst/>
          </a:prstGeom>
        </p:spPr>
      </p:pic>
    </p:spTree>
    <p:extLst>
      <p:ext uri="{BB962C8B-B14F-4D97-AF65-F5344CB8AC3E}">
        <p14:creationId xmlns:p14="http://schemas.microsoft.com/office/powerpoint/2010/main" val="30502868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a:fillRect/>
          </a:stretch>
        </p:blipFill>
        <p:spPr/>
      </p:pic>
      <p:sp>
        <p:nvSpPr>
          <p:cNvPr id="5" name="Text Placeholder 4"/>
          <p:cNvSpPr>
            <a:spLocks noGrp="1"/>
          </p:cNvSpPr>
          <p:nvPr>
            <p:ph type="body" sz="quarter" idx="14"/>
          </p:nvPr>
        </p:nvSpPr>
        <p:spPr/>
        <p:txBody>
          <a:bodyPr/>
          <a:lstStyle/>
          <a:p>
            <a:r>
              <a:rPr lang="en-US" dirty="0"/>
              <a:t>Icons + Image</a:t>
            </a:r>
          </a:p>
        </p:txBody>
      </p:sp>
      <p:sp>
        <p:nvSpPr>
          <p:cNvPr id="7" name="Rectangle 6"/>
          <p:cNvSpPr/>
          <p:nvPr/>
        </p:nvSpPr>
        <p:spPr>
          <a:xfrm>
            <a:off x="465220" y="5093358"/>
            <a:ext cx="6096000" cy="923330"/>
          </a:xfrm>
          <a:prstGeom prst="rect">
            <a:avLst/>
          </a:prstGeom>
        </p:spPr>
        <p:txBody>
          <a:bodyPr>
            <a:spAutoFit/>
          </a:bodyPr>
          <a:lstStyle/>
          <a:p>
            <a:r>
              <a:rPr lang="en-US" dirty="0">
                <a:solidFill>
                  <a:schemeClr val="bg1"/>
                </a:solidFill>
              </a:rPr>
              <a:t>Lorem Ipsum dolor sit </a:t>
            </a:r>
            <a:r>
              <a:rPr lang="en-US" dirty="0" err="1">
                <a:solidFill>
                  <a:schemeClr val="bg1"/>
                </a:solidFill>
              </a:rPr>
              <a:t>amer</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r>
              <a:rPr lang="en-US" dirty="0" err="1">
                <a:solidFill>
                  <a:schemeClr val="bg1"/>
                </a:solidFill>
              </a:rPr>
              <a:t>sed</a:t>
            </a:r>
            <a:r>
              <a:rPr lang="en-US" dirty="0">
                <a:solidFill>
                  <a:schemeClr val="bg1"/>
                </a:solidFill>
              </a:rPr>
              <a:t> do </a:t>
            </a:r>
            <a:r>
              <a:rPr lang="en-US" dirty="0" err="1">
                <a:solidFill>
                  <a:schemeClr val="bg1"/>
                </a:solidFill>
              </a:rPr>
              <a:t>eiusmod</a:t>
            </a:r>
            <a:r>
              <a:rPr lang="en-US" dirty="0">
                <a:solidFill>
                  <a:schemeClr val="bg1"/>
                </a:solidFill>
              </a:rPr>
              <a:t> </a:t>
            </a:r>
            <a:r>
              <a:rPr lang="en-US" dirty="0" err="1">
                <a:solidFill>
                  <a:schemeClr val="bg1"/>
                </a:solidFill>
              </a:rPr>
              <a:t>tempor</a:t>
            </a:r>
            <a:r>
              <a:rPr lang="en-US" dirty="0">
                <a:solidFill>
                  <a:schemeClr val="bg1"/>
                </a:solidFill>
              </a:rPr>
              <a:t> </a:t>
            </a:r>
            <a:r>
              <a:rPr lang="en-US" dirty="0" err="1">
                <a:solidFill>
                  <a:schemeClr val="bg1"/>
                </a:solidFill>
              </a:rPr>
              <a:t>incididunt</a:t>
            </a:r>
            <a:r>
              <a:rPr lang="en-US" dirty="0">
                <a:solidFill>
                  <a:schemeClr val="bg1"/>
                </a:solidFill>
              </a:rPr>
              <a:t> </a:t>
            </a:r>
            <a:r>
              <a:rPr lang="en-US" dirty="0" err="1">
                <a:solidFill>
                  <a:schemeClr val="bg1"/>
                </a:solidFill>
              </a:rPr>
              <a:t>ut</a:t>
            </a:r>
            <a:r>
              <a:rPr lang="en-US" dirty="0">
                <a:solidFill>
                  <a:schemeClr val="bg1"/>
                </a:solidFill>
              </a:rPr>
              <a:t> </a:t>
            </a:r>
            <a:r>
              <a:rPr lang="en-US" dirty="0" err="1">
                <a:solidFill>
                  <a:schemeClr val="bg1"/>
                </a:solidFill>
              </a:rPr>
              <a:t>labore</a:t>
            </a:r>
            <a:r>
              <a:rPr lang="en-US" dirty="0">
                <a:solidFill>
                  <a:schemeClr val="bg1"/>
                </a:solidFill>
              </a:rPr>
              <a:t> et </a:t>
            </a:r>
            <a:r>
              <a:rPr lang="en-US" dirty="0" err="1">
                <a:solidFill>
                  <a:schemeClr val="bg1"/>
                </a:solidFill>
              </a:rPr>
              <a:t>commodo</a:t>
            </a:r>
            <a:r>
              <a:rPr lang="en-US" dirty="0">
                <a:solidFill>
                  <a:schemeClr val="bg1"/>
                </a:solidFill>
              </a:rPr>
              <a:t> </a:t>
            </a:r>
            <a:r>
              <a:rPr lang="en-US" dirty="0" err="1">
                <a:solidFill>
                  <a:schemeClr val="bg1"/>
                </a:solidFill>
              </a:rPr>
              <a:t>consequat</a:t>
            </a:r>
            <a:r>
              <a:rPr lang="en-US" dirty="0">
                <a:solidFill>
                  <a:schemeClr val="bg1"/>
                </a:solidFill>
              </a:rPr>
              <a:t> </a:t>
            </a:r>
            <a:r>
              <a:rPr lang="en-US" dirty="0" err="1">
                <a:solidFill>
                  <a:schemeClr val="bg1"/>
                </a:solidFill>
              </a:rPr>
              <a:t>dolore</a:t>
            </a:r>
            <a:r>
              <a:rPr lang="en-US" dirty="0">
                <a:solidFill>
                  <a:schemeClr val="bg1"/>
                </a:solidFill>
              </a:rPr>
              <a:t> magna </a:t>
            </a:r>
            <a:r>
              <a:rPr lang="en-US" dirty="0" err="1">
                <a:solidFill>
                  <a:schemeClr val="bg1"/>
                </a:solidFill>
              </a:rPr>
              <a:t>aliqua</a:t>
            </a:r>
            <a:r>
              <a:rPr lang="en-US" dirty="0">
                <a:solidFill>
                  <a:schemeClr val="bg1"/>
                </a:solidFill>
              </a:rPr>
              <a:t>.</a:t>
            </a:r>
          </a:p>
        </p:txBody>
      </p:sp>
      <p:grpSp>
        <p:nvGrpSpPr>
          <p:cNvPr id="35" name="Group 34"/>
          <p:cNvGrpSpPr/>
          <p:nvPr/>
        </p:nvGrpSpPr>
        <p:grpSpPr>
          <a:xfrm>
            <a:off x="324377" y="1722901"/>
            <a:ext cx="731520" cy="731520"/>
            <a:chOff x="324377" y="1390349"/>
            <a:chExt cx="731520" cy="731520"/>
          </a:xfrm>
        </p:grpSpPr>
        <p:sp>
          <p:nvSpPr>
            <p:cNvPr id="32" name="Oval 31"/>
            <p:cNvSpPr>
              <a:spLocks/>
            </p:cNvSpPr>
            <p:nvPr/>
          </p:nvSpPr>
          <p:spPr>
            <a:xfrm>
              <a:off x="324377" y="1390349"/>
              <a:ext cx="731520" cy="7315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4"/>
            <p:cNvGrpSpPr>
              <a:grpSpLocks noChangeAspect="1"/>
            </p:cNvGrpSpPr>
            <p:nvPr/>
          </p:nvGrpSpPr>
          <p:grpSpPr bwMode="auto">
            <a:xfrm>
              <a:off x="461464" y="1527509"/>
              <a:ext cx="457347" cy="457200"/>
              <a:chOff x="1503" y="728"/>
              <a:chExt cx="3102" cy="3101"/>
            </a:xfrm>
            <a:solidFill>
              <a:schemeClr val="bg1"/>
            </a:solidFill>
          </p:grpSpPr>
          <p:sp>
            <p:nvSpPr>
              <p:cNvPr id="9" name="Freeform 5"/>
              <p:cNvSpPr>
                <a:spLocks noEditPoints="1"/>
              </p:cNvSpPr>
              <p:nvPr/>
            </p:nvSpPr>
            <p:spPr bwMode="auto">
              <a:xfrm>
                <a:off x="4194" y="2324"/>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4"/>
                      <a:pt x="40" y="0"/>
                      <a:pt x="32" y="0"/>
                    </a:cubicBezTo>
                    <a:cubicBezTo>
                      <a:pt x="23" y="0"/>
                      <a:pt x="15" y="4"/>
                      <a:pt x="9" y="9"/>
                    </a:cubicBezTo>
                    <a:cubicBezTo>
                      <a:pt x="3" y="15"/>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noEditPoints="1"/>
              </p:cNvSpPr>
              <p:nvPr/>
            </p:nvSpPr>
            <p:spPr bwMode="auto">
              <a:xfrm>
                <a:off x="1503" y="728"/>
                <a:ext cx="2812" cy="2423"/>
              </a:xfrm>
              <a:custGeom>
                <a:avLst/>
                <a:gdLst>
                  <a:gd name="T0" fmla="*/ 1312 w 1485"/>
                  <a:gd name="T1" fmla="*/ 128 h 1280"/>
                  <a:gd name="T2" fmla="*/ 1203 w 1485"/>
                  <a:gd name="T3" fmla="*/ 0 h 1280"/>
                  <a:gd name="T4" fmla="*/ 1094 w 1485"/>
                  <a:gd name="T5" fmla="*/ 128 h 1280"/>
                  <a:gd name="T6" fmla="*/ 851 w 1485"/>
                  <a:gd name="T7" fmla="*/ 109 h 1280"/>
                  <a:gd name="T8" fmla="*/ 634 w 1485"/>
                  <a:gd name="T9" fmla="*/ 109 h 1280"/>
                  <a:gd name="T10" fmla="*/ 390 w 1485"/>
                  <a:gd name="T11" fmla="*/ 128 h 1280"/>
                  <a:gd name="T12" fmla="*/ 282 w 1485"/>
                  <a:gd name="T13" fmla="*/ 0 h 1280"/>
                  <a:gd name="T14" fmla="*/ 173 w 1485"/>
                  <a:gd name="T15" fmla="*/ 128 h 1280"/>
                  <a:gd name="T16" fmla="*/ 0 w 1485"/>
                  <a:gd name="T17" fmla="*/ 288 h 1280"/>
                  <a:gd name="T18" fmla="*/ 96 w 1485"/>
                  <a:gd name="T19" fmla="*/ 1280 h 1280"/>
                  <a:gd name="T20" fmla="*/ 834 w 1485"/>
                  <a:gd name="T21" fmla="*/ 1248 h 1280"/>
                  <a:gd name="T22" fmla="*/ 96 w 1485"/>
                  <a:gd name="T23" fmla="*/ 1216 h 1280"/>
                  <a:gd name="T24" fmla="*/ 64 w 1485"/>
                  <a:gd name="T25" fmla="*/ 288 h 1280"/>
                  <a:gd name="T26" fmla="*/ 326 w 1485"/>
                  <a:gd name="T27" fmla="*/ 192 h 1280"/>
                  <a:gd name="T28" fmla="*/ 282 w 1485"/>
                  <a:gd name="T29" fmla="*/ 260 h 1280"/>
                  <a:gd name="T30" fmla="*/ 282 w 1485"/>
                  <a:gd name="T31" fmla="*/ 324 h 1280"/>
                  <a:gd name="T32" fmla="*/ 390 w 1485"/>
                  <a:gd name="T33" fmla="*/ 192 h 1280"/>
                  <a:gd name="T34" fmla="*/ 787 w 1485"/>
                  <a:gd name="T35" fmla="*/ 215 h 1280"/>
                  <a:gd name="T36" fmla="*/ 710 w 1485"/>
                  <a:gd name="T37" fmla="*/ 292 h 1280"/>
                  <a:gd name="T38" fmla="*/ 851 w 1485"/>
                  <a:gd name="T39" fmla="*/ 215 h 1280"/>
                  <a:gd name="T40" fmla="*/ 1248 w 1485"/>
                  <a:gd name="T41" fmla="*/ 192 h 1280"/>
                  <a:gd name="T42" fmla="*/ 1203 w 1485"/>
                  <a:gd name="T43" fmla="*/ 260 h 1280"/>
                  <a:gd name="T44" fmla="*/ 1203 w 1485"/>
                  <a:gd name="T45" fmla="*/ 324 h 1280"/>
                  <a:gd name="T46" fmla="*/ 1312 w 1485"/>
                  <a:gd name="T47" fmla="*/ 192 h 1280"/>
                  <a:gd name="T48" fmla="*/ 1421 w 1485"/>
                  <a:gd name="T49" fmla="*/ 288 h 1280"/>
                  <a:gd name="T50" fmla="*/ 301 w 1485"/>
                  <a:gd name="T51" fmla="*/ 378 h 1280"/>
                  <a:gd name="T52" fmla="*/ 301 w 1485"/>
                  <a:gd name="T53" fmla="*/ 442 h 1280"/>
                  <a:gd name="T54" fmla="*/ 1421 w 1485"/>
                  <a:gd name="T55" fmla="*/ 738 h 1280"/>
                  <a:gd name="T56" fmla="*/ 1485 w 1485"/>
                  <a:gd name="T57" fmla="*/ 738 h 1280"/>
                  <a:gd name="T58" fmla="*/ 1325 w 1485"/>
                  <a:gd name="T59" fmla="*/ 128 h 1280"/>
                  <a:gd name="T60" fmla="*/ 237 w 1485"/>
                  <a:gd name="T61" fmla="*/ 128 h 1280"/>
                  <a:gd name="T62" fmla="*/ 282 w 1485"/>
                  <a:gd name="T63" fmla="*/ 64 h 1280"/>
                  <a:gd name="T64" fmla="*/ 326 w 1485"/>
                  <a:gd name="T65" fmla="*/ 128 h 1280"/>
                  <a:gd name="T66" fmla="*/ 698 w 1485"/>
                  <a:gd name="T67" fmla="*/ 128 h 1280"/>
                  <a:gd name="T68" fmla="*/ 742 w 1485"/>
                  <a:gd name="T69" fmla="*/ 64 h 1280"/>
                  <a:gd name="T70" fmla="*/ 787 w 1485"/>
                  <a:gd name="T71" fmla="*/ 128 h 1280"/>
                  <a:gd name="T72" fmla="*/ 1158 w 1485"/>
                  <a:gd name="T73" fmla="*/ 128 h 1280"/>
                  <a:gd name="T74" fmla="*/ 1203 w 1485"/>
                  <a:gd name="T75" fmla="*/ 64 h 1280"/>
                  <a:gd name="T76" fmla="*/ 1248 w 1485"/>
                  <a:gd name="T77" fmla="*/ 128 h 1280"/>
                  <a:gd name="T78" fmla="*/ 1248 w 1485"/>
                  <a:gd name="T79" fmla="*/ 12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5" h="1280">
                    <a:moveTo>
                      <a:pt x="1325" y="128"/>
                    </a:moveTo>
                    <a:cubicBezTo>
                      <a:pt x="1312" y="128"/>
                      <a:pt x="1312" y="128"/>
                      <a:pt x="1312" y="128"/>
                    </a:cubicBezTo>
                    <a:cubicBezTo>
                      <a:pt x="1312" y="109"/>
                      <a:pt x="1312" y="109"/>
                      <a:pt x="1312" y="109"/>
                    </a:cubicBezTo>
                    <a:cubicBezTo>
                      <a:pt x="1312" y="49"/>
                      <a:pt x="1263" y="0"/>
                      <a:pt x="1203" y="0"/>
                    </a:cubicBezTo>
                    <a:cubicBezTo>
                      <a:pt x="1143" y="0"/>
                      <a:pt x="1094" y="49"/>
                      <a:pt x="1094" y="109"/>
                    </a:cubicBezTo>
                    <a:cubicBezTo>
                      <a:pt x="1094" y="128"/>
                      <a:pt x="1094" y="128"/>
                      <a:pt x="1094" y="128"/>
                    </a:cubicBezTo>
                    <a:cubicBezTo>
                      <a:pt x="851" y="128"/>
                      <a:pt x="851" y="128"/>
                      <a:pt x="851" y="128"/>
                    </a:cubicBezTo>
                    <a:cubicBezTo>
                      <a:pt x="851" y="109"/>
                      <a:pt x="851" y="109"/>
                      <a:pt x="851" y="109"/>
                    </a:cubicBezTo>
                    <a:cubicBezTo>
                      <a:pt x="851" y="49"/>
                      <a:pt x="802" y="0"/>
                      <a:pt x="742" y="0"/>
                    </a:cubicBezTo>
                    <a:cubicBezTo>
                      <a:pt x="682" y="0"/>
                      <a:pt x="634" y="49"/>
                      <a:pt x="634" y="109"/>
                    </a:cubicBezTo>
                    <a:cubicBezTo>
                      <a:pt x="634" y="128"/>
                      <a:pt x="634" y="128"/>
                      <a:pt x="634" y="128"/>
                    </a:cubicBezTo>
                    <a:cubicBezTo>
                      <a:pt x="390" y="128"/>
                      <a:pt x="390" y="128"/>
                      <a:pt x="390" y="128"/>
                    </a:cubicBezTo>
                    <a:cubicBezTo>
                      <a:pt x="390" y="109"/>
                      <a:pt x="390" y="109"/>
                      <a:pt x="390" y="109"/>
                    </a:cubicBezTo>
                    <a:cubicBezTo>
                      <a:pt x="390" y="49"/>
                      <a:pt x="342" y="0"/>
                      <a:pt x="282" y="0"/>
                    </a:cubicBezTo>
                    <a:cubicBezTo>
                      <a:pt x="222" y="0"/>
                      <a:pt x="173" y="49"/>
                      <a:pt x="173" y="109"/>
                    </a:cubicBezTo>
                    <a:cubicBezTo>
                      <a:pt x="173" y="128"/>
                      <a:pt x="173" y="128"/>
                      <a:pt x="173" y="128"/>
                    </a:cubicBezTo>
                    <a:cubicBezTo>
                      <a:pt x="160" y="128"/>
                      <a:pt x="160" y="128"/>
                      <a:pt x="160" y="128"/>
                    </a:cubicBezTo>
                    <a:cubicBezTo>
                      <a:pt x="72" y="128"/>
                      <a:pt x="0" y="200"/>
                      <a:pt x="0" y="288"/>
                    </a:cubicBezTo>
                    <a:cubicBezTo>
                      <a:pt x="0" y="1184"/>
                      <a:pt x="0" y="1184"/>
                      <a:pt x="0" y="1184"/>
                    </a:cubicBezTo>
                    <a:cubicBezTo>
                      <a:pt x="0" y="1237"/>
                      <a:pt x="43" y="1280"/>
                      <a:pt x="96" y="1280"/>
                    </a:cubicBezTo>
                    <a:cubicBezTo>
                      <a:pt x="802" y="1280"/>
                      <a:pt x="802" y="1280"/>
                      <a:pt x="802" y="1280"/>
                    </a:cubicBezTo>
                    <a:cubicBezTo>
                      <a:pt x="820" y="1280"/>
                      <a:pt x="834" y="1266"/>
                      <a:pt x="834" y="1248"/>
                    </a:cubicBezTo>
                    <a:cubicBezTo>
                      <a:pt x="834" y="1230"/>
                      <a:pt x="820" y="1216"/>
                      <a:pt x="802" y="1216"/>
                    </a:cubicBezTo>
                    <a:cubicBezTo>
                      <a:pt x="96" y="1216"/>
                      <a:pt x="96" y="1216"/>
                      <a:pt x="96" y="1216"/>
                    </a:cubicBezTo>
                    <a:cubicBezTo>
                      <a:pt x="78" y="1216"/>
                      <a:pt x="64" y="1202"/>
                      <a:pt x="64" y="1184"/>
                    </a:cubicBezTo>
                    <a:cubicBezTo>
                      <a:pt x="64" y="288"/>
                      <a:pt x="64" y="288"/>
                      <a:pt x="64" y="288"/>
                    </a:cubicBezTo>
                    <a:cubicBezTo>
                      <a:pt x="64" y="235"/>
                      <a:pt x="107" y="192"/>
                      <a:pt x="160" y="192"/>
                    </a:cubicBezTo>
                    <a:cubicBezTo>
                      <a:pt x="326" y="192"/>
                      <a:pt x="326" y="192"/>
                      <a:pt x="326" y="192"/>
                    </a:cubicBezTo>
                    <a:cubicBezTo>
                      <a:pt x="326" y="215"/>
                      <a:pt x="326" y="215"/>
                      <a:pt x="326" y="215"/>
                    </a:cubicBezTo>
                    <a:cubicBezTo>
                      <a:pt x="326" y="240"/>
                      <a:pt x="306" y="260"/>
                      <a:pt x="282" y="260"/>
                    </a:cubicBezTo>
                    <a:cubicBezTo>
                      <a:pt x="264" y="260"/>
                      <a:pt x="250" y="274"/>
                      <a:pt x="250" y="292"/>
                    </a:cubicBezTo>
                    <a:cubicBezTo>
                      <a:pt x="250" y="309"/>
                      <a:pt x="264" y="324"/>
                      <a:pt x="282" y="324"/>
                    </a:cubicBezTo>
                    <a:cubicBezTo>
                      <a:pt x="342" y="324"/>
                      <a:pt x="390" y="275"/>
                      <a:pt x="390" y="215"/>
                    </a:cubicBezTo>
                    <a:cubicBezTo>
                      <a:pt x="390" y="192"/>
                      <a:pt x="390" y="192"/>
                      <a:pt x="390" y="192"/>
                    </a:cubicBezTo>
                    <a:cubicBezTo>
                      <a:pt x="787" y="192"/>
                      <a:pt x="787" y="192"/>
                      <a:pt x="787" y="192"/>
                    </a:cubicBezTo>
                    <a:cubicBezTo>
                      <a:pt x="787" y="215"/>
                      <a:pt x="787" y="215"/>
                      <a:pt x="787" y="215"/>
                    </a:cubicBezTo>
                    <a:cubicBezTo>
                      <a:pt x="787" y="240"/>
                      <a:pt x="767" y="260"/>
                      <a:pt x="742" y="260"/>
                    </a:cubicBezTo>
                    <a:cubicBezTo>
                      <a:pt x="725" y="260"/>
                      <a:pt x="710" y="274"/>
                      <a:pt x="710" y="292"/>
                    </a:cubicBezTo>
                    <a:cubicBezTo>
                      <a:pt x="710" y="309"/>
                      <a:pt x="725" y="324"/>
                      <a:pt x="742" y="324"/>
                    </a:cubicBezTo>
                    <a:cubicBezTo>
                      <a:pt x="802" y="324"/>
                      <a:pt x="851" y="275"/>
                      <a:pt x="851" y="215"/>
                    </a:cubicBezTo>
                    <a:cubicBezTo>
                      <a:pt x="851" y="192"/>
                      <a:pt x="851" y="192"/>
                      <a:pt x="851" y="192"/>
                    </a:cubicBezTo>
                    <a:cubicBezTo>
                      <a:pt x="1248" y="192"/>
                      <a:pt x="1248" y="192"/>
                      <a:pt x="1248" y="192"/>
                    </a:cubicBezTo>
                    <a:cubicBezTo>
                      <a:pt x="1248" y="215"/>
                      <a:pt x="1248" y="215"/>
                      <a:pt x="1248" y="215"/>
                    </a:cubicBezTo>
                    <a:cubicBezTo>
                      <a:pt x="1248" y="240"/>
                      <a:pt x="1228" y="260"/>
                      <a:pt x="1203" y="260"/>
                    </a:cubicBezTo>
                    <a:cubicBezTo>
                      <a:pt x="1185" y="260"/>
                      <a:pt x="1171" y="274"/>
                      <a:pt x="1171" y="292"/>
                    </a:cubicBezTo>
                    <a:cubicBezTo>
                      <a:pt x="1171" y="309"/>
                      <a:pt x="1185" y="324"/>
                      <a:pt x="1203" y="324"/>
                    </a:cubicBezTo>
                    <a:cubicBezTo>
                      <a:pt x="1263" y="324"/>
                      <a:pt x="1312" y="275"/>
                      <a:pt x="1312" y="215"/>
                    </a:cubicBezTo>
                    <a:cubicBezTo>
                      <a:pt x="1312" y="192"/>
                      <a:pt x="1312" y="192"/>
                      <a:pt x="1312" y="192"/>
                    </a:cubicBezTo>
                    <a:cubicBezTo>
                      <a:pt x="1325" y="192"/>
                      <a:pt x="1325" y="192"/>
                      <a:pt x="1325" y="192"/>
                    </a:cubicBezTo>
                    <a:cubicBezTo>
                      <a:pt x="1378" y="192"/>
                      <a:pt x="1421" y="235"/>
                      <a:pt x="1421" y="288"/>
                    </a:cubicBezTo>
                    <a:cubicBezTo>
                      <a:pt x="1421" y="378"/>
                      <a:pt x="1421" y="378"/>
                      <a:pt x="1421" y="378"/>
                    </a:cubicBezTo>
                    <a:cubicBezTo>
                      <a:pt x="301" y="378"/>
                      <a:pt x="301" y="378"/>
                      <a:pt x="301" y="378"/>
                    </a:cubicBezTo>
                    <a:cubicBezTo>
                      <a:pt x="283" y="378"/>
                      <a:pt x="269" y="392"/>
                      <a:pt x="269" y="410"/>
                    </a:cubicBezTo>
                    <a:cubicBezTo>
                      <a:pt x="269" y="427"/>
                      <a:pt x="283" y="442"/>
                      <a:pt x="301" y="442"/>
                    </a:cubicBezTo>
                    <a:cubicBezTo>
                      <a:pt x="1421" y="442"/>
                      <a:pt x="1421" y="442"/>
                      <a:pt x="1421" y="442"/>
                    </a:cubicBezTo>
                    <a:cubicBezTo>
                      <a:pt x="1421" y="738"/>
                      <a:pt x="1421" y="738"/>
                      <a:pt x="1421" y="738"/>
                    </a:cubicBezTo>
                    <a:cubicBezTo>
                      <a:pt x="1421" y="755"/>
                      <a:pt x="1435" y="770"/>
                      <a:pt x="1453" y="770"/>
                    </a:cubicBezTo>
                    <a:cubicBezTo>
                      <a:pt x="1470" y="770"/>
                      <a:pt x="1485" y="755"/>
                      <a:pt x="1485" y="738"/>
                    </a:cubicBezTo>
                    <a:cubicBezTo>
                      <a:pt x="1485" y="288"/>
                      <a:pt x="1485" y="288"/>
                      <a:pt x="1485" y="288"/>
                    </a:cubicBezTo>
                    <a:cubicBezTo>
                      <a:pt x="1485" y="200"/>
                      <a:pt x="1413" y="128"/>
                      <a:pt x="1325" y="128"/>
                    </a:cubicBezTo>
                    <a:close/>
                    <a:moveTo>
                      <a:pt x="326" y="128"/>
                    </a:moveTo>
                    <a:cubicBezTo>
                      <a:pt x="237" y="128"/>
                      <a:pt x="237" y="128"/>
                      <a:pt x="237" y="128"/>
                    </a:cubicBezTo>
                    <a:cubicBezTo>
                      <a:pt x="237" y="109"/>
                      <a:pt x="237" y="109"/>
                      <a:pt x="237" y="109"/>
                    </a:cubicBezTo>
                    <a:cubicBezTo>
                      <a:pt x="237" y="84"/>
                      <a:pt x="257" y="64"/>
                      <a:pt x="282" y="64"/>
                    </a:cubicBezTo>
                    <a:cubicBezTo>
                      <a:pt x="306" y="64"/>
                      <a:pt x="326" y="84"/>
                      <a:pt x="326" y="109"/>
                    </a:cubicBezTo>
                    <a:lnTo>
                      <a:pt x="326" y="128"/>
                    </a:lnTo>
                    <a:close/>
                    <a:moveTo>
                      <a:pt x="787" y="128"/>
                    </a:moveTo>
                    <a:cubicBezTo>
                      <a:pt x="698" y="128"/>
                      <a:pt x="698" y="128"/>
                      <a:pt x="698" y="128"/>
                    </a:cubicBezTo>
                    <a:cubicBezTo>
                      <a:pt x="698" y="109"/>
                      <a:pt x="698" y="109"/>
                      <a:pt x="698" y="109"/>
                    </a:cubicBezTo>
                    <a:cubicBezTo>
                      <a:pt x="698" y="84"/>
                      <a:pt x="718" y="64"/>
                      <a:pt x="742" y="64"/>
                    </a:cubicBezTo>
                    <a:cubicBezTo>
                      <a:pt x="767" y="64"/>
                      <a:pt x="787" y="84"/>
                      <a:pt x="787" y="109"/>
                    </a:cubicBezTo>
                    <a:lnTo>
                      <a:pt x="787" y="128"/>
                    </a:lnTo>
                    <a:close/>
                    <a:moveTo>
                      <a:pt x="1248" y="128"/>
                    </a:moveTo>
                    <a:cubicBezTo>
                      <a:pt x="1158" y="128"/>
                      <a:pt x="1158" y="128"/>
                      <a:pt x="1158" y="128"/>
                    </a:cubicBezTo>
                    <a:cubicBezTo>
                      <a:pt x="1158" y="109"/>
                      <a:pt x="1158" y="109"/>
                      <a:pt x="1158" y="109"/>
                    </a:cubicBezTo>
                    <a:cubicBezTo>
                      <a:pt x="1158" y="84"/>
                      <a:pt x="1178" y="64"/>
                      <a:pt x="1203" y="64"/>
                    </a:cubicBezTo>
                    <a:cubicBezTo>
                      <a:pt x="1228" y="64"/>
                      <a:pt x="1248" y="84"/>
                      <a:pt x="1248" y="109"/>
                    </a:cubicBezTo>
                    <a:lnTo>
                      <a:pt x="1248" y="128"/>
                    </a:lnTo>
                    <a:close/>
                    <a:moveTo>
                      <a:pt x="1248" y="128"/>
                    </a:moveTo>
                    <a:cubicBezTo>
                      <a:pt x="1248" y="128"/>
                      <a:pt x="1248" y="128"/>
                      <a:pt x="1248"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noEditPoints="1"/>
              </p:cNvSpPr>
              <p:nvPr/>
            </p:nvSpPr>
            <p:spPr bwMode="auto">
              <a:xfrm>
                <a:off x="1831" y="2400"/>
                <a:ext cx="460" cy="460"/>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79 h 243"/>
                  <a:gd name="T12" fmla="*/ 64 w 243"/>
                  <a:gd name="T13" fmla="*/ 122 h 243"/>
                  <a:gd name="T14" fmla="*/ 121 w 243"/>
                  <a:gd name="T15" fmla="*/ 64 h 243"/>
                  <a:gd name="T16" fmla="*/ 179 w 243"/>
                  <a:gd name="T17" fmla="*/ 122 h 243"/>
                  <a:gd name="T18" fmla="*/ 121 w 243"/>
                  <a:gd name="T19" fmla="*/ 179 h 243"/>
                  <a:gd name="T20" fmla="*/ 121 w 243"/>
                  <a:gd name="T21" fmla="*/ 179 h 243"/>
                  <a:gd name="T22" fmla="*/ 121 w 243"/>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79"/>
                    </a:moveTo>
                    <a:cubicBezTo>
                      <a:pt x="90" y="179"/>
                      <a:pt x="64" y="153"/>
                      <a:pt x="64" y="122"/>
                    </a:cubicBezTo>
                    <a:cubicBezTo>
                      <a:pt x="64" y="90"/>
                      <a:pt x="90" y="64"/>
                      <a:pt x="121" y="64"/>
                    </a:cubicBezTo>
                    <a:cubicBezTo>
                      <a:pt x="153" y="64"/>
                      <a:pt x="179" y="90"/>
                      <a:pt x="179" y="122"/>
                    </a:cubicBezTo>
                    <a:cubicBezTo>
                      <a:pt x="179" y="153"/>
                      <a:pt x="153" y="179"/>
                      <a:pt x="121" y="179"/>
                    </a:cubicBezTo>
                    <a:close/>
                    <a:moveTo>
                      <a:pt x="121" y="179"/>
                    </a:moveTo>
                    <a:cubicBezTo>
                      <a:pt x="121" y="179"/>
                      <a:pt x="121" y="179"/>
                      <a:pt x="121"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noEditPoints="1"/>
              </p:cNvSpPr>
              <p:nvPr/>
            </p:nvSpPr>
            <p:spPr bwMode="auto">
              <a:xfrm>
                <a:off x="2395" y="2400"/>
                <a:ext cx="462" cy="460"/>
              </a:xfrm>
              <a:custGeom>
                <a:avLst/>
                <a:gdLst>
                  <a:gd name="T0" fmla="*/ 122 w 244"/>
                  <a:gd name="T1" fmla="*/ 0 h 243"/>
                  <a:gd name="T2" fmla="*/ 0 w 244"/>
                  <a:gd name="T3" fmla="*/ 122 h 243"/>
                  <a:gd name="T4" fmla="*/ 122 w 244"/>
                  <a:gd name="T5" fmla="*/ 243 h 243"/>
                  <a:gd name="T6" fmla="*/ 244 w 244"/>
                  <a:gd name="T7" fmla="*/ 122 h 243"/>
                  <a:gd name="T8" fmla="*/ 122 w 244"/>
                  <a:gd name="T9" fmla="*/ 0 h 243"/>
                  <a:gd name="T10" fmla="*/ 122 w 244"/>
                  <a:gd name="T11" fmla="*/ 179 h 243"/>
                  <a:gd name="T12" fmla="*/ 64 w 244"/>
                  <a:gd name="T13" fmla="*/ 122 h 243"/>
                  <a:gd name="T14" fmla="*/ 122 w 244"/>
                  <a:gd name="T15" fmla="*/ 64 h 243"/>
                  <a:gd name="T16" fmla="*/ 180 w 244"/>
                  <a:gd name="T17" fmla="*/ 122 h 243"/>
                  <a:gd name="T18" fmla="*/ 122 w 244"/>
                  <a:gd name="T19" fmla="*/ 179 h 243"/>
                  <a:gd name="T20" fmla="*/ 122 w 244"/>
                  <a:gd name="T21" fmla="*/ 179 h 243"/>
                  <a:gd name="T22" fmla="*/ 122 w 244"/>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43">
                    <a:moveTo>
                      <a:pt x="122" y="0"/>
                    </a:moveTo>
                    <a:cubicBezTo>
                      <a:pt x="55" y="0"/>
                      <a:pt x="0" y="55"/>
                      <a:pt x="0" y="122"/>
                    </a:cubicBezTo>
                    <a:cubicBezTo>
                      <a:pt x="0" y="189"/>
                      <a:pt x="55" y="243"/>
                      <a:pt x="122" y="243"/>
                    </a:cubicBezTo>
                    <a:cubicBezTo>
                      <a:pt x="189" y="243"/>
                      <a:pt x="244" y="189"/>
                      <a:pt x="244" y="122"/>
                    </a:cubicBezTo>
                    <a:cubicBezTo>
                      <a:pt x="244" y="55"/>
                      <a:pt x="189" y="0"/>
                      <a:pt x="122" y="0"/>
                    </a:cubicBezTo>
                    <a:close/>
                    <a:moveTo>
                      <a:pt x="122" y="179"/>
                    </a:moveTo>
                    <a:cubicBezTo>
                      <a:pt x="90" y="179"/>
                      <a:pt x="64" y="153"/>
                      <a:pt x="64" y="122"/>
                    </a:cubicBezTo>
                    <a:cubicBezTo>
                      <a:pt x="64" y="90"/>
                      <a:pt x="90" y="64"/>
                      <a:pt x="122" y="64"/>
                    </a:cubicBezTo>
                    <a:cubicBezTo>
                      <a:pt x="154" y="64"/>
                      <a:pt x="180" y="90"/>
                      <a:pt x="180" y="122"/>
                    </a:cubicBezTo>
                    <a:cubicBezTo>
                      <a:pt x="180" y="153"/>
                      <a:pt x="154" y="179"/>
                      <a:pt x="122" y="179"/>
                    </a:cubicBezTo>
                    <a:close/>
                    <a:moveTo>
                      <a:pt x="122" y="179"/>
                    </a:moveTo>
                    <a:cubicBezTo>
                      <a:pt x="122" y="179"/>
                      <a:pt x="122" y="179"/>
                      <a:pt x="12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noEditPoints="1"/>
              </p:cNvSpPr>
              <p:nvPr/>
            </p:nvSpPr>
            <p:spPr bwMode="auto">
              <a:xfrm>
                <a:off x="2961" y="2400"/>
                <a:ext cx="460" cy="460"/>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122 w 243"/>
                  <a:gd name="T11" fmla="*/ 179 h 243"/>
                  <a:gd name="T12" fmla="*/ 64 w 243"/>
                  <a:gd name="T13" fmla="*/ 122 h 243"/>
                  <a:gd name="T14" fmla="*/ 122 w 243"/>
                  <a:gd name="T15" fmla="*/ 64 h 243"/>
                  <a:gd name="T16" fmla="*/ 179 w 243"/>
                  <a:gd name="T17" fmla="*/ 122 h 243"/>
                  <a:gd name="T18" fmla="*/ 122 w 243"/>
                  <a:gd name="T19" fmla="*/ 179 h 243"/>
                  <a:gd name="T20" fmla="*/ 122 w 243"/>
                  <a:gd name="T21" fmla="*/ 179 h 243"/>
                  <a:gd name="T22" fmla="*/ 122 w 243"/>
                  <a:gd name="T23" fmla="*/ 1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122" y="179"/>
                    </a:moveTo>
                    <a:cubicBezTo>
                      <a:pt x="90" y="179"/>
                      <a:pt x="64" y="153"/>
                      <a:pt x="64" y="122"/>
                    </a:cubicBezTo>
                    <a:cubicBezTo>
                      <a:pt x="64" y="90"/>
                      <a:pt x="90" y="64"/>
                      <a:pt x="122" y="64"/>
                    </a:cubicBezTo>
                    <a:cubicBezTo>
                      <a:pt x="153" y="64"/>
                      <a:pt x="179" y="90"/>
                      <a:pt x="179" y="122"/>
                    </a:cubicBezTo>
                    <a:cubicBezTo>
                      <a:pt x="179" y="153"/>
                      <a:pt x="153" y="179"/>
                      <a:pt x="122" y="179"/>
                    </a:cubicBezTo>
                    <a:close/>
                    <a:moveTo>
                      <a:pt x="122" y="179"/>
                    </a:moveTo>
                    <a:cubicBezTo>
                      <a:pt x="122" y="179"/>
                      <a:pt x="122" y="179"/>
                      <a:pt x="12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p:cNvSpPr>
                <a:spLocks noEditPoints="1"/>
              </p:cNvSpPr>
              <p:nvPr/>
            </p:nvSpPr>
            <p:spPr bwMode="auto">
              <a:xfrm>
                <a:off x="1831" y="1769"/>
                <a:ext cx="460" cy="462"/>
              </a:xfrm>
              <a:custGeom>
                <a:avLst/>
                <a:gdLst>
                  <a:gd name="T0" fmla="*/ 121 w 243"/>
                  <a:gd name="T1" fmla="*/ 0 h 244"/>
                  <a:gd name="T2" fmla="*/ 0 w 243"/>
                  <a:gd name="T3" fmla="*/ 122 h 244"/>
                  <a:gd name="T4" fmla="*/ 121 w 243"/>
                  <a:gd name="T5" fmla="*/ 244 h 244"/>
                  <a:gd name="T6" fmla="*/ 243 w 243"/>
                  <a:gd name="T7" fmla="*/ 122 h 244"/>
                  <a:gd name="T8" fmla="*/ 121 w 243"/>
                  <a:gd name="T9" fmla="*/ 0 h 244"/>
                  <a:gd name="T10" fmla="*/ 121 w 243"/>
                  <a:gd name="T11" fmla="*/ 180 h 244"/>
                  <a:gd name="T12" fmla="*/ 64 w 243"/>
                  <a:gd name="T13" fmla="*/ 122 h 244"/>
                  <a:gd name="T14" fmla="*/ 121 w 243"/>
                  <a:gd name="T15" fmla="*/ 64 h 244"/>
                  <a:gd name="T16" fmla="*/ 179 w 243"/>
                  <a:gd name="T17" fmla="*/ 122 h 244"/>
                  <a:gd name="T18" fmla="*/ 121 w 243"/>
                  <a:gd name="T19" fmla="*/ 180 h 244"/>
                  <a:gd name="T20" fmla="*/ 121 w 243"/>
                  <a:gd name="T21" fmla="*/ 180 h 244"/>
                  <a:gd name="T22" fmla="*/ 121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moveTo>
                      <a:pt x="121" y="180"/>
                    </a:moveTo>
                    <a:cubicBezTo>
                      <a:pt x="90" y="180"/>
                      <a:pt x="64" y="154"/>
                      <a:pt x="64" y="122"/>
                    </a:cubicBezTo>
                    <a:cubicBezTo>
                      <a:pt x="64" y="90"/>
                      <a:pt x="90" y="64"/>
                      <a:pt x="121" y="64"/>
                    </a:cubicBezTo>
                    <a:cubicBezTo>
                      <a:pt x="153" y="64"/>
                      <a:pt x="179" y="90"/>
                      <a:pt x="179" y="122"/>
                    </a:cubicBezTo>
                    <a:cubicBezTo>
                      <a:pt x="179" y="154"/>
                      <a:pt x="153" y="180"/>
                      <a:pt x="121" y="180"/>
                    </a:cubicBezTo>
                    <a:close/>
                    <a:moveTo>
                      <a:pt x="121" y="180"/>
                    </a:moveTo>
                    <a:cubicBezTo>
                      <a:pt x="121" y="180"/>
                      <a:pt x="121" y="180"/>
                      <a:pt x="121"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p:cNvSpPr>
                <a:spLocks noEditPoints="1"/>
              </p:cNvSpPr>
              <p:nvPr/>
            </p:nvSpPr>
            <p:spPr bwMode="auto">
              <a:xfrm>
                <a:off x="2961" y="1769"/>
                <a:ext cx="460" cy="462"/>
              </a:xfrm>
              <a:custGeom>
                <a:avLst/>
                <a:gdLst>
                  <a:gd name="T0" fmla="*/ 122 w 243"/>
                  <a:gd name="T1" fmla="*/ 0 h 244"/>
                  <a:gd name="T2" fmla="*/ 0 w 243"/>
                  <a:gd name="T3" fmla="*/ 122 h 244"/>
                  <a:gd name="T4" fmla="*/ 122 w 243"/>
                  <a:gd name="T5" fmla="*/ 244 h 244"/>
                  <a:gd name="T6" fmla="*/ 243 w 243"/>
                  <a:gd name="T7" fmla="*/ 122 h 244"/>
                  <a:gd name="T8" fmla="*/ 122 w 243"/>
                  <a:gd name="T9" fmla="*/ 0 h 244"/>
                  <a:gd name="T10" fmla="*/ 122 w 243"/>
                  <a:gd name="T11" fmla="*/ 180 h 244"/>
                  <a:gd name="T12" fmla="*/ 64 w 243"/>
                  <a:gd name="T13" fmla="*/ 122 h 244"/>
                  <a:gd name="T14" fmla="*/ 122 w 243"/>
                  <a:gd name="T15" fmla="*/ 64 h 244"/>
                  <a:gd name="T16" fmla="*/ 179 w 243"/>
                  <a:gd name="T17" fmla="*/ 122 h 244"/>
                  <a:gd name="T18" fmla="*/ 122 w 243"/>
                  <a:gd name="T19" fmla="*/ 180 h 244"/>
                  <a:gd name="T20" fmla="*/ 122 w 243"/>
                  <a:gd name="T21" fmla="*/ 180 h 244"/>
                  <a:gd name="T22" fmla="*/ 122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2" y="0"/>
                    </a:moveTo>
                    <a:cubicBezTo>
                      <a:pt x="55" y="0"/>
                      <a:pt x="0" y="55"/>
                      <a:pt x="0" y="122"/>
                    </a:cubicBezTo>
                    <a:cubicBezTo>
                      <a:pt x="0" y="189"/>
                      <a:pt x="55" y="244"/>
                      <a:pt x="122" y="244"/>
                    </a:cubicBezTo>
                    <a:cubicBezTo>
                      <a:pt x="189" y="244"/>
                      <a:pt x="243" y="189"/>
                      <a:pt x="243" y="122"/>
                    </a:cubicBezTo>
                    <a:cubicBezTo>
                      <a:pt x="243" y="55"/>
                      <a:pt x="189" y="0"/>
                      <a:pt x="122" y="0"/>
                    </a:cubicBezTo>
                    <a:close/>
                    <a:moveTo>
                      <a:pt x="122" y="180"/>
                    </a:moveTo>
                    <a:cubicBezTo>
                      <a:pt x="90" y="180"/>
                      <a:pt x="64" y="154"/>
                      <a:pt x="64" y="122"/>
                    </a:cubicBezTo>
                    <a:cubicBezTo>
                      <a:pt x="64" y="90"/>
                      <a:pt x="90" y="64"/>
                      <a:pt x="122" y="64"/>
                    </a:cubicBezTo>
                    <a:cubicBezTo>
                      <a:pt x="153" y="64"/>
                      <a:pt x="179" y="90"/>
                      <a:pt x="179" y="122"/>
                    </a:cubicBezTo>
                    <a:cubicBezTo>
                      <a:pt x="179" y="154"/>
                      <a:pt x="153" y="180"/>
                      <a:pt x="122" y="180"/>
                    </a:cubicBezTo>
                    <a:close/>
                    <a:moveTo>
                      <a:pt x="122" y="180"/>
                    </a:moveTo>
                    <a:cubicBezTo>
                      <a:pt x="122" y="180"/>
                      <a:pt x="122" y="180"/>
                      <a:pt x="122"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p:cNvSpPr>
                <a:spLocks noEditPoints="1"/>
              </p:cNvSpPr>
              <p:nvPr/>
            </p:nvSpPr>
            <p:spPr bwMode="auto">
              <a:xfrm>
                <a:off x="3527" y="1769"/>
                <a:ext cx="461" cy="462"/>
              </a:xfrm>
              <a:custGeom>
                <a:avLst/>
                <a:gdLst>
                  <a:gd name="T0" fmla="*/ 121 w 243"/>
                  <a:gd name="T1" fmla="*/ 0 h 244"/>
                  <a:gd name="T2" fmla="*/ 0 w 243"/>
                  <a:gd name="T3" fmla="*/ 122 h 244"/>
                  <a:gd name="T4" fmla="*/ 121 w 243"/>
                  <a:gd name="T5" fmla="*/ 244 h 244"/>
                  <a:gd name="T6" fmla="*/ 243 w 243"/>
                  <a:gd name="T7" fmla="*/ 122 h 244"/>
                  <a:gd name="T8" fmla="*/ 121 w 243"/>
                  <a:gd name="T9" fmla="*/ 0 h 244"/>
                  <a:gd name="T10" fmla="*/ 121 w 243"/>
                  <a:gd name="T11" fmla="*/ 180 h 244"/>
                  <a:gd name="T12" fmla="*/ 64 w 243"/>
                  <a:gd name="T13" fmla="*/ 122 h 244"/>
                  <a:gd name="T14" fmla="*/ 121 w 243"/>
                  <a:gd name="T15" fmla="*/ 64 h 244"/>
                  <a:gd name="T16" fmla="*/ 179 w 243"/>
                  <a:gd name="T17" fmla="*/ 122 h 244"/>
                  <a:gd name="T18" fmla="*/ 121 w 243"/>
                  <a:gd name="T19" fmla="*/ 180 h 244"/>
                  <a:gd name="T20" fmla="*/ 121 w 243"/>
                  <a:gd name="T21" fmla="*/ 180 h 244"/>
                  <a:gd name="T22" fmla="*/ 121 w 243"/>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4">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moveTo>
                      <a:pt x="121" y="180"/>
                    </a:moveTo>
                    <a:cubicBezTo>
                      <a:pt x="90" y="180"/>
                      <a:pt x="64" y="154"/>
                      <a:pt x="64" y="122"/>
                    </a:cubicBezTo>
                    <a:cubicBezTo>
                      <a:pt x="64" y="90"/>
                      <a:pt x="90" y="64"/>
                      <a:pt x="121" y="64"/>
                    </a:cubicBezTo>
                    <a:cubicBezTo>
                      <a:pt x="153" y="64"/>
                      <a:pt x="179" y="90"/>
                      <a:pt x="179" y="122"/>
                    </a:cubicBezTo>
                    <a:cubicBezTo>
                      <a:pt x="179" y="154"/>
                      <a:pt x="153" y="180"/>
                      <a:pt x="121" y="180"/>
                    </a:cubicBezTo>
                    <a:close/>
                    <a:moveTo>
                      <a:pt x="121" y="180"/>
                    </a:moveTo>
                    <a:cubicBezTo>
                      <a:pt x="121" y="180"/>
                      <a:pt x="121" y="180"/>
                      <a:pt x="121"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p:nvSpPr>
            <p:spPr bwMode="auto">
              <a:xfrm>
                <a:off x="2395" y="1769"/>
                <a:ext cx="462" cy="462"/>
              </a:xfrm>
              <a:custGeom>
                <a:avLst/>
                <a:gdLst>
                  <a:gd name="T0" fmla="*/ 122 w 244"/>
                  <a:gd name="T1" fmla="*/ 0 h 244"/>
                  <a:gd name="T2" fmla="*/ 0 w 244"/>
                  <a:gd name="T3" fmla="*/ 122 h 244"/>
                  <a:gd name="T4" fmla="*/ 122 w 244"/>
                  <a:gd name="T5" fmla="*/ 244 h 244"/>
                  <a:gd name="T6" fmla="*/ 244 w 244"/>
                  <a:gd name="T7" fmla="*/ 122 h 244"/>
                  <a:gd name="T8" fmla="*/ 122 w 244"/>
                  <a:gd name="T9" fmla="*/ 0 h 244"/>
                  <a:gd name="T10" fmla="*/ 122 w 244"/>
                  <a:gd name="T11" fmla="*/ 180 h 244"/>
                  <a:gd name="T12" fmla="*/ 64 w 244"/>
                  <a:gd name="T13" fmla="*/ 122 h 244"/>
                  <a:gd name="T14" fmla="*/ 122 w 244"/>
                  <a:gd name="T15" fmla="*/ 64 h 244"/>
                  <a:gd name="T16" fmla="*/ 180 w 244"/>
                  <a:gd name="T17" fmla="*/ 122 h 244"/>
                  <a:gd name="T18" fmla="*/ 122 w 244"/>
                  <a:gd name="T19" fmla="*/ 180 h 244"/>
                  <a:gd name="T20" fmla="*/ 122 w 244"/>
                  <a:gd name="T21" fmla="*/ 180 h 244"/>
                  <a:gd name="T22" fmla="*/ 122 w 244"/>
                  <a:gd name="T23" fmla="*/ 1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44">
                    <a:moveTo>
                      <a:pt x="122" y="0"/>
                    </a:moveTo>
                    <a:cubicBezTo>
                      <a:pt x="55" y="0"/>
                      <a:pt x="0" y="55"/>
                      <a:pt x="0" y="122"/>
                    </a:cubicBezTo>
                    <a:cubicBezTo>
                      <a:pt x="0" y="189"/>
                      <a:pt x="55" y="244"/>
                      <a:pt x="122" y="244"/>
                    </a:cubicBezTo>
                    <a:cubicBezTo>
                      <a:pt x="189" y="244"/>
                      <a:pt x="244" y="189"/>
                      <a:pt x="244" y="122"/>
                    </a:cubicBezTo>
                    <a:cubicBezTo>
                      <a:pt x="244" y="55"/>
                      <a:pt x="189" y="0"/>
                      <a:pt x="122" y="0"/>
                    </a:cubicBezTo>
                    <a:close/>
                    <a:moveTo>
                      <a:pt x="122" y="180"/>
                    </a:moveTo>
                    <a:cubicBezTo>
                      <a:pt x="90" y="180"/>
                      <a:pt x="64" y="154"/>
                      <a:pt x="64" y="122"/>
                    </a:cubicBezTo>
                    <a:cubicBezTo>
                      <a:pt x="64" y="90"/>
                      <a:pt x="90" y="64"/>
                      <a:pt x="122" y="64"/>
                    </a:cubicBezTo>
                    <a:cubicBezTo>
                      <a:pt x="154" y="64"/>
                      <a:pt x="180" y="90"/>
                      <a:pt x="180" y="122"/>
                    </a:cubicBezTo>
                    <a:cubicBezTo>
                      <a:pt x="180" y="154"/>
                      <a:pt x="154" y="180"/>
                      <a:pt x="122" y="180"/>
                    </a:cubicBezTo>
                    <a:close/>
                    <a:moveTo>
                      <a:pt x="122" y="180"/>
                    </a:moveTo>
                    <a:cubicBezTo>
                      <a:pt x="122" y="180"/>
                      <a:pt x="122" y="180"/>
                      <a:pt x="122"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noEditPoints="1"/>
              </p:cNvSpPr>
              <p:nvPr/>
            </p:nvSpPr>
            <p:spPr bwMode="auto">
              <a:xfrm>
                <a:off x="1776" y="1444"/>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noEditPoints="1"/>
              </p:cNvSpPr>
              <p:nvPr/>
            </p:nvSpPr>
            <p:spPr bwMode="auto">
              <a:xfrm>
                <a:off x="3272" y="2496"/>
                <a:ext cx="1333" cy="1333"/>
              </a:xfrm>
              <a:custGeom>
                <a:avLst/>
                <a:gdLst>
                  <a:gd name="T0" fmla="*/ 352 w 704"/>
                  <a:gd name="T1" fmla="*/ 0 h 704"/>
                  <a:gd name="T2" fmla="*/ 0 w 704"/>
                  <a:gd name="T3" fmla="*/ 352 h 704"/>
                  <a:gd name="T4" fmla="*/ 352 w 704"/>
                  <a:gd name="T5" fmla="*/ 704 h 704"/>
                  <a:gd name="T6" fmla="*/ 704 w 704"/>
                  <a:gd name="T7" fmla="*/ 352 h 704"/>
                  <a:gd name="T8" fmla="*/ 352 w 704"/>
                  <a:gd name="T9" fmla="*/ 0 h 704"/>
                  <a:gd name="T10" fmla="*/ 352 w 704"/>
                  <a:gd name="T11" fmla="*/ 640 h 704"/>
                  <a:gd name="T12" fmla="*/ 64 w 704"/>
                  <a:gd name="T13" fmla="*/ 352 h 704"/>
                  <a:gd name="T14" fmla="*/ 352 w 704"/>
                  <a:gd name="T15" fmla="*/ 64 h 704"/>
                  <a:gd name="T16" fmla="*/ 640 w 704"/>
                  <a:gd name="T17" fmla="*/ 352 h 704"/>
                  <a:gd name="T18" fmla="*/ 352 w 704"/>
                  <a:gd name="T19" fmla="*/ 640 h 704"/>
                  <a:gd name="T20" fmla="*/ 352 w 704"/>
                  <a:gd name="T21" fmla="*/ 640 h 704"/>
                  <a:gd name="T22" fmla="*/ 352 w 704"/>
                  <a:gd name="T2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4" h="704">
                    <a:moveTo>
                      <a:pt x="352" y="0"/>
                    </a:moveTo>
                    <a:cubicBezTo>
                      <a:pt x="158" y="0"/>
                      <a:pt x="0" y="158"/>
                      <a:pt x="0" y="352"/>
                    </a:cubicBezTo>
                    <a:cubicBezTo>
                      <a:pt x="0" y="547"/>
                      <a:pt x="158" y="704"/>
                      <a:pt x="352" y="704"/>
                    </a:cubicBezTo>
                    <a:cubicBezTo>
                      <a:pt x="546" y="704"/>
                      <a:pt x="704" y="547"/>
                      <a:pt x="704" y="352"/>
                    </a:cubicBezTo>
                    <a:cubicBezTo>
                      <a:pt x="704" y="158"/>
                      <a:pt x="546" y="0"/>
                      <a:pt x="352" y="0"/>
                    </a:cubicBezTo>
                    <a:close/>
                    <a:moveTo>
                      <a:pt x="352" y="640"/>
                    </a:moveTo>
                    <a:cubicBezTo>
                      <a:pt x="194" y="640"/>
                      <a:pt x="64" y="511"/>
                      <a:pt x="64" y="352"/>
                    </a:cubicBezTo>
                    <a:cubicBezTo>
                      <a:pt x="64" y="194"/>
                      <a:pt x="194" y="64"/>
                      <a:pt x="352" y="64"/>
                    </a:cubicBezTo>
                    <a:cubicBezTo>
                      <a:pt x="511" y="64"/>
                      <a:pt x="640" y="194"/>
                      <a:pt x="640" y="352"/>
                    </a:cubicBezTo>
                    <a:cubicBezTo>
                      <a:pt x="640" y="511"/>
                      <a:pt x="511" y="640"/>
                      <a:pt x="352" y="640"/>
                    </a:cubicBezTo>
                    <a:close/>
                    <a:moveTo>
                      <a:pt x="352" y="640"/>
                    </a:moveTo>
                    <a:cubicBezTo>
                      <a:pt x="352" y="640"/>
                      <a:pt x="352" y="640"/>
                      <a:pt x="352" y="6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noEditPoints="1"/>
              </p:cNvSpPr>
              <p:nvPr/>
            </p:nvSpPr>
            <p:spPr bwMode="auto">
              <a:xfrm>
                <a:off x="3522" y="2928"/>
                <a:ext cx="823" cy="456"/>
              </a:xfrm>
              <a:custGeom>
                <a:avLst/>
                <a:gdLst>
                  <a:gd name="T0" fmla="*/ 403 w 435"/>
                  <a:gd name="T1" fmla="*/ 0 h 241"/>
                  <a:gd name="T2" fmla="*/ 332 w 435"/>
                  <a:gd name="T3" fmla="*/ 0 h 241"/>
                  <a:gd name="T4" fmla="*/ 300 w 435"/>
                  <a:gd name="T5" fmla="*/ 32 h 241"/>
                  <a:gd name="T6" fmla="*/ 323 w 435"/>
                  <a:gd name="T7" fmla="*/ 62 h 241"/>
                  <a:gd name="T8" fmla="*/ 235 w 435"/>
                  <a:gd name="T9" fmla="*/ 149 h 241"/>
                  <a:gd name="T10" fmla="*/ 165 w 435"/>
                  <a:gd name="T11" fmla="*/ 79 h 241"/>
                  <a:gd name="T12" fmla="*/ 119 w 435"/>
                  <a:gd name="T13" fmla="*/ 79 h 241"/>
                  <a:gd name="T14" fmla="*/ 12 w 435"/>
                  <a:gd name="T15" fmla="*/ 186 h 241"/>
                  <a:gd name="T16" fmla="*/ 12 w 435"/>
                  <a:gd name="T17" fmla="*/ 231 h 241"/>
                  <a:gd name="T18" fmla="*/ 35 w 435"/>
                  <a:gd name="T19" fmla="*/ 241 h 241"/>
                  <a:gd name="T20" fmla="*/ 57 w 435"/>
                  <a:gd name="T21" fmla="*/ 231 h 241"/>
                  <a:gd name="T22" fmla="*/ 142 w 435"/>
                  <a:gd name="T23" fmla="*/ 147 h 241"/>
                  <a:gd name="T24" fmla="*/ 213 w 435"/>
                  <a:gd name="T25" fmla="*/ 217 h 241"/>
                  <a:gd name="T26" fmla="*/ 258 w 435"/>
                  <a:gd name="T27" fmla="*/ 217 h 241"/>
                  <a:gd name="T28" fmla="*/ 371 w 435"/>
                  <a:gd name="T29" fmla="*/ 104 h 241"/>
                  <a:gd name="T30" fmla="*/ 403 w 435"/>
                  <a:gd name="T31" fmla="*/ 134 h 241"/>
                  <a:gd name="T32" fmla="*/ 435 w 435"/>
                  <a:gd name="T33" fmla="*/ 102 h 241"/>
                  <a:gd name="T34" fmla="*/ 435 w 435"/>
                  <a:gd name="T35" fmla="*/ 32 h 241"/>
                  <a:gd name="T36" fmla="*/ 403 w 435"/>
                  <a:gd name="T37" fmla="*/ 0 h 241"/>
                  <a:gd name="T38" fmla="*/ 403 w 435"/>
                  <a:gd name="T39" fmla="*/ 0 h 241"/>
                  <a:gd name="T40" fmla="*/ 403 w 435"/>
                  <a:gd name="T41"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5" h="241">
                    <a:moveTo>
                      <a:pt x="403" y="0"/>
                    </a:moveTo>
                    <a:cubicBezTo>
                      <a:pt x="332" y="0"/>
                      <a:pt x="332" y="0"/>
                      <a:pt x="332" y="0"/>
                    </a:cubicBezTo>
                    <a:cubicBezTo>
                      <a:pt x="315" y="0"/>
                      <a:pt x="300" y="14"/>
                      <a:pt x="300" y="32"/>
                    </a:cubicBezTo>
                    <a:cubicBezTo>
                      <a:pt x="300" y="46"/>
                      <a:pt x="310" y="58"/>
                      <a:pt x="323" y="62"/>
                    </a:cubicBezTo>
                    <a:cubicBezTo>
                      <a:pt x="235" y="149"/>
                      <a:pt x="235" y="149"/>
                      <a:pt x="235" y="149"/>
                    </a:cubicBezTo>
                    <a:cubicBezTo>
                      <a:pt x="165" y="79"/>
                      <a:pt x="165" y="79"/>
                      <a:pt x="165" y="79"/>
                    </a:cubicBezTo>
                    <a:cubicBezTo>
                      <a:pt x="152" y="66"/>
                      <a:pt x="132" y="66"/>
                      <a:pt x="119" y="79"/>
                    </a:cubicBezTo>
                    <a:cubicBezTo>
                      <a:pt x="12" y="186"/>
                      <a:pt x="12" y="186"/>
                      <a:pt x="12" y="186"/>
                    </a:cubicBezTo>
                    <a:cubicBezTo>
                      <a:pt x="0" y="198"/>
                      <a:pt x="0" y="219"/>
                      <a:pt x="12" y="231"/>
                    </a:cubicBezTo>
                    <a:cubicBezTo>
                      <a:pt x="18" y="237"/>
                      <a:pt x="27" y="241"/>
                      <a:pt x="35" y="241"/>
                    </a:cubicBezTo>
                    <a:cubicBezTo>
                      <a:pt x="43" y="241"/>
                      <a:pt x="51" y="237"/>
                      <a:pt x="57" y="231"/>
                    </a:cubicBezTo>
                    <a:cubicBezTo>
                      <a:pt x="142" y="147"/>
                      <a:pt x="142" y="147"/>
                      <a:pt x="142" y="147"/>
                    </a:cubicBezTo>
                    <a:cubicBezTo>
                      <a:pt x="213" y="217"/>
                      <a:pt x="213" y="217"/>
                      <a:pt x="213" y="217"/>
                    </a:cubicBezTo>
                    <a:cubicBezTo>
                      <a:pt x="225" y="230"/>
                      <a:pt x="245" y="230"/>
                      <a:pt x="258" y="217"/>
                    </a:cubicBezTo>
                    <a:cubicBezTo>
                      <a:pt x="371" y="104"/>
                      <a:pt x="371" y="104"/>
                      <a:pt x="371" y="104"/>
                    </a:cubicBezTo>
                    <a:cubicBezTo>
                      <a:pt x="372" y="121"/>
                      <a:pt x="386" y="134"/>
                      <a:pt x="403" y="134"/>
                    </a:cubicBezTo>
                    <a:cubicBezTo>
                      <a:pt x="420" y="134"/>
                      <a:pt x="435" y="120"/>
                      <a:pt x="435" y="102"/>
                    </a:cubicBezTo>
                    <a:cubicBezTo>
                      <a:pt x="435" y="32"/>
                      <a:pt x="435" y="32"/>
                      <a:pt x="435" y="32"/>
                    </a:cubicBezTo>
                    <a:cubicBezTo>
                      <a:pt x="435" y="14"/>
                      <a:pt x="420" y="0"/>
                      <a:pt x="403" y="0"/>
                    </a:cubicBezTo>
                    <a:close/>
                    <a:moveTo>
                      <a:pt x="403" y="0"/>
                    </a:moveTo>
                    <a:cubicBezTo>
                      <a:pt x="403" y="0"/>
                      <a:pt x="403" y="0"/>
                      <a:pt x="4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 33"/>
          <p:cNvGrpSpPr/>
          <p:nvPr/>
        </p:nvGrpSpPr>
        <p:grpSpPr>
          <a:xfrm>
            <a:off x="324377" y="2789102"/>
            <a:ext cx="731520" cy="731520"/>
            <a:chOff x="324377" y="2288964"/>
            <a:chExt cx="731520" cy="731520"/>
          </a:xfrm>
        </p:grpSpPr>
        <p:sp>
          <p:nvSpPr>
            <p:cNvPr id="33" name="Oval 32"/>
            <p:cNvSpPr>
              <a:spLocks/>
            </p:cNvSpPr>
            <p:nvPr/>
          </p:nvSpPr>
          <p:spPr>
            <a:xfrm>
              <a:off x="324377" y="2288964"/>
              <a:ext cx="731520" cy="7315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34"/>
            <p:cNvGrpSpPr>
              <a:grpSpLocks noChangeAspect="1"/>
            </p:cNvGrpSpPr>
            <p:nvPr/>
          </p:nvGrpSpPr>
          <p:grpSpPr bwMode="auto">
            <a:xfrm>
              <a:off x="461244" y="2426124"/>
              <a:ext cx="457786" cy="457200"/>
              <a:chOff x="4790" y="1045"/>
              <a:chExt cx="3124" cy="3120"/>
            </a:xfrm>
            <a:solidFill>
              <a:schemeClr val="bg1"/>
            </a:solidFill>
          </p:grpSpPr>
          <p:sp>
            <p:nvSpPr>
              <p:cNvPr id="22" name="Freeform 35"/>
              <p:cNvSpPr>
                <a:spLocks noEditPoints="1"/>
              </p:cNvSpPr>
              <p:nvPr/>
            </p:nvSpPr>
            <p:spPr bwMode="auto">
              <a:xfrm>
                <a:off x="4790" y="2253"/>
                <a:ext cx="1914" cy="1912"/>
              </a:xfrm>
              <a:custGeom>
                <a:avLst/>
                <a:gdLst>
                  <a:gd name="T0" fmla="*/ 981 w 1011"/>
                  <a:gd name="T1" fmla="*/ 475 h 1010"/>
                  <a:gd name="T2" fmla="*/ 911 w 1011"/>
                  <a:gd name="T3" fmla="*/ 322 h 1010"/>
                  <a:gd name="T4" fmla="*/ 905 w 1011"/>
                  <a:gd name="T5" fmla="*/ 115 h 1010"/>
                  <a:gd name="T6" fmla="*/ 701 w 1011"/>
                  <a:gd name="T7" fmla="*/ 105 h 1010"/>
                  <a:gd name="T8" fmla="*/ 667 w 1011"/>
                  <a:gd name="T9" fmla="*/ 160 h 1010"/>
                  <a:gd name="T10" fmla="*/ 420 w 1011"/>
                  <a:gd name="T11" fmla="*/ 34 h 1010"/>
                  <a:gd name="T12" fmla="*/ 295 w 1011"/>
                  <a:gd name="T13" fmla="*/ 196 h 1010"/>
                  <a:gd name="T14" fmla="*/ 368 w 1011"/>
                  <a:gd name="T15" fmla="*/ 265 h 1010"/>
                  <a:gd name="T16" fmla="*/ 400 w 1011"/>
                  <a:gd name="T17" fmla="*/ 329 h 1010"/>
                  <a:gd name="T18" fmla="*/ 329 w 1011"/>
                  <a:gd name="T19" fmla="*/ 400 h 1010"/>
                  <a:gd name="T20" fmla="*/ 265 w 1011"/>
                  <a:gd name="T21" fmla="*/ 368 h 1010"/>
                  <a:gd name="T22" fmla="*/ 196 w 1011"/>
                  <a:gd name="T23" fmla="*/ 295 h 1010"/>
                  <a:gd name="T24" fmla="*/ 34 w 1011"/>
                  <a:gd name="T25" fmla="*/ 420 h 1010"/>
                  <a:gd name="T26" fmla="*/ 160 w 1011"/>
                  <a:gd name="T27" fmla="*/ 667 h 1010"/>
                  <a:gd name="T28" fmla="*/ 105 w 1011"/>
                  <a:gd name="T29" fmla="*/ 701 h 1010"/>
                  <a:gd name="T30" fmla="*/ 225 w 1011"/>
                  <a:gd name="T31" fmla="*/ 952 h 1010"/>
                  <a:gd name="T32" fmla="*/ 322 w 1011"/>
                  <a:gd name="T33" fmla="*/ 911 h 1010"/>
                  <a:gd name="T34" fmla="*/ 475 w 1011"/>
                  <a:gd name="T35" fmla="*/ 981 h 1010"/>
                  <a:gd name="T36" fmla="*/ 541 w 1011"/>
                  <a:gd name="T37" fmla="*/ 1010 h 1010"/>
                  <a:gd name="T38" fmla="*/ 704 w 1011"/>
                  <a:gd name="T39" fmla="*/ 881 h 1010"/>
                  <a:gd name="T40" fmla="*/ 744 w 1011"/>
                  <a:gd name="T41" fmla="*/ 938 h 1010"/>
                  <a:gd name="T42" fmla="*/ 938 w 1011"/>
                  <a:gd name="T43" fmla="*/ 744 h 1010"/>
                  <a:gd name="T44" fmla="*/ 881 w 1011"/>
                  <a:gd name="T45" fmla="*/ 705 h 1010"/>
                  <a:gd name="T46" fmla="*/ 1010 w 1011"/>
                  <a:gd name="T47" fmla="*/ 536 h 1010"/>
                  <a:gd name="T48" fmla="*/ 831 w 1011"/>
                  <a:gd name="T49" fmla="*/ 665 h 1010"/>
                  <a:gd name="T50" fmla="*/ 855 w 1011"/>
                  <a:gd name="T51" fmla="*/ 763 h 1010"/>
                  <a:gd name="T52" fmla="*/ 893 w 1011"/>
                  <a:gd name="T53" fmla="*/ 789 h 1010"/>
                  <a:gd name="T54" fmla="*/ 789 w 1011"/>
                  <a:gd name="T55" fmla="*/ 893 h 1010"/>
                  <a:gd name="T56" fmla="*/ 763 w 1011"/>
                  <a:gd name="T57" fmla="*/ 855 h 1010"/>
                  <a:gd name="T58" fmla="*/ 664 w 1011"/>
                  <a:gd name="T59" fmla="*/ 831 h 1010"/>
                  <a:gd name="T60" fmla="*/ 540 w 1011"/>
                  <a:gd name="T61" fmla="*/ 946 h 1010"/>
                  <a:gd name="T62" fmla="*/ 471 w 1011"/>
                  <a:gd name="T63" fmla="*/ 887 h 1010"/>
                  <a:gd name="T64" fmla="*/ 577 w 1011"/>
                  <a:gd name="T65" fmla="*/ 736 h 1010"/>
                  <a:gd name="T66" fmla="*/ 426 w 1011"/>
                  <a:gd name="T67" fmla="*/ 842 h 1010"/>
                  <a:gd name="T68" fmla="*/ 348 w 1011"/>
                  <a:gd name="T69" fmla="*/ 790 h 1010"/>
                  <a:gd name="T70" fmla="*/ 294 w 1011"/>
                  <a:gd name="T71" fmla="*/ 834 h 1010"/>
                  <a:gd name="T72" fmla="*/ 273 w 1011"/>
                  <a:gd name="T73" fmla="*/ 869 h 1010"/>
                  <a:gd name="T74" fmla="*/ 150 w 1011"/>
                  <a:gd name="T75" fmla="*/ 746 h 1010"/>
                  <a:gd name="T76" fmla="*/ 186 w 1011"/>
                  <a:gd name="T77" fmla="*/ 726 h 1010"/>
                  <a:gd name="T78" fmla="*/ 211 w 1011"/>
                  <a:gd name="T79" fmla="*/ 627 h 1010"/>
                  <a:gd name="T80" fmla="*/ 74 w 1011"/>
                  <a:gd name="T81" fmla="*/ 480 h 1010"/>
                  <a:gd name="T82" fmla="*/ 184 w 1011"/>
                  <a:gd name="T83" fmla="*/ 360 h 1010"/>
                  <a:gd name="T84" fmla="*/ 223 w 1011"/>
                  <a:gd name="T85" fmla="*/ 417 h 1010"/>
                  <a:gd name="T86" fmla="*/ 417 w 1011"/>
                  <a:gd name="T87" fmla="*/ 223 h 1010"/>
                  <a:gd name="T88" fmla="*/ 360 w 1011"/>
                  <a:gd name="T89" fmla="*/ 184 h 1010"/>
                  <a:gd name="T90" fmla="*/ 500 w 1011"/>
                  <a:gd name="T91" fmla="*/ 84 h 1010"/>
                  <a:gd name="T92" fmla="*/ 688 w 1011"/>
                  <a:gd name="T93" fmla="*/ 227 h 1010"/>
                  <a:gd name="T94" fmla="*/ 743 w 1011"/>
                  <a:gd name="T95" fmla="*/ 153 h 1010"/>
                  <a:gd name="T96" fmla="*/ 799 w 1011"/>
                  <a:gd name="T97" fmla="*/ 132 h 1010"/>
                  <a:gd name="T98" fmla="*/ 869 w 1011"/>
                  <a:gd name="T99" fmla="*/ 273 h 1010"/>
                  <a:gd name="T100" fmla="*/ 834 w 1011"/>
                  <a:gd name="T101" fmla="*/ 294 h 1010"/>
                  <a:gd name="T102" fmla="*/ 809 w 1011"/>
                  <a:gd name="T103" fmla="*/ 393 h 1010"/>
                  <a:gd name="T104" fmla="*/ 946 w 1011"/>
                  <a:gd name="T105" fmla="*/ 540 h 1010"/>
                  <a:gd name="T106" fmla="*/ 941 w 1011"/>
                  <a:gd name="T107" fmla="*/ 554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1" h="1010">
                    <a:moveTo>
                      <a:pt x="1010" y="536"/>
                    </a:moveTo>
                    <a:cubicBezTo>
                      <a:pt x="1008" y="513"/>
                      <a:pt x="998" y="491"/>
                      <a:pt x="981" y="475"/>
                    </a:cubicBezTo>
                    <a:cubicBezTo>
                      <a:pt x="860" y="353"/>
                      <a:pt x="860" y="353"/>
                      <a:pt x="860" y="353"/>
                    </a:cubicBezTo>
                    <a:cubicBezTo>
                      <a:pt x="879" y="347"/>
                      <a:pt x="897" y="336"/>
                      <a:pt x="911" y="322"/>
                    </a:cubicBezTo>
                    <a:cubicBezTo>
                      <a:pt x="915" y="319"/>
                      <a:pt x="915" y="319"/>
                      <a:pt x="915" y="319"/>
                    </a:cubicBezTo>
                    <a:cubicBezTo>
                      <a:pt x="968" y="265"/>
                      <a:pt x="964" y="174"/>
                      <a:pt x="905" y="115"/>
                    </a:cubicBezTo>
                    <a:cubicBezTo>
                      <a:pt x="877" y="87"/>
                      <a:pt x="841" y="70"/>
                      <a:pt x="803" y="68"/>
                    </a:cubicBezTo>
                    <a:cubicBezTo>
                      <a:pt x="764" y="65"/>
                      <a:pt x="728" y="79"/>
                      <a:pt x="701" y="105"/>
                    </a:cubicBezTo>
                    <a:cubicBezTo>
                      <a:pt x="698" y="108"/>
                      <a:pt x="698" y="108"/>
                      <a:pt x="698" y="108"/>
                    </a:cubicBezTo>
                    <a:cubicBezTo>
                      <a:pt x="684" y="123"/>
                      <a:pt x="673" y="140"/>
                      <a:pt x="667" y="160"/>
                    </a:cubicBezTo>
                    <a:cubicBezTo>
                      <a:pt x="545" y="38"/>
                      <a:pt x="545" y="38"/>
                      <a:pt x="545" y="38"/>
                    </a:cubicBezTo>
                    <a:cubicBezTo>
                      <a:pt x="509" y="3"/>
                      <a:pt x="453" y="0"/>
                      <a:pt x="420" y="34"/>
                    </a:cubicBezTo>
                    <a:cubicBezTo>
                      <a:pt x="310" y="144"/>
                      <a:pt x="310" y="144"/>
                      <a:pt x="310" y="144"/>
                    </a:cubicBezTo>
                    <a:cubicBezTo>
                      <a:pt x="296" y="157"/>
                      <a:pt x="291" y="177"/>
                      <a:pt x="295" y="196"/>
                    </a:cubicBezTo>
                    <a:cubicBezTo>
                      <a:pt x="299" y="217"/>
                      <a:pt x="314" y="234"/>
                      <a:pt x="334" y="242"/>
                    </a:cubicBezTo>
                    <a:cubicBezTo>
                      <a:pt x="347" y="247"/>
                      <a:pt x="358" y="255"/>
                      <a:pt x="368" y="265"/>
                    </a:cubicBezTo>
                    <a:cubicBezTo>
                      <a:pt x="372" y="268"/>
                      <a:pt x="372" y="268"/>
                      <a:pt x="372" y="268"/>
                    </a:cubicBezTo>
                    <a:cubicBezTo>
                      <a:pt x="389" y="285"/>
                      <a:pt x="399" y="307"/>
                      <a:pt x="400" y="329"/>
                    </a:cubicBezTo>
                    <a:cubicBezTo>
                      <a:pt x="401" y="349"/>
                      <a:pt x="395" y="368"/>
                      <a:pt x="381" y="382"/>
                    </a:cubicBezTo>
                    <a:cubicBezTo>
                      <a:pt x="368" y="395"/>
                      <a:pt x="349" y="402"/>
                      <a:pt x="329" y="400"/>
                    </a:cubicBezTo>
                    <a:cubicBezTo>
                      <a:pt x="306" y="399"/>
                      <a:pt x="285" y="389"/>
                      <a:pt x="268" y="372"/>
                    </a:cubicBezTo>
                    <a:cubicBezTo>
                      <a:pt x="265" y="368"/>
                      <a:pt x="265" y="368"/>
                      <a:pt x="265" y="368"/>
                    </a:cubicBezTo>
                    <a:cubicBezTo>
                      <a:pt x="255" y="358"/>
                      <a:pt x="247" y="347"/>
                      <a:pt x="242" y="334"/>
                    </a:cubicBezTo>
                    <a:cubicBezTo>
                      <a:pt x="234" y="314"/>
                      <a:pt x="217" y="299"/>
                      <a:pt x="196" y="295"/>
                    </a:cubicBezTo>
                    <a:cubicBezTo>
                      <a:pt x="177" y="291"/>
                      <a:pt x="157" y="297"/>
                      <a:pt x="144" y="310"/>
                    </a:cubicBezTo>
                    <a:cubicBezTo>
                      <a:pt x="34" y="420"/>
                      <a:pt x="34" y="420"/>
                      <a:pt x="34" y="420"/>
                    </a:cubicBezTo>
                    <a:cubicBezTo>
                      <a:pt x="0" y="453"/>
                      <a:pt x="3" y="509"/>
                      <a:pt x="38" y="545"/>
                    </a:cubicBezTo>
                    <a:cubicBezTo>
                      <a:pt x="160" y="667"/>
                      <a:pt x="160" y="667"/>
                      <a:pt x="160" y="667"/>
                    </a:cubicBezTo>
                    <a:cubicBezTo>
                      <a:pt x="140" y="673"/>
                      <a:pt x="123" y="684"/>
                      <a:pt x="108" y="698"/>
                    </a:cubicBezTo>
                    <a:cubicBezTo>
                      <a:pt x="105" y="701"/>
                      <a:pt x="105" y="701"/>
                      <a:pt x="105" y="701"/>
                    </a:cubicBezTo>
                    <a:cubicBezTo>
                      <a:pt x="52" y="755"/>
                      <a:pt x="56" y="846"/>
                      <a:pt x="115" y="905"/>
                    </a:cubicBezTo>
                    <a:cubicBezTo>
                      <a:pt x="146" y="936"/>
                      <a:pt x="186" y="952"/>
                      <a:pt x="225" y="952"/>
                    </a:cubicBezTo>
                    <a:cubicBezTo>
                      <a:pt x="260" y="952"/>
                      <a:pt x="293" y="940"/>
                      <a:pt x="319" y="915"/>
                    </a:cubicBezTo>
                    <a:cubicBezTo>
                      <a:pt x="322" y="911"/>
                      <a:pt x="322" y="911"/>
                      <a:pt x="322" y="911"/>
                    </a:cubicBezTo>
                    <a:cubicBezTo>
                      <a:pt x="336" y="897"/>
                      <a:pt x="347" y="879"/>
                      <a:pt x="353" y="860"/>
                    </a:cubicBezTo>
                    <a:cubicBezTo>
                      <a:pt x="475" y="981"/>
                      <a:pt x="475" y="981"/>
                      <a:pt x="475" y="981"/>
                    </a:cubicBezTo>
                    <a:cubicBezTo>
                      <a:pt x="491" y="998"/>
                      <a:pt x="513" y="1008"/>
                      <a:pt x="536" y="1010"/>
                    </a:cubicBezTo>
                    <a:cubicBezTo>
                      <a:pt x="538" y="1010"/>
                      <a:pt x="540" y="1010"/>
                      <a:pt x="541" y="1010"/>
                    </a:cubicBezTo>
                    <a:cubicBezTo>
                      <a:pt x="564" y="1010"/>
                      <a:pt x="584" y="1001"/>
                      <a:pt x="600" y="986"/>
                    </a:cubicBezTo>
                    <a:cubicBezTo>
                      <a:pt x="704" y="881"/>
                      <a:pt x="704" y="881"/>
                      <a:pt x="704" y="881"/>
                    </a:cubicBezTo>
                    <a:cubicBezTo>
                      <a:pt x="713" y="901"/>
                      <a:pt x="725" y="919"/>
                      <a:pt x="740" y="934"/>
                    </a:cubicBezTo>
                    <a:cubicBezTo>
                      <a:pt x="744" y="938"/>
                      <a:pt x="744" y="938"/>
                      <a:pt x="744" y="938"/>
                    </a:cubicBezTo>
                    <a:cubicBezTo>
                      <a:pt x="802" y="997"/>
                      <a:pt x="894" y="1001"/>
                      <a:pt x="947" y="948"/>
                    </a:cubicBezTo>
                    <a:cubicBezTo>
                      <a:pt x="1001" y="894"/>
                      <a:pt x="997" y="803"/>
                      <a:pt x="938" y="744"/>
                    </a:cubicBezTo>
                    <a:cubicBezTo>
                      <a:pt x="934" y="740"/>
                      <a:pt x="934" y="740"/>
                      <a:pt x="934" y="740"/>
                    </a:cubicBezTo>
                    <a:cubicBezTo>
                      <a:pt x="919" y="725"/>
                      <a:pt x="901" y="713"/>
                      <a:pt x="881" y="705"/>
                    </a:cubicBezTo>
                    <a:cubicBezTo>
                      <a:pt x="986" y="600"/>
                      <a:pt x="986" y="600"/>
                      <a:pt x="986" y="600"/>
                    </a:cubicBezTo>
                    <a:cubicBezTo>
                      <a:pt x="1002" y="583"/>
                      <a:pt x="1011" y="560"/>
                      <a:pt x="1010" y="536"/>
                    </a:cubicBezTo>
                    <a:close/>
                    <a:moveTo>
                      <a:pt x="941" y="554"/>
                    </a:moveTo>
                    <a:cubicBezTo>
                      <a:pt x="831" y="665"/>
                      <a:pt x="831" y="665"/>
                      <a:pt x="831" y="665"/>
                    </a:cubicBezTo>
                    <a:cubicBezTo>
                      <a:pt x="817" y="678"/>
                      <a:pt x="812" y="698"/>
                      <a:pt x="816" y="717"/>
                    </a:cubicBezTo>
                    <a:cubicBezTo>
                      <a:pt x="820" y="738"/>
                      <a:pt x="835" y="755"/>
                      <a:pt x="855" y="763"/>
                    </a:cubicBezTo>
                    <a:cubicBezTo>
                      <a:pt x="868" y="768"/>
                      <a:pt x="879" y="775"/>
                      <a:pt x="889" y="785"/>
                    </a:cubicBezTo>
                    <a:cubicBezTo>
                      <a:pt x="893" y="789"/>
                      <a:pt x="893" y="789"/>
                      <a:pt x="893" y="789"/>
                    </a:cubicBezTo>
                    <a:cubicBezTo>
                      <a:pt x="926" y="823"/>
                      <a:pt x="931" y="874"/>
                      <a:pt x="902" y="902"/>
                    </a:cubicBezTo>
                    <a:cubicBezTo>
                      <a:pt x="874" y="931"/>
                      <a:pt x="823" y="927"/>
                      <a:pt x="789" y="893"/>
                    </a:cubicBezTo>
                    <a:cubicBezTo>
                      <a:pt x="785" y="889"/>
                      <a:pt x="785" y="889"/>
                      <a:pt x="785" y="889"/>
                    </a:cubicBezTo>
                    <a:cubicBezTo>
                      <a:pt x="775" y="879"/>
                      <a:pt x="768" y="868"/>
                      <a:pt x="763" y="855"/>
                    </a:cubicBezTo>
                    <a:cubicBezTo>
                      <a:pt x="755" y="835"/>
                      <a:pt x="738" y="820"/>
                      <a:pt x="717" y="816"/>
                    </a:cubicBezTo>
                    <a:cubicBezTo>
                      <a:pt x="698" y="812"/>
                      <a:pt x="678" y="817"/>
                      <a:pt x="664" y="831"/>
                    </a:cubicBezTo>
                    <a:cubicBezTo>
                      <a:pt x="554" y="941"/>
                      <a:pt x="554" y="941"/>
                      <a:pt x="554" y="941"/>
                    </a:cubicBezTo>
                    <a:cubicBezTo>
                      <a:pt x="550" y="945"/>
                      <a:pt x="544" y="946"/>
                      <a:pt x="540" y="946"/>
                    </a:cubicBezTo>
                    <a:cubicBezTo>
                      <a:pt x="533" y="945"/>
                      <a:pt x="525" y="942"/>
                      <a:pt x="520" y="936"/>
                    </a:cubicBezTo>
                    <a:cubicBezTo>
                      <a:pt x="471" y="887"/>
                      <a:pt x="471" y="887"/>
                      <a:pt x="471" y="887"/>
                    </a:cubicBezTo>
                    <a:cubicBezTo>
                      <a:pt x="577" y="781"/>
                      <a:pt x="577" y="781"/>
                      <a:pt x="577" y="781"/>
                    </a:cubicBezTo>
                    <a:cubicBezTo>
                      <a:pt x="590" y="769"/>
                      <a:pt x="590" y="748"/>
                      <a:pt x="577" y="736"/>
                    </a:cubicBezTo>
                    <a:cubicBezTo>
                      <a:pt x="565" y="723"/>
                      <a:pt x="544" y="723"/>
                      <a:pt x="532" y="736"/>
                    </a:cubicBezTo>
                    <a:cubicBezTo>
                      <a:pt x="426" y="842"/>
                      <a:pt x="426" y="842"/>
                      <a:pt x="426" y="842"/>
                    </a:cubicBezTo>
                    <a:cubicBezTo>
                      <a:pt x="393" y="809"/>
                      <a:pt x="393" y="809"/>
                      <a:pt x="393" y="809"/>
                    </a:cubicBezTo>
                    <a:cubicBezTo>
                      <a:pt x="381" y="797"/>
                      <a:pt x="365" y="790"/>
                      <a:pt x="348" y="790"/>
                    </a:cubicBezTo>
                    <a:cubicBezTo>
                      <a:pt x="343" y="790"/>
                      <a:pt x="337" y="791"/>
                      <a:pt x="332" y="793"/>
                    </a:cubicBezTo>
                    <a:cubicBezTo>
                      <a:pt x="312" y="798"/>
                      <a:pt x="298" y="814"/>
                      <a:pt x="294" y="834"/>
                    </a:cubicBezTo>
                    <a:cubicBezTo>
                      <a:pt x="291" y="847"/>
                      <a:pt x="285" y="857"/>
                      <a:pt x="276" y="866"/>
                    </a:cubicBezTo>
                    <a:cubicBezTo>
                      <a:pt x="273" y="869"/>
                      <a:pt x="273" y="869"/>
                      <a:pt x="273" y="869"/>
                    </a:cubicBezTo>
                    <a:cubicBezTo>
                      <a:pt x="245" y="898"/>
                      <a:pt x="194" y="894"/>
                      <a:pt x="160" y="860"/>
                    </a:cubicBezTo>
                    <a:cubicBezTo>
                      <a:pt x="126" y="826"/>
                      <a:pt x="122" y="775"/>
                      <a:pt x="150" y="746"/>
                    </a:cubicBezTo>
                    <a:cubicBezTo>
                      <a:pt x="153" y="743"/>
                      <a:pt x="153" y="743"/>
                      <a:pt x="153" y="743"/>
                    </a:cubicBezTo>
                    <a:cubicBezTo>
                      <a:pt x="162" y="735"/>
                      <a:pt x="173" y="729"/>
                      <a:pt x="186" y="726"/>
                    </a:cubicBezTo>
                    <a:cubicBezTo>
                      <a:pt x="206" y="722"/>
                      <a:pt x="221" y="707"/>
                      <a:pt x="227" y="688"/>
                    </a:cubicBezTo>
                    <a:cubicBezTo>
                      <a:pt x="233" y="667"/>
                      <a:pt x="227" y="643"/>
                      <a:pt x="211" y="627"/>
                    </a:cubicBezTo>
                    <a:cubicBezTo>
                      <a:pt x="84" y="500"/>
                      <a:pt x="84" y="500"/>
                      <a:pt x="84" y="500"/>
                    </a:cubicBezTo>
                    <a:cubicBezTo>
                      <a:pt x="78" y="494"/>
                      <a:pt x="74" y="487"/>
                      <a:pt x="74" y="480"/>
                    </a:cubicBezTo>
                    <a:cubicBezTo>
                      <a:pt x="74" y="476"/>
                      <a:pt x="74" y="470"/>
                      <a:pt x="79" y="465"/>
                    </a:cubicBezTo>
                    <a:cubicBezTo>
                      <a:pt x="184" y="360"/>
                      <a:pt x="184" y="360"/>
                      <a:pt x="184" y="360"/>
                    </a:cubicBezTo>
                    <a:cubicBezTo>
                      <a:pt x="192" y="380"/>
                      <a:pt x="204" y="398"/>
                      <a:pt x="219" y="414"/>
                    </a:cubicBezTo>
                    <a:cubicBezTo>
                      <a:pt x="223" y="417"/>
                      <a:pt x="223" y="417"/>
                      <a:pt x="223" y="417"/>
                    </a:cubicBezTo>
                    <a:cubicBezTo>
                      <a:pt x="282" y="476"/>
                      <a:pt x="373" y="480"/>
                      <a:pt x="427" y="427"/>
                    </a:cubicBezTo>
                    <a:cubicBezTo>
                      <a:pt x="480" y="373"/>
                      <a:pt x="476" y="282"/>
                      <a:pt x="417" y="223"/>
                    </a:cubicBezTo>
                    <a:cubicBezTo>
                      <a:pt x="414" y="219"/>
                      <a:pt x="414" y="219"/>
                      <a:pt x="414" y="219"/>
                    </a:cubicBezTo>
                    <a:cubicBezTo>
                      <a:pt x="398" y="204"/>
                      <a:pt x="380" y="192"/>
                      <a:pt x="360" y="184"/>
                    </a:cubicBezTo>
                    <a:cubicBezTo>
                      <a:pt x="465" y="79"/>
                      <a:pt x="465" y="79"/>
                      <a:pt x="465" y="79"/>
                    </a:cubicBezTo>
                    <a:cubicBezTo>
                      <a:pt x="473" y="71"/>
                      <a:pt x="489" y="73"/>
                      <a:pt x="500" y="84"/>
                    </a:cubicBezTo>
                    <a:cubicBezTo>
                      <a:pt x="627" y="211"/>
                      <a:pt x="627" y="211"/>
                      <a:pt x="627" y="211"/>
                    </a:cubicBezTo>
                    <a:cubicBezTo>
                      <a:pt x="643" y="227"/>
                      <a:pt x="667" y="233"/>
                      <a:pt x="688" y="227"/>
                    </a:cubicBezTo>
                    <a:cubicBezTo>
                      <a:pt x="707" y="221"/>
                      <a:pt x="722" y="206"/>
                      <a:pt x="726" y="186"/>
                    </a:cubicBezTo>
                    <a:cubicBezTo>
                      <a:pt x="729" y="173"/>
                      <a:pt x="735" y="162"/>
                      <a:pt x="743" y="153"/>
                    </a:cubicBezTo>
                    <a:cubicBezTo>
                      <a:pt x="746" y="150"/>
                      <a:pt x="746" y="150"/>
                      <a:pt x="746" y="150"/>
                    </a:cubicBezTo>
                    <a:cubicBezTo>
                      <a:pt x="760" y="137"/>
                      <a:pt x="778" y="130"/>
                      <a:pt x="799" y="132"/>
                    </a:cubicBezTo>
                    <a:cubicBezTo>
                      <a:pt x="821" y="133"/>
                      <a:pt x="843" y="143"/>
                      <a:pt x="860" y="160"/>
                    </a:cubicBezTo>
                    <a:cubicBezTo>
                      <a:pt x="894" y="194"/>
                      <a:pt x="898" y="245"/>
                      <a:pt x="869" y="273"/>
                    </a:cubicBezTo>
                    <a:cubicBezTo>
                      <a:pt x="866" y="276"/>
                      <a:pt x="866" y="276"/>
                      <a:pt x="866" y="276"/>
                    </a:cubicBezTo>
                    <a:cubicBezTo>
                      <a:pt x="857" y="285"/>
                      <a:pt x="847" y="291"/>
                      <a:pt x="834" y="294"/>
                    </a:cubicBezTo>
                    <a:cubicBezTo>
                      <a:pt x="814" y="298"/>
                      <a:pt x="798" y="312"/>
                      <a:pt x="793" y="332"/>
                    </a:cubicBezTo>
                    <a:cubicBezTo>
                      <a:pt x="786" y="353"/>
                      <a:pt x="793" y="376"/>
                      <a:pt x="809" y="393"/>
                    </a:cubicBezTo>
                    <a:cubicBezTo>
                      <a:pt x="936" y="520"/>
                      <a:pt x="936" y="520"/>
                      <a:pt x="936" y="520"/>
                    </a:cubicBezTo>
                    <a:cubicBezTo>
                      <a:pt x="942" y="525"/>
                      <a:pt x="945" y="533"/>
                      <a:pt x="946" y="540"/>
                    </a:cubicBezTo>
                    <a:cubicBezTo>
                      <a:pt x="946" y="544"/>
                      <a:pt x="945" y="550"/>
                      <a:pt x="941" y="554"/>
                    </a:cubicBezTo>
                    <a:close/>
                    <a:moveTo>
                      <a:pt x="941" y="554"/>
                    </a:moveTo>
                    <a:cubicBezTo>
                      <a:pt x="941" y="554"/>
                      <a:pt x="941" y="554"/>
                      <a:pt x="941" y="5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6"/>
              <p:cNvSpPr>
                <a:spLocks noEditPoints="1"/>
              </p:cNvSpPr>
              <p:nvPr/>
            </p:nvSpPr>
            <p:spPr bwMode="auto">
              <a:xfrm>
                <a:off x="5936" y="3472"/>
                <a:ext cx="121" cy="122"/>
              </a:xfrm>
              <a:custGeom>
                <a:avLst/>
                <a:gdLst>
                  <a:gd name="T0" fmla="*/ 54 w 64"/>
                  <a:gd name="T1" fmla="*/ 10 h 64"/>
                  <a:gd name="T2" fmla="*/ 32 w 64"/>
                  <a:gd name="T3" fmla="*/ 0 h 64"/>
                  <a:gd name="T4" fmla="*/ 9 w 64"/>
                  <a:gd name="T5" fmla="*/ 10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10 h 64"/>
                  <a:gd name="T18" fmla="*/ 54 w 64"/>
                  <a:gd name="T19" fmla="*/ 10 h 64"/>
                  <a:gd name="T20" fmla="*/ 54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10"/>
                    </a:moveTo>
                    <a:cubicBezTo>
                      <a:pt x="48" y="4"/>
                      <a:pt x="40" y="0"/>
                      <a:pt x="32" y="0"/>
                    </a:cubicBezTo>
                    <a:cubicBezTo>
                      <a:pt x="23" y="0"/>
                      <a:pt x="15" y="4"/>
                      <a:pt x="9" y="10"/>
                    </a:cubicBezTo>
                    <a:cubicBezTo>
                      <a:pt x="3" y="16"/>
                      <a:pt x="0" y="24"/>
                      <a:pt x="0" y="32"/>
                    </a:cubicBezTo>
                    <a:cubicBezTo>
                      <a:pt x="0" y="41"/>
                      <a:pt x="3" y="49"/>
                      <a:pt x="9" y="55"/>
                    </a:cubicBezTo>
                    <a:cubicBezTo>
                      <a:pt x="15" y="61"/>
                      <a:pt x="23" y="64"/>
                      <a:pt x="32" y="64"/>
                    </a:cubicBezTo>
                    <a:cubicBezTo>
                      <a:pt x="40" y="64"/>
                      <a:pt x="48" y="61"/>
                      <a:pt x="54" y="55"/>
                    </a:cubicBezTo>
                    <a:cubicBezTo>
                      <a:pt x="60" y="49"/>
                      <a:pt x="64" y="41"/>
                      <a:pt x="64" y="32"/>
                    </a:cubicBezTo>
                    <a:cubicBezTo>
                      <a:pt x="64" y="24"/>
                      <a:pt x="60" y="16"/>
                      <a:pt x="54" y="10"/>
                    </a:cubicBezTo>
                    <a:close/>
                    <a:moveTo>
                      <a:pt x="54" y="10"/>
                    </a:moveTo>
                    <a:cubicBezTo>
                      <a:pt x="54" y="10"/>
                      <a:pt x="54" y="10"/>
                      <a:pt x="5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7"/>
              <p:cNvSpPr>
                <a:spLocks noEditPoints="1"/>
              </p:cNvSpPr>
              <p:nvPr/>
            </p:nvSpPr>
            <p:spPr bwMode="auto">
              <a:xfrm>
                <a:off x="7221" y="1814"/>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8"/>
              <p:cNvSpPr>
                <a:spLocks noEditPoints="1"/>
              </p:cNvSpPr>
              <p:nvPr/>
            </p:nvSpPr>
            <p:spPr bwMode="auto">
              <a:xfrm>
                <a:off x="6000" y="1045"/>
                <a:ext cx="1914" cy="1910"/>
              </a:xfrm>
              <a:custGeom>
                <a:avLst/>
                <a:gdLst>
                  <a:gd name="T0" fmla="*/ 878 w 1011"/>
                  <a:gd name="T1" fmla="*/ 706 h 1009"/>
                  <a:gd name="T2" fmla="*/ 1009 w 1011"/>
                  <a:gd name="T3" fmla="*/ 535 h 1009"/>
                  <a:gd name="T4" fmla="*/ 862 w 1011"/>
                  <a:gd name="T5" fmla="*/ 355 h 1009"/>
                  <a:gd name="T6" fmla="*/ 910 w 1011"/>
                  <a:gd name="T7" fmla="*/ 323 h 1009"/>
                  <a:gd name="T8" fmla="*/ 696 w 1011"/>
                  <a:gd name="T9" fmla="*/ 109 h 1009"/>
                  <a:gd name="T10" fmla="*/ 664 w 1011"/>
                  <a:gd name="T11" fmla="*/ 157 h 1009"/>
                  <a:gd name="T12" fmla="*/ 420 w 1011"/>
                  <a:gd name="T13" fmla="*/ 33 h 1009"/>
                  <a:gd name="T14" fmla="*/ 274 w 1011"/>
                  <a:gd name="T15" fmla="*/ 79 h 1009"/>
                  <a:gd name="T16" fmla="*/ 66 w 1011"/>
                  <a:gd name="T17" fmla="*/ 66 h 1009"/>
                  <a:gd name="T18" fmla="*/ 80 w 1011"/>
                  <a:gd name="T19" fmla="*/ 273 h 1009"/>
                  <a:gd name="T20" fmla="*/ 33 w 1011"/>
                  <a:gd name="T21" fmla="*/ 419 h 1009"/>
                  <a:gd name="T22" fmla="*/ 165 w 1011"/>
                  <a:gd name="T23" fmla="*/ 672 h 1009"/>
                  <a:gd name="T24" fmla="*/ 264 w 1011"/>
                  <a:gd name="T25" fmla="*/ 646 h 1009"/>
                  <a:gd name="T26" fmla="*/ 285 w 1011"/>
                  <a:gd name="T27" fmla="*/ 611 h 1009"/>
                  <a:gd name="T28" fmla="*/ 398 w 1011"/>
                  <a:gd name="T29" fmla="*/ 621 h 1009"/>
                  <a:gd name="T30" fmla="*/ 408 w 1011"/>
                  <a:gd name="T31" fmla="*/ 734 h 1009"/>
                  <a:gd name="T32" fmla="*/ 372 w 1011"/>
                  <a:gd name="T33" fmla="*/ 754 h 1009"/>
                  <a:gd name="T34" fmla="*/ 347 w 1011"/>
                  <a:gd name="T35" fmla="*/ 853 h 1009"/>
                  <a:gd name="T36" fmla="*/ 541 w 1011"/>
                  <a:gd name="T37" fmla="*/ 1009 h 1009"/>
                  <a:gd name="T38" fmla="*/ 707 w 1011"/>
                  <a:gd name="T39" fmla="*/ 878 h 1009"/>
                  <a:gd name="T40" fmla="*/ 749 w 1011"/>
                  <a:gd name="T41" fmla="*/ 943 h 1009"/>
                  <a:gd name="T42" fmla="*/ 943 w 1011"/>
                  <a:gd name="T43" fmla="*/ 748 h 1009"/>
                  <a:gd name="T44" fmla="*/ 907 w 1011"/>
                  <a:gd name="T45" fmla="*/ 907 h 1009"/>
                  <a:gd name="T46" fmla="*/ 790 w 1011"/>
                  <a:gd name="T47" fmla="*/ 894 h 1009"/>
                  <a:gd name="T48" fmla="*/ 721 w 1011"/>
                  <a:gd name="T49" fmla="*/ 813 h 1009"/>
                  <a:gd name="T50" fmla="*/ 554 w 1011"/>
                  <a:gd name="T51" fmla="*/ 940 h 1009"/>
                  <a:gd name="T52" fmla="*/ 519 w 1011"/>
                  <a:gd name="T53" fmla="*/ 935 h 1009"/>
                  <a:gd name="T54" fmla="*/ 450 w 1011"/>
                  <a:gd name="T55" fmla="*/ 782 h 1009"/>
                  <a:gd name="T56" fmla="*/ 490 w 1011"/>
                  <a:gd name="T57" fmla="*/ 677 h 1009"/>
                  <a:gd name="T58" fmla="*/ 341 w 1011"/>
                  <a:gd name="T59" fmla="*/ 528 h 1009"/>
                  <a:gd name="T60" fmla="*/ 236 w 1011"/>
                  <a:gd name="T61" fmla="*/ 569 h 1009"/>
                  <a:gd name="T62" fmla="*/ 83 w 1011"/>
                  <a:gd name="T63" fmla="*/ 499 h 1009"/>
                  <a:gd name="T64" fmla="*/ 79 w 1011"/>
                  <a:gd name="T65" fmla="*/ 464 h 1009"/>
                  <a:gd name="T66" fmla="*/ 206 w 1011"/>
                  <a:gd name="T67" fmla="*/ 298 h 1009"/>
                  <a:gd name="T68" fmla="*/ 125 w 1011"/>
                  <a:gd name="T69" fmla="*/ 228 h 1009"/>
                  <a:gd name="T70" fmla="*/ 112 w 1011"/>
                  <a:gd name="T71" fmla="*/ 111 h 1009"/>
                  <a:gd name="T72" fmla="*/ 229 w 1011"/>
                  <a:gd name="T73" fmla="*/ 124 h 1009"/>
                  <a:gd name="T74" fmla="*/ 298 w 1011"/>
                  <a:gd name="T75" fmla="*/ 205 h 1009"/>
                  <a:gd name="T76" fmla="*/ 465 w 1011"/>
                  <a:gd name="T77" fmla="*/ 78 h 1009"/>
                  <a:gd name="T78" fmla="*/ 624 w 1011"/>
                  <a:gd name="T79" fmla="*/ 207 h 1009"/>
                  <a:gd name="T80" fmla="*/ 722 w 1011"/>
                  <a:gd name="T81" fmla="*/ 186 h 1009"/>
                  <a:gd name="T82" fmla="*/ 741 w 1011"/>
                  <a:gd name="T83" fmla="*/ 154 h 1009"/>
                  <a:gd name="T84" fmla="*/ 864 w 1011"/>
                  <a:gd name="T85" fmla="*/ 277 h 1009"/>
                  <a:gd name="T86" fmla="*/ 833 w 1011"/>
                  <a:gd name="T87" fmla="*/ 297 h 1009"/>
                  <a:gd name="T88" fmla="*/ 811 w 1011"/>
                  <a:gd name="T89" fmla="*/ 395 h 1009"/>
                  <a:gd name="T90" fmla="*/ 945 w 1011"/>
                  <a:gd name="T91" fmla="*/ 539 h 1009"/>
                  <a:gd name="T92" fmla="*/ 889 w 1011"/>
                  <a:gd name="T93" fmla="*/ 605 h 1009"/>
                  <a:gd name="T94" fmla="*/ 738 w 1011"/>
                  <a:gd name="T95" fmla="*/ 499 h 1009"/>
                  <a:gd name="T96" fmla="*/ 844 w 1011"/>
                  <a:gd name="T97" fmla="*/ 650 h 1009"/>
                  <a:gd name="T98" fmla="*/ 813 w 1011"/>
                  <a:gd name="T99" fmla="*/ 720 h 1009"/>
                  <a:gd name="T100" fmla="*/ 894 w 1011"/>
                  <a:gd name="T101" fmla="*/ 790 h 1009"/>
                  <a:gd name="T102" fmla="*/ 907 w 1011"/>
                  <a:gd name="T103" fmla="*/ 907 h 1009"/>
                  <a:gd name="T104" fmla="*/ 907 w 1011"/>
                  <a:gd name="T105" fmla="*/ 907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1" h="1009">
                    <a:moveTo>
                      <a:pt x="939" y="745"/>
                    </a:moveTo>
                    <a:cubicBezTo>
                      <a:pt x="922" y="727"/>
                      <a:pt x="901" y="714"/>
                      <a:pt x="878" y="706"/>
                    </a:cubicBezTo>
                    <a:cubicBezTo>
                      <a:pt x="986" y="599"/>
                      <a:pt x="986" y="599"/>
                      <a:pt x="986" y="599"/>
                    </a:cubicBezTo>
                    <a:cubicBezTo>
                      <a:pt x="1002" y="582"/>
                      <a:pt x="1011" y="559"/>
                      <a:pt x="1009" y="535"/>
                    </a:cubicBezTo>
                    <a:cubicBezTo>
                      <a:pt x="1008" y="512"/>
                      <a:pt x="998" y="491"/>
                      <a:pt x="981" y="474"/>
                    </a:cubicBezTo>
                    <a:cubicBezTo>
                      <a:pt x="862" y="355"/>
                      <a:pt x="862" y="355"/>
                      <a:pt x="862" y="355"/>
                    </a:cubicBezTo>
                    <a:cubicBezTo>
                      <a:pt x="879" y="348"/>
                      <a:pt x="894" y="338"/>
                      <a:pt x="906" y="326"/>
                    </a:cubicBezTo>
                    <a:cubicBezTo>
                      <a:pt x="910" y="323"/>
                      <a:pt x="910" y="323"/>
                      <a:pt x="910" y="323"/>
                    </a:cubicBezTo>
                    <a:cubicBezTo>
                      <a:pt x="963" y="269"/>
                      <a:pt x="959" y="178"/>
                      <a:pt x="900" y="119"/>
                    </a:cubicBezTo>
                    <a:cubicBezTo>
                      <a:pt x="841" y="60"/>
                      <a:pt x="750" y="56"/>
                      <a:pt x="696" y="109"/>
                    </a:cubicBezTo>
                    <a:cubicBezTo>
                      <a:pt x="693" y="112"/>
                      <a:pt x="693" y="112"/>
                      <a:pt x="693" y="112"/>
                    </a:cubicBezTo>
                    <a:cubicBezTo>
                      <a:pt x="680" y="125"/>
                      <a:pt x="671" y="140"/>
                      <a:pt x="664" y="157"/>
                    </a:cubicBezTo>
                    <a:cubicBezTo>
                      <a:pt x="545" y="38"/>
                      <a:pt x="545" y="38"/>
                      <a:pt x="545" y="38"/>
                    </a:cubicBezTo>
                    <a:cubicBezTo>
                      <a:pt x="509" y="2"/>
                      <a:pt x="453" y="0"/>
                      <a:pt x="420" y="33"/>
                    </a:cubicBezTo>
                    <a:cubicBezTo>
                      <a:pt x="312" y="140"/>
                      <a:pt x="312" y="140"/>
                      <a:pt x="312" y="140"/>
                    </a:cubicBezTo>
                    <a:cubicBezTo>
                      <a:pt x="304" y="117"/>
                      <a:pt x="291" y="96"/>
                      <a:pt x="274" y="79"/>
                    </a:cubicBezTo>
                    <a:cubicBezTo>
                      <a:pt x="270" y="76"/>
                      <a:pt x="270" y="76"/>
                      <a:pt x="270" y="76"/>
                    </a:cubicBezTo>
                    <a:cubicBezTo>
                      <a:pt x="211" y="17"/>
                      <a:pt x="120" y="12"/>
                      <a:pt x="66" y="66"/>
                    </a:cubicBezTo>
                    <a:cubicBezTo>
                      <a:pt x="13" y="120"/>
                      <a:pt x="17" y="211"/>
                      <a:pt x="76" y="270"/>
                    </a:cubicBezTo>
                    <a:cubicBezTo>
                      <a:pt x="80" y="273"/>
                      <a:pt x="80" y="273"/>
                      <a:pt x="80" y="273"/>
                    </a:cubicBezTo>
                    <a:cubicBezTo>
                      <a:pt x="97" y="291"/>
                      <a:pt x="118" y="304"/>
                      <a:pt x="141" y="312"/>
                    </a:cubicBezTo>
                    <a:cubicBezTo>
                      <a:pt x="33" y="419"/>
                      <a:pt x="33" y="419"/>
                      <a:pt x="33" y="419"/>
                    </a:cubicBezTo>
                    <a:cubicBezTo>
                      <a:pt x="0" y="452"/>
                      <a:pt x="2" y="509"/>
                      <a:pt x="38" y="544"/>
                    </a:cubicBezTo>
                    <a:cubicBezTo>
                      <a:pt x="165" y="672"/>
                      <a:pt x="165" y="672"/>
                      <a:pt x="165" y="672"/>
                    </a:cubicBezTo>
                    <a:cubicBezTo>
                      <a:pt x="182" y="688"/>
                      <a:pt x="205" y="694"/>
                      <a:pt x="226" y="688"/>
                    </a:cubicBezTo>
                    <a:cubicBezTo>
                      <a:pt x="246" y="682"/>
                      <a:pt x="260" y="666"/>
                      <a:pt x="264" y="646"/>
                    </a:cubicBezTo>
                    <a:cubicBezTo>
                      <a:pt x="267" y="634"/>
                      <a:pt x="273" y="623"/>
                      <a:pt x="282" y="614"/>
                    </a:cubicBezTo>
                    <a:cubicBezTo>
                      <a:pt x="285" y="611"/>
                      <a:pt x="285" y="611"/>
                      <a:pt x="285" y="611"/>
                    </a:cubicBezTo>
                    <a:cubicBezTo>
                      <a:pt x="298" y="598"/>
                      <a:pt x="317" y="591"/>
                      <a:pt x="337" y="592"/>
                    </a:cubicBezTo>
                    <a:cubicBezTo>
                      <a:pt x="360" y="594"/>
                      <a:pt x="381" y="604"/>
                      <a:pt x="398" y="621"/>
                    </a:cubicBezTo>
                    <a:cubicBezTo>
                      <a:pt x="415" y="638"/>
                      <a:pt x="425" y="659"/>
                      <a:pt x="426" y="681"/>
                    </a:cubicBezTo>
                    <a:cubicBezTo>
                      <a:pt x="428" y="702"/>
                      <a:pt x="421" y="721"/>
                      <a:pt x="408" y="734"/>
                    </a:cubicBezTo>
                    <a:cubicBezTo>
                      <a:pt x="405" y="737"/>
                      <a:pt x="405" y="737"/>
                      <a:pt x="405" y="737"/>
                    </a:cubicBezTo>
                    <a:cubicBezTo>
                      <a:pt x="396" y="746"/>
                      <a:pt x="385" y="752"/>
                      <a:pt x="372" y="754"/>
                    </a:cubicBezTo>
                    <a:cubicBezTo>
                      <a:pt x="352" y="759"/>
                      <a:pt x="337" y="773"/>
                      <a:pt x="331" y="793"/>
                    </a:cubicBezTo>
                    <a:cubicBezTo>
                      <a:pt x="325" y="814"/>
                      <a:pt x="331" y="837"/>
                      <a:pt x="347" y="853"/>
                    </a:cubicBezTo>
                    <a:cubicBezTo>
                      <a:pt x="474" y="980"/>
                      <a:pt x="474" y="980"/>
                      <a:pt x="474" y="980"/>
                    </a:cubicBezTo>
                    <a:cubicBezTo>
                      <a:pt x="493" y="999"/>
                      <a:pt x="517" y="1009"/>
                      <a:pt x="541" y="1009"/>
                    </a:cubicBezTo>
                    <a:cubicBezTo>
                      <a:pt x="563" y="1009"/>
                      <a:pt x="584" y="1001"/>
                      <a:pt x="599" y="985"/>
                    </a:cubicBezTo>
                    <a:cubicBezTo>
                      <a:pt x="707" y="878"/>
                      <a:pt x="707" y="878"/>
                      <a:pt x="707" y="878"/>
                    </a:cubicBezTo>
                    <a:cubicBezTo>
                      <a:pt x="715" y="901"/>
                      <a:pt x="728" y="922"/>
                      <a:pt x="745" y="939"/>
                    </a:cubicBezTo>
                    <a:cubicBezTo>
                      <a:pt x="749" y="943"/>
                      <a:pt x="749" y="943"/>
                      <a:pt x="749" y="943"/>
                    </a:cubicBezTo>
                    <a:cubicBezTo>
                      <a:pt x="808" y="1001"/>
                      <a:pt x="899" y="1006"/>
                      <a:pt x="953" y="952"/>
                    </a:cubicBezTo>
                    <a:cubicBezTo>
                      <a:pt x="1006" y="899"/>
                      <a:pt x="1002" y="807"/>
                      <a:pt x="943" y="748"/>
                    </a:cubicBezTo>
                    <a:lnTo>
                      <a:pt x="939" y="745"/>
                    </a:lnTo>
                    <a:close/>
                    <a:moveTo>
                      <a:pt x="907" y="907"/>
                    </a:moveTo>
                    <a:cubicBezTo>
                      <a:pt x="879" y="935"/>
                      <a:pt x="828" y="931"/>
                      <a:pt x="794" y="897"/>
                    </a:cubicBezTo>
                    <a:cubicBezTo>
                      <a:pt x="790" y="894"/>
                      <a:pt x="790" y="894"/>
                      <a:pt x="790" y="894"/>
                    </a:cubicBezTo>
                    <a:cubicBezTo>
                      <a:pt x="779" y="883"/>
                      <a:pt x="771" y="869"/>
                      <a:pt x="766" y="855"/>
                    </a:cubicBezTo>
                    <a:cubicBezTo>
                      <a:pt x="760" y="834"/>
                      <a:pt x="742" y="818"/>
                      <a:pt x="721" y="813"/>
                    </a:cubicBezTo>
                    <a:cubicBezTo>
                      <a:pt x="701" y="808"/>
                      <a:pt x="681" y="813"/>
                      <a:pt x="667" y="827"/>
                    </a:cubicBezTo>
                    <a:cubicBezTo>
                      <a:pt x="554" y="940"/>
                      <a:pt x="554" y="940"/>
                      <a:pt x="554" y="940"/>
                    </a:cubicBezTo>
                    <a:cubicBezTo>
                      <a:pt x="550" y="944"/>
                      <a:pt x="544" y="945"/>
                      <a:pt x="540" y="945"/>
                    </a:cubicBezTo>
                    <a:cubicBezTo>
                      <a:pt x="533" y="944"/>
                      <a:pt x="525" y="941"/>
                      <a:pt x="519" y="935"/>
                    </a:cubicBezTo>
                    <a:cubicBezTo>
                      <a:pt x="398" y="814"/>
                      <a:pt x="398" y="814"/>
                      <a:pt x="398" y="814"/>
                    </a:cubicBezTo>
                    <a:cubicBezTo>
                      <a:pt x="418" y="807"/>
                      <a:pt x="435" y="797"/>
                      <a:pt x="450" y="782"/>
                    </a:cubicBezTo>
                    <a:cubicBezTo>
                      <a:pt x="453" y="779"/>
                      <a:pt x="453" y="779"/>
                      <a:pt x="453" y="779"/>
                    </a:cubicBezTo>
                    <a:cubicBezTo>
                      <a:pt x="479" y="753"/>
                      <a:pt x="493" y="717"/>
                      <a:pt x="490" y="677"/>
                    </a:cubicBezTo>
                    <a:cubicBezTo>
                      <a:pt x="488" y="640"/>
                      <a:pt x="471" y="603"/>
                      <a:pt x="443" y="575"/>
                    </a:cubicBezTo>
                    <a:cubicBezTo>
                      <a:pt x="415" y="547"/>
                      <a:pt x="379" y="531"/>
                      <a:pt x="341" y="528"/>
                    </a:cubicBezTo>
                    <a:cubicBezTo>
                      <a:pt x="302" y="526"/>
                      <a:pt x="266" y="539"/>
                      <a:pt x="239" y="566"/>
                    </a:cubicBezTo>
                    <a:cubicBezTo>
                      <a:pt x="236" y="569"/>
                      <a:pt x="236" y="569"/>
                      <a:pt x="236" y="569"/>
                    </a:cubicBezTo>
                    <a:cubicBezTo>
                      <a:pt x="222" y="583"/>
                      <a:pt x="211" y="601"/>
                      <a:pt x="205" y="621"/>
                    </a:cubicBezTo>
                    <a:cubicBezTo>
                      <a:pt x="83" y="499"/>
                      <a:pt x="83" y="499"/>
                      <a:pt x="83" y="499"/>
                    </a:cubicBezTo>
                    <a:cubicBezTo>
                      <a:pt x="78" y="493"/>
                      <a:pt x="74" y="486"/>
                      <a:pt x="74" y="479"/>
                    </a:cubicBezTo>
                    <a:cubicBezTo>
                      <a:pt x="73" y="475"/>
                      <a:pt x="74" y="469"/>
                      <a:pt x="79" y="464"/>
                    </a:cubicBezTo>
                    <a:cubicBezTo>
                      <a:pt x="191" y="352"/>
                      <a:pt x="191" y="352"/>
                      <a:pt x="191" y="352"/>
                    </a:cubicBezTo>
                    <a:cubicBezTo>
                      <a:pt x="205" y="338"/>
                      <a:pt x="211" y="318"/>
                      <a:pt x="206" y="298"/>
                    </a:cubicBezTo>
                    <a:cubicBezTo>
                      <a:pt x="201" y="276"/>
                      <a:pt x="185" y="259"/>
                      <a:pt x="164" y="252"/>
                    </a:cubicBezTo>
                    <a:cubicBezTo>
                      <a:pt x="149" y="248"/>
                      <a:pt x="136" y="239"/>
                      <a:pt x="125" y="228"/>
                    </a:cubicBezTo>
                    <a:cubicBezTo>
                      <a:pt x="121" y="225"/>
                      <a:pt x="121" y="225"/>
                      <a:pt x="121" y="225"/>
                    </a:cubicBezTo>
                    <a:cubicBezTo>
                      <a:pt x="87" y="191"/>
                      <a:pt x="83" y="140"/>
                      <a:pt x="112" y="111"/>
                    </a:cubicBezTo>
                    <a:cubicBezTo>
                      <a:pt x="140" y="83"/>
                      <a:pt x="191" y="87"/>
                      <a:pt x="225" y="121"/>
                    </a:cubicBezTo>
                    <a:cubicBezTo>
                      <a:pt x="229" y="124"/>
                      <a:pt x="229" y="124"/>
                      <a:pt x="229" y="124"/>
                    </a:cubicBezTo>
                    <a:cubicBezTo>
                      <a:pt x="240" y="135"/>
                      <a:pt x="248" y="149"/>
                      <a:pt x="253" y="163"/>
                    </a:cubicBezTo>
                    <a:cubicBezTo>
                      <a:pt x="259" y="184"/>
                      <a:pt x="277" y="200"/>
                      <a:pt x="298" y="205"/>
                    </a:cubicBezTo>
                    <a:cubicBezTo>
                      <a:pt x="318" y="210"/>
                      <a:pt x="338" y="205"/>
                      <a:pt x="352" y="191"/>
                    </a:cubicBezTo>
                    <a:cubicBezTo>
                      <a:pt x="465" y="78"/>
                      <a:pt x="465" y="78"/>
                      <a:pt x="465" y="78"/>
                    </a:cubicBezTo>
                    <a:cubicBezTo>
                      <a:pt x="473" y="70"/>
                      <a:pt x="489" y="72"/>
                      <a:pt x="500" y="83"/>
                    </a:cubicBezTo>
                    <a:cubicBezTo>
                      <a:pt x="624" y="207"/>
                      <a:pt x="624" y="207"/>
                      <a:pt x="624" y="207"/>
                    </a:cubicBezTo>
                    <a:cubicBezTo>
                      <a:pt x="640" y="223"/>
                      <a:pt x="662" y="229"/>
                      <a:pt x="683" y="224"/>
                    </a:cubicBezTo>
                    <a:cubicBezTo>
                      <a:pt x="702" y="219"/>
                      <a:pt x="717" y="205"/>
                      <a:pt x="722" y="186"/>
                    </a:cubicBezTo>
                    <a:cubicBezTo>
                      <a:pt x="725" y="175"/>
                      <a:pt x="731" y="165"/>
                      <a:pt x="738" y="157"/>
                    </a:cubicBezTo>
                    <a:cubicBezTo>
                      <a:pt x="741" y="154"/>
                      <a:pt x="741" y="154"/>
                      <a:pt x="741" y="154"/>
                    </a:cubicBezTo>
                    <a:cubicBezTo>
                      <a:pt x="770" y="126"/>
                      <a:pt x="821" y="130"/>
                      <a:pt x="855" y="164"/>
                    </a:cubicBezTo>
                    <a:cubicBezTo>
                      <a:pt x="889" y="198"/>
                      <a:pt x="893" y="249"/>
                      <a:pt x="864" y="277"/>
                    </a:cubicBezTo>
                    <a:cubicBezTo>
                      <a:pt x="861" y="280"/>
                      <a:pt x="861" y="280"/>
                      <a:pt x="861" y="280"/>
                    </a:cubicBezTo>
                    <a:cubicBezTo>
                      <a:pt x="853" y="288"/>
                      <a:pt x="844" y="294"/>
                      <a:pt x="833" y="297"/>
                    </a:cubicBezTo>
                    <a:cubicBezTo>
                      <a:pt x="814" y="302"/>
                      <a:pt x="800" y="317"/>
                      <a:pt x="795" y="336"/>
                    </a:cubicBezTo>
                    <a:cubicBezTo>
                      <a:pt x="789" y="356"/>
                      <a:pt x="796" y="379"/>
                      <a:pt x="811" y="395"/>
                    </a:cubicBezTo>
                    <a:cubicBezTo>
                      <a:pt x="936" y="519"/>
                      <a:pt x="936" y="519"/>
                      <a:pt x="936" y="519"/>
                    </a:cubicBezTo>
                    <a:cubicBezTo>
                      <a:pt x="941" y="525"/>
                      <a:pt x="945" y="532"/>
                      <a:pt x="945" y="539"/>
                    </a:cubicBezTo>
                    <a:cubicBezTo>
                      <a:pt x="946" y="543"/>
                      <a:pt x="945" y="549"/>
                      <a:pt x="940" y="554"/>
                    </a:cubicBezTo>
                    <a:cubicBezTo>
                      <a:pt x="889" y="605"/>
                      <a:pt x="889" y="605"/>
                      <a:pt x="889" y="605"/>
                    </a:cubicBezTo>
                    <a:cubicBezTo>
                      <a:pt x="783" y="499"/>
                      <a:pt x="783" y="499"/>
                      <a:pt x="783" y="499"/>
                    </a:cubicBezTo>
                    <a:cubicBezTo>
                      <a:pt x="771" y="486"/>
                      <a:pt x="750" y="486"/>
                      <a:pt x="738" y="499"/>
                    </a:cubicBezTo>
                    <a:cubicBezTo>
                      <a:pt x="725" y="511"/>
                      <a:pt x="725" y="532"/>
                      <a:pt x="738" y="544"/>
                    </a:cubicBezTo>
                    <a:cubicBezTo>
                      <a:pt x="844" y="650"/>
                      <a:pt x="844" y="650"/>
                      <a:pt x="844" y="650"/>
                    </a:cubicBezTo>
                    <a:cubicBezTo>
                      <a:pt x="828" y="666"/>
                      <a:pt x="828" y="666"/>
                      <a:pt x="828" y="666"/>
                    </a:cubicBezTo>
                    <a:cubicBezTo>
                      <a:pt x="814" y="680"/>
                      <a:pt x="808" y="700"/>
                      <a:pt x="813" y="720"/>
                    </a:cubicBezTo>
                    <a:cubicBezTo>
                      <a:pt x="818" y="742"/>
                      <a:pt x="834" y="759"/>
                      <a:pt x="855" y="766"/>
                    </a:cubicBezTo>
                    <a:cubicBezTo>
                      <a:pt x="870" y="770"/>
                      <a:pt x="883" y="779"/>
                      <a:pt x="894" y="790"/>
                    </a:cubicBezTo>
                    <a:cubicBezTo>
                      <a:pt x="898" y="793"/>
                      <a:pt x="898" y="793"/>
                      <a:pt x="898" y="793"/>
                    </a:cubicBezTo>
                    <a:cubicBezTo>
                      <a:pt x="932" y="827"/>
                      <a:pt x="936" y="878"/>
                      <a:pt x="907" y="907"/>
                    </a:cubicBezTo>
                    <a:close/>
                    <a:moveTo>
                      <a:pt x="907" y="907"/>
                    </a:moveTo>
                    <a:cubicBezTo>
                      <a:pt x="907" y="907"/>
                      <a:pt x="907" y="907"/>
                      <a:pt x="907" y="90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7" name="Group 36"/>
          <p:cNvGrpSpPr/>
          <p:nvPr/>
        </p:nvGrpSpPr>
        <p:grpSpPr>
          <a:xfrm>
            <a:off x="298054" y="3855302"/>
            <a:ext cx="731520" cy="731520"/>
            <a:chOff x="298054" y="3363998"/>
            <a:chExt cx="731520" cy="731520"/>
          </a:xfrm>
        </p:grpSpPr>
        <p:sp>
          <p:nvSpPr>
            <p:cNvPr id="36" name="Oval 35"/>
            <p:cNvSpPr>
              <a:spLocks/>
            </p:cNvSpPr>
            <p:nvPr/>
          </p:nvSpPr>
          <p:spPr>
            <a:xfrm>
              <a:off x="298054" y="3363998"/>
              <a:ext cx="731520" cy="7315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377"/>
            <p:cNvGrpSpPr>
              <a:grpSpLocks noChangeAspect="1"/>
            </p:cNvGrpSpPr>
            <p:nvPr/>
          </p:nvGrpSpPr>
          <p:grpSpPr bwMode="auto">
            <a:xfrm>
              <a:off x="435288" y="3501158"/>
              <a:ext cx="457053" cy="457200"/>
              <a:chOff x="653" y="1369"/>
              <a:chExt cx="3101" cy="3102"/>
            </a:xfrm>
            <a:solidFill>
              <a:schemeClr val="bg1"/>
            </a:solidFill>
          </p:grpSpPr>
          <p:sp>
            <p:nvSpPr>
              <p:cNvPr id="27" name="Freeform 378"/>
              <p:cNvSpPr>
                <a:spLocks noEditPoints="1"/>
              </p:cNvSpPr>
              <p:nvPr/>
            </p:nvSpPr>
            <p:spPr bwMode="auto">
              <a:xfrm>
                <a:off x="653" y="1369"/>
                <a:ext cx="3101" cy="3102"/>
              </a:xfrm>
              <a:custGeom>
                <a:avLst/>
                <a:gdLst>
                  <a:gd name="T0" fmla="*/ 1480 w 1638"/>
                  <a:gd name="T1" fmla="*/ 647 h 1638"/>
                  <a:gd name="T2" fmla="*/ 1475 w 1638"/>
                  <a:gd name="T3" fmla="*/ 407 h 1638"/>
                  <a:gd name="T4" fmla="*/ 1322 w 1638"/>
                  <a:gd name="T5" fmla="*/ 163 h 1638"/>
                  <a:gd name="T6" fmla="*/ 1164 w 1638"/>
                  <a:gd name="T7" fmla="*/ 230 h 1638"/>
                  <a:gd name="T8" fmla="*/ 992 w 1638"/>
                  <a:gd name="T9" fmla="*/ 64 h 1638"/>
                  <a:gd name="T10" fmla="*/ 710 w 1638"/>
                  <a:gd name="T11" fmla="*/ 0 h 1638"/>
                  <a:gd name="T12" fmla="*/ 647 w 1638"/>
                  <a:gd name="T13" fmla="*/ 159 h 1638"/>
                  <a:gd name="T14" fmla="*/ 407 w 1638"/>
                  <a:gd name="T15" fmla="*/ 163 h 1638"/>
                  <a:gd name="T16" fmla="*/ 163 w 1638"/>
                  <a:gd name="T17" fmla="*/ 317 h 1638"/>
                  <a:gd name="T18" fmla="*/ 230 w 1638"/>
                  <a:gd name="T19" fmla="*/ 475 h 1638"/>
                  <a:gd name="T20" fmla="*/ 64 w 1638"/>
                  <a:gd name="T21" fmla="*/ 646 h 1638"/>
                  <a:gd name="T22" fmla="*/ 0 w 1638"/>
                  <a:gd name="T23" fmla="*/ 928 h 1638"/>
                  <a:gd name="T24" fmla="*/ 159 w 1638"/>
                  <a:gd name="T25" fmla="*/ 992 h 1638"/>
                  <a:gd name="T26" fmla="*/ 163 w 1638"/>
                  <a:gd name="T27" fmla="*/ 1231 h 1638"/>
                  <a:gd name="T28" fmla="*/ 317 w 1638"/>
                  <a:gd name="T29" fmla="*/ 1475 h 1638"/>
                  <a:gd name="T30" fmla="*/ 475 w 1638"/>
                  <a:gd name="T31" fmla="*/ 1408 h 1638"/>
                  <a:gd name="T32" fmla="*/ 646 w 1638"/>
                  <a:gd name="T33" fmla="*/ 1574 h 1638"/>
                  <a:gd name="T34" fmla="*/ 928 w 1638"/>
                  <a:gd name="T35" fmla="*/ 1638 h 1638"/>
                  <a:gd name="T36" fmla="*/ 992 w 1638"/>
                  <a:gd name="T37" fmla="*/ 1479 h 1638"/>
                  <a:gd name="T38" fmla="*/ 1231 w 1638"/>
                  <a:gd name="T39" fmla="*/ 1475 h 1638"/>
                  <a:gd name="T40" fmla="*/ 1475 w 1638"/>
                  <a:gd name="T41" fmla="*/ 1322 h 1638"/>
                  <a:gd name="T42" fmla="*/ 1408 w 1638"/>
                  <a:gd name="T43" fmla="*/ 1164 h 1638"/>
                  <a:gd name="T44" fmla="*/ 1574 w 1638"/>
                  <a:gd name="T45" fmla="*/ 992 h 1638"/>
                  <a:gd name="T46" fmla="*/ 1638 w 1638"/>
                  <a:gd name="T47" fmla="*/ 710 h 1638"/>
                  <a:gd name="T48" fmla="*/ 1574 w 1638"/>
                  <a:gd name="T49" fmla="*/ 928 h 1638"/>
                  <a:gd name="T50" fmla="*/ 1418 w 1638"/>
                  <a:gd name="T51" fmla="*/ 976 h 1638"/>
                  <a:gd name="T52" fmla="*/ 1363 w 1638"/>
                  <a:gd name="T53" fmla="*/ 1209 h 1638"/>
                  <a:gd name="T54" fmla="*/ 1276 w 1638"/>
                  <a:gd name="T55" fmla="*/ 1430 h 1638"/>
                  <a:gd name="T56" fmla="*/ 1132 w 1638"/>
                  <a:gd name="T57" fmla="*/ 1353 h 1638"/>
                  <a:gd name="T58" fmla="*/ 928 w 1638"/>
                  <a:gd name="T59" fmla="*/ 1479 h 1638"/>
                  <a:gd name="T60" fmla="*/ 710 w 1638"/>
                  <a:gd name="T61" fmla="*/ 1574 h 1638"/>
                  <a:gd name="T62" fmla="*/ 663 w 1638"/>
                  <a:gd name="T63" fmla="*/ 1417 h 1638"/>
                  <a:gd name="T64" fmla="*/ 475 w 1638"/>
                  <a:gd name="T65" fmla="*/ 1344 h 1638"/>
                  <a:gd name="T66" fmla="*/ 362 w 1638"/>
                  <a:gd name="T67" fmla="*/ 1430 h 1638"/>
                  <a:gd name="T68" fmla="*/ 276 w 1638"/>
                  <a:gd name="T69" fmla="*/ 1209 h 1638"/>
                  <a:gd name="T70" fmla="*/ 221 w 1638"/>
                  <a:gd name="T71" fmla="*/ 976 h 1638"/>
                  <a:gd name="T72" fmla="*/ 64 w 1638"/>
                  <a:gd name="T73" fmla="*/ 928 h 1638"/>
                  <a:gd name="T74" fmla="*/ 159 w 1638"/>
                  <a:gd name="T75" fmla="*/ 710 h 1638"/>
                  <a:gd name="T76" fmla="*/ 286 w 1638"/>
                  <a:gd name="T77" fmla="*/ 507 h 1638"/>
                  <a:gd name="T78" fmla="*/ 208 w 1638"/>
                  <a:gd name="T79" fmla="*/ 362 h 1638"/>
                  <a:gd name="T80" fmla="*/ 429 w 1638"/>
                  <a:gd name="T81" fmla="*/ 275 h 1638"/>
                  <a:gd name="T82" fmla="*/ 663 w 1638"/>
                  <a:gd name="T83" fmla="*/ 221 h 1638"/>
                  <a:gd name="T84" fmla="*/ 710 w 1638"/>
                  <a:gd name="T85" fmla="*/ 64 h 1638"/>
                  <a:gd name="T86" fmla="*/ 928 w 1638"/>
                  <a:gd name="T87" fmla="*/ 159 h 1638"/>
                  <a:gd name="T88" fmla="*/ 1132 w 1638"/>
                  <a:gd name="T89" fmla="*/ 285 h 1638"/>
                  <a:gd name="T90" fmla="*/ 1276 w 1638"/>
                  <a:gd name="T91" fmla="*/ 208 h 1638"/>
                  <a:gd name="T92" fmla="*/ 1363 w 1638"/>
                  <a:gd name="T93" fmla="*/ 429 h 1638"/>
                  <a:gd name="T94" fmla="*/ 1418 w 1638"/>
                  <a:gd name="T95" fmla="*/ 663 h 1638"/>
                  <a:gd name="T96" fmla="*/ 1574 w 1638"/>
                  <a:gd name="T97" fmla="*/ 710 h 1638"/>
                  <a:gd name="T98" fmla="*/ 1574 w 1638"/>
                  <a:gd name="T99" fmla="*/ 928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38" h="1638">
                    <a:moveTo>
                      <a:pt x="1574" y="646"/>
                    </a:moveTo>
                    <a:cubicBezTo>
                      <a:pt x="1480" y="647"/>
                      <a:pt x="1480" y="647"/>
                      <a:pt x="1480" y="647"/>
                    </a:cubicBezTo>
                    <a:cubicBezTo>
                      <a:pt x="1464" y="586"/>
                      <a:pt x="1440" y="528"/>
                      <a:pt x="1409" y="474"/>
                    </a:cubicBezTo>
                    <a:cubicBezTo>
                      <a:pt x="1475" y="407"/>
                      <a:pt x="1475" y="407"/>
                      <a:pt x="1475" y="407"/>
                    </a:cubicBezTo>
                    <a:cubicBezTo>
                      <a:pt x="1500" y="382"/>
                      <a:pt x="1500" y="342"/>
                      <a:pt x="1475" y="317"/>
                    </a:cubicBezTo>
                    <a:cubicBezTo>
                      <a:pt x="1322" y="163"/>
                      <a:pt x="1322" y="163"/>
                      <a:pt x="1322" y="163"/>
                    </a:cubicBezTo>
                    <a:cubicBezTo>
                      <a:pt x="1297" y="138"/>
                      <a:pt x="1256" y="138"/>
                      <a:pt x="1231" y="163"/>
                    </a:cubicBezTo>
                    <a:cubicBezTo>
                      <a:pt x="1164" y="230"/>
                      <a:pt x="1164" y="230"/>
                      <a:pt x="1164" y="230"/>
                    </a:cubicBezTo>
                    <a:cubicBezTo>
                      <a:pt x="1110" y="198"/>
                      <a:pt x="1052" y="174"/>
                      <a:pt x="992" y="159"/>
                    </a:cubicBezTo>
                    <a:cubicBezTo>
                      <a:pt x="992" y="64"/>
                      <a:pt x="992" y="64"/>
                      <a:pt x="992" y="64"/>
                    </a:cubicBezTo>
                    <a:cubicBezTo>
                      <a:pt x="992" y="29"/>
                      <a:pt x="963" y="0"/>
                      <a:pt x="928" y="0"/>
                    </a:cubicBezTo>
                    <a:cubicBezTo>
                      <a:pt x="710" y="0"/>
                      <a:pt x="710" y="0"/>
                      <a:pt x="710" y="0"/>
                    </a:cubicBezTo>
                    <a:cubicBezTo>
                      <a:pt x="675" y="0"/>
                      <a:pt x="646" y="29"/>
                      <a:pt x="646" y="64"/>
                    </a:cubicBezTo>
                    <a:cubicBezTo>
                      <a:pt x="647" y="159"/>
                      <a:pt x="647" y="159"/>
                      <a:pt x="647" y="159"/>
                    </a:cubicBezTo>
                    <a:cubicBezTo>
                      <a:pt x="586" y="174"/>
                      <a:pt x="528" y="199"/>
                      <a:pt x="475" y="230"/>
                    </a:cubicBezTo>
                    <a:cubicBezTo>
                      <a:pt x="407" y="163"/>
                      <a:pt x="407" y="163"/>
                      <a:pt x="407" y="163"/>
                    </a:cubicBezTo>
                    <a:cubicBezTo>
                      <a:pt x="382" y="138"/>
                      <a:pt x="342" y="138"/>
                      <a:pt x="317" y="163"/>
                    </a:cubicBezTo>
                    <a:cubicBezTo>
                      <a:pt x="163" y="317"/>
                      <a:pt x="163" y="317"/>
                      <a:pt x="163" y="317"/>
                    </a:cubicBezTo>
                    <a:cubicBezTo>
                      <a:pt x="138" y="342"/>
                      <a:pt x="138" y="382"/>
                      <a:pt x="163" y="407"/>
                    </a:cubicBezTo>
                    <a:cubicBezTo>
                      <a:pt x="230" y="475"/>
                      <a:pt x="230" y="475"/>
                      <a:pt x="230" y="475"/>
                    </a:cubicBezTo>
                    <a:cubicBezTo>
                      <a:pt x="199" y="528"/>
                      <a:pt x="175" y="586"/>
                      <a:pt x="159" y="646"/>
                    </a:cubicBezTo>
                    <a:cubicBezTo>
                      <a:pt x="64" y="646"/>
                      <a:pt x="64" y="646"/>
                      <a:pt x="64" y="646"/>
                    </a:cubicBezTo>
                    <a:cubicBezTo>
                      <a:pt x="29" y="646"/>
                      <a:pt x="0" y="675"/>
                      <a:pt x="0" y="710"/>
                    </a:cubicBezTo>
                    <a:cubicBezTo>
                      <a:pt x="0" y="928"/>
                      <a:pt x="0" y="928"/>
                      <a:pt x="0" y="928"/>
                    </a:cubicBezTo>
                    <a:cubicBezTo>
                      <a:pt x="0" y="963"/>
                      <a:pt x="29" y="992"/>
                      <a:pt x="64" y="992"/>
                    </a:cubicBezTo>
                    <a:cubicBezTo>
                      <a:pt x="159" y="992"/>
                      <a:pt x="159" y="992"/>
                      <a:pt x="159" y="992"/>
                    </a:cubicBezTo>
                    <a:cubicBezTo>
                      <a:pt x="175" y="1052"/>
                      <a:pt x="199" y="1110"/>
                      <a:pt x="231" y="1163"/>
                    </a:cubicBezTo>
                    <a:cubicBezTo>
                      <a:pt x="163" y="1231"/>
                      <a:pt x="163" y="1231"/>
                      <a:pt x="163" y="1231"/>
                    </a:cubicBezTo>
                    <a:cubicBezTo>
                      <a:pt x="138" y="1256"/>
                      <a:pt x="138" y="1297"/>
                      <a:pt x="163" y="1322"/>
                    </a:cubicBezTo>
                    <a:cubicBezTo>
                      <a:pt x="317" y="1475"/>
                      <a:pt x="317" y="1475"/>
                      <a:pt x="317" y="1475"/>
                    </a:cubicBezTo>
                    <a:cubicBezTo>
                      <a:pt x="342" y="1500"/>
                      <a:pt x="382" y="1500"/>
                      <a:pt x="407" y="1475"/>
                    </a:cubicBezTo>
                    <a:cubicBezTo>
                      <a:pt x="475" y="1408"/>
                      <a:pt x="475" y="1408"/>
                      <a:pt x="475" y="1408"/>
                    </a:cubicBezTo>
                    <a:cubicBezTo>
                      <a:pt x="529" y="1439"/>
                      <a:pt x="586" y="1463"/>
                      <a:pt x="646" y="1479"/>
                    </a:cubicBezTo>
                    <a:cubicBezTo>
                      <a:pt x="646" y="1574"/>
                      <a:pt x="646" y="1574"/>
                      <a:pt x="646" y="1574"/>
                    </a:cubicBezTo>
                    <a:cubicBezTo>
                      <a:pt x="646" y="1610"/>
                      <a:pt x="675" y="1638"/>
                      <a:pt x="710" y="1638"/>
                    </a:cubicBezTo>
                    <a:cubicBezTo>
                      <a:pt x="928" y="1638"/>
                      <a:pt x="928" y="1638"/>
                      <a:pt x="928" y="1638"/>
                    </a:cubicBezTo>
                    <a:cubicBezTo>
                      <a:pt x="963" y="1638"/>
                      <a:pt x="992" y="1610"/>
                      <a:pt x="992" y="1574"/>
                    </a:cubicBezTo>
                    <a:cubicBezTo>
                      <a:pt x="992" y="1479"/>
                      <a:pt x="992" y="1479"/>
                      <a:pt x="992" y="1479"/>
                    </a:cubicBezTo>
                    <a:cubicBezTo>
                      <a:pt x="1052" y="1463"/>
                      <a:pt x="1110" y="1440"/>
                      <a:pt x="1164" y="1408"/>
                    </a:cubicBezTo>
                    <a:cubicBezTo>
                      <a:pt x="1231" y="1475"/>
                      <a:pt x="1231" y="1475"/>
                      <a:pt x="1231" y="1475"/>
                    </a:cubicBezTo>
                    <a:cubicBezTo>
                      <a:pt x="1256" y="1500"/>
                      <a:pt x="1297" y="1500"/>
                      <a:pt x="1322" y="1475"/>
                    </a:cubicBezTo>
                    <a:cubicBezTo>
                      <a:pt x="1475" y="1322"/>
                      <a:pt x="1475" y="1322"/>
                      <a:pt x="1475" y="1322"/>
                    </a:cubicBezTo>
                    <a:cubicBezTo>
                      <a:pt x="1500" y="1297"/>
                      <a:pt x="1500" y="1256"/>
                      <a:pt x="1475" y="1231"/>
                    </a:cubicBezTo>
                    <a:cubicBezTo>
                      <a:pt x="1408" y="1164"/>
                      <a:pt x="1408" y="1164"/>
                      <a:pt x="1408" y="1164"/>
                    </a:cubicBezTo>
                    <a:cubicBezTo>
                      <a:pt x="1440" y="1110"/>
                      <a:pt x="1464" y="1052"/>
                      <a:pt x="1480" y="992"/>
                    </a:cubicBezTo>
                    <a:cubicBezTo>
                      <a:pt x="1574" y="992"/>
                      <a:pt x="1574" y="992"/>
                      <a:pt x="1574" y="992"/>
                    </a:cubicBezTo>
                    <a:cubicBezTo>
                      <a:pt x="1610" y="992"/>
                      <a:pt x="1638" y="963"/>
                      <a:pt x="1638" y="928"/>
                    </a:cubicBezTo>
                    <a:cubicBezTo>
                      <a:pt x="1638" y="710"/>
                      <a:pt x="1638" y="710"/>
                      <a:pt x="1638" y="710"/>
                    </a:cubicBezTo>
                    <a:cubicBezTo>
                      <a:pt x="1638" y="675"/>
                      <a:pt x="1610" y="646"/>
                      <a:pt x="1574" y="646"/>
                    </a:cubicBezTo>
                    <a:close/>
                    <a:moveTo>
                      <a:pt x="1574" y="928"/>
                    </a:moveTo>
                    <a:cubicBezTo>
                      <a:pt x="1480" y="928"/>
                      <a:pt x="1480" y="928"/>
                      <a:pt x="1480" y="928"/>
                    </a:cubicBezTo>
                    <a:cubicBezTo>
                      <a:pt x="1451" y="928"/>
                      <a:pt x="1425" y="948"/>
                      <a:pt x="1418" y="976"/>
                    </a:cubicBezTo>
                    <a:cubicBezTo>
                      <a:pt x="1404" y="1030"/>
                      <a:pt x="1382" y="1083"/>
                      <a:pt x="1353" y="1132"/>
                    </a:cubicBezTo>
                    <a:cubicBezTo>
                      <a:pt x="1338" y="1157"/>
                      <a:pt x="1342" y="1189"/>
                      <a:pt x="1363" y="1209"/>
                    </a:cubicBezTo>
                    <a:cubicBezTo>
                      <a:pt x="1430" y="1276"/>
                      <a:pt x="1430" y="1276"/>
                      <a:pt x="1430" y="1276"/>
                    </a:cubicBezTo>
                    <a:cubicBezTo>
                      <a:pt x="1276" y="1430"/>
                      <a:pt x="1276" y="1430"/>
                      <a:pt x="1276" y="1430"/>
                    </a:cubicBezTo>
                    <a:cubicBezTo>
                      <a:pt x="1209" y="1363"/>
                      <a:pt x="1209" y="1363"/>
                      <a:pt x="1209" y="1363"/>
                    </a:cubicBezTo>
                    <a:cubicBezTo>
                      <a:pt x="1188" y="1342"/>
                      <a:pt x="1157" y="1338"/>
                      <a:pt x="1132" y="1353"/>
                    </a:cubicBezTo>
                    <a:cubicBezTo>
                      <a:pt x="1083" y="1381"/>
                      <a:pt x="1030" y="1403"/>
                      <a:pt x="976" y="1417"/>
                    </a:cubicBezTo>
                    <a:cubicBezTo>
                      <a:pt x="948" y="1424"/>
                      <a:pt x="928" y="1450"/>
                      <a:pt x="928" y="1479"/>
                    </a:cubicBezTo>
                    <a:cubicBezTo>
                      <a:pt x="928" y="1574"/>
                      <a:pt x="928" y="1574"/>
                      <a:pt x="928" y="1574"/>
                    </a:cubicBezTo>
                    <a:cubicBezTo>
                      <a:pt x="710" y="1574"/>
                      <a:pt x="710" y="1574"/>
                      <a:pt x="710" y="1574"/>
                    </a:cubicBezTo>
                    <a:cubicBezTo>
                      <a:pt x="710" y="1479"/>
                      <a:pt x="710" y="1479"/>
                      <a:pt x="710" y="1479"/>
                    </a:cubicBezTo>
                    <a:cubicBezTo>
                      <a:pt x="710" y="1450"/>
                      <a:pt x="691" y="1424"/>
                      <a:pt x="663" y="1417"/>
                    </a:cubicBezTo>
                    <a:cubicBezTo>
                      <a:pt x="608" y="1403"/>
                      <a:pt x="556" y="1381"/>
                      <a:pt x="507" y="1352"/>
                    </a:cubicBezTo>
                    <a:cubicBezTo>
                      <a:pt x="497" y="1347"/>
                      <a:pt x="486" y="1344"/>
                      <a:pt x="475" y="1344"/>
                    </a:cubicBezTo>
                    <a:cubicBezTo>
                      <a:pt x="459" y="1344"/>
                      <a:pt x="442" y="1350"/>
                      <a:pt x="430" y="1363"/>
                    </a:cubicBezTo>
                    <a:cubicBezTo>
                      <a:pt x="362" y="1430"/>
                      <a:pt x="362" y="1430"/>
                      <a:pt x="362" y="1430"/>
                    </a:cubicBezTo>
                    <a:cubicBezTo>
                      <a:pt x="208" y="1276"/>
                      <a:pt x="208" y="1276"/>
                      <a:pt x="208" y="1276"/>
                    </a:cubicBezTo>
                    <a:cubicBezTo>
                      <a:pt x="276" y="1209"/>
                      <a:pt x="276" y="1209"/>
                      <a:pt x="276" y="1209"/>
                    </a:cubicBezTo>
                    <a:cubicBezTo>
                      <a:pt x="296" y="1188"/>
                      <a:pt x="301" y="1156"/>
                      <a:pt x="286" y="1131"/>
                    </a:cubicBezTo>
                    <a:cubicBezTo>
                      <a:pt x="257" y="1082"/>
                      <a:pt x="236" y="1030"/>
                      <a:pt x="221" y="976"/>
                    </a:cubicBezTo>
                    <a:cubicBezTo>
                      <a:pt x="214" y="948"/>
                      <a:pt x="189" y="928"/>
                      <a:pt x="160" y="928"/>
                    </a:cubicBezTo>
                    <a:cubicBezTo>
                      <a:pt x="64" y="928"/>
                      <a:pt x="64" y="928"/>
                      <a:pt x="64" y="928"/>
                    </a:cubicBezTo>
                    <a:cubicBezTo>
                      <a:pt x="64" y="710"/>
                      <a:pt x="64" y="710"/>
                      <a:pt x="64" y="710"/>
                    </a:cubicBezTo>
                    <a:cubicBezTo>
                      <a:pt x="159" y="710"/>
                      <a:pt x="159" y="710"/>
                      <a:pt x="159" y="710"/>
                    </a:cubicBezTo>
                    <a:cubicBezTo>
                      <a:pt x="188" y="710"/>
                      <a:pt x="214" y="691"/>
                      <a:pt x="221" y="663"/>
                    </a:cubicBezTo>
                    <a:cubicBezTo>
                      <a:pt x="235" y="608"/>
                      <a:pt x="257" y="556"/>
                      <a:pt x="286" y="507"/>
                    </a:cubicBezTo>
                    <a:cubicBezTo>
                      <a:pt x="300" y="482"/>
                      <a:pt x="296" y="450"/>
                      <a:pt x="276" y="429"/>
                    </a:cubicBezTo>
                    <a:cubicBezTo>
                      <a:pt x="208" y="362"/>
                      <a:pt x="208" y="362"/>
                      <a:pt x="208" y="362"/>
                    </a:cubicBezTo>
                    <a:cubicBezTo>
                      <a:pt x="362" y="208"/>
                      <a:pt x="362" y="208"/>
                      <a:pt x="362" y="208"/>
                    </a:cubicBezTo>
                    <a:cubicBezTo>
                      <a:pt x="429" y="275"/>
                      <a:pt x="429" y="275"/>
                      <a:pt x="429" y="275"/>
                    </a:cubicBezTo>
                    <a:cubicBezTo>
                      <a:pt x="450" y="296"/>
                      <a:pt x="482" y="300"/>
                      <a:pt x="507" y="285"/>
                    </a:cubicBezTo>
                    <a:cubicBezTo>
                      <a:pt x="556" y="257"/>
                      <a:pt x="608" y="235"/>
                      <a:pt x="663" y="221"/>
                    </a:cubicBezTo>
                    <a:cubicBezTo>
                      <a:pt x="691" y="213"/>
                      <a:pt x="710" y="188"/>
                      <a:pt x="710" y="159"/>
                    </a:cubicBezTo>
                    <a:cubicBezTo>
                      <a:pt x="710" y="64"/>
                      <a:pt x="710" y="64"/>
                      <a:pt x="710" y="64"/>
                    </a:cubicBezTo>
                    <a:cubicBezTo>
                      <a:pt x="928" y="64"/>
                      <a:pt x="928" y="64"/>
                      <a:pt x="928" y="64"/>
                    </a:cubicBezTo>
                    <a:cubicBezTo>
                      <a:pt x="928" y="159"/>
                      <a:pt x="928" y="159"/>
                      <a:pt x="928" y="159"/>
                    </a:cubicBezTo>
                    <a:cubicBezTo>
                      <a:pt x="928" y="188"/>
                      <a:pt x="948" y="213"/>
                      <a:pt x="976" y="220"/>
                    </a:cubicBezTo>
                    <a:cubicBezTo>
                      <a:pt x="1031" y="235"/>
                      <a:pt x="1083" y="256"/>
                      <a:pt x="1132" y="285"/>
                    </a:cubicBezTo>
                    <a:cubicBezTo>
                      <a:pt x="1157" y="300"/>
                      <a:pt x="1189" y="296"/>
                      <a:pt x="1209" y="275"/>
                    </a:cubicBezTo>
                    <a:cubicBezTo>
                      <a:pt x="1276" y="208"/>
                      <a:pt x="1276" y="208"/>
                      <a:pt x="1276" y="208"/>
                    </a:cubicBezTo>
                    <a:cubicBezTo>
                      <a:pt x="1430" y="362"/>
                      <a:pt x="1430" y="362"/>
                      <a:pt x="1430" y="362"/>
                    </a:cubicBezTo>
                    <a:cubicBezTo>
                      <a:pt x="1363" y="429"/>
                      <a:pt x="1363" y="429"/>
                      <a:pt x="1363" y="429"/>
                    </a:cubicBezTo>
                    <a:cubicBezTo>
                      <a:pt x="1343" y="450"/>
                      <a:pt x="1339" y="481"/>
                      <a:pt x="1353" y="506"/>
                    </a:cubicBezTo>
                    <a:cubicBezTo>
                      <a:pt x="1382" y="555"/>
                      <a:pt x="1404" y="608"/>
                      <a:pt x="1418" y="663"/>
                    </a:cubicBezTo>
                    <a:cubicBezTo>
                      <a:pt x="1425" y="691"/>
                      <a:pt x="1451" y="710"/>
                      <a:pt x="1480" y="710"/>
                    </a:cubicBezTo>
                    <a:cubicBezTo>
                      <a:pt x="1574" y="710"/>
                      <a:pt x="1574" y="710"/>
                      <a:pt x="1574" y="710"/>
                    </a:cubicBezTo>
                    <a:lnTo>
                      <a:pt x="1574" y="928"/>
                    </a:lnTo>
                    <a:close/>
                    <a:moveTo>
                      <a:pt x="1574" y="928"/>
                    </a:moveTo>
                    <a:cubicBezTo>
                      <a:pt x="1574" y="928"/>
                      <a:pt x="1574" y="928"/>
                      <a:pt x="1574" y="9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79"/>
              <p:cNvSpPr>
                <a:spLocks noEditPoints="1"/>
              </p:cNvSpPr>
              <p:nvPr/>
            </p:nvSpPr>
            <p:spPr bwMode="auto">
              <a:xfrm>
                <a:off x="1344" y="1930"/>
                <a:ext cx="1850" cy="1852"/>
              </a:xfrm>
              <a:custGeom>
                <a:avLst/>
                <a:gdLst>
                  <a:gd name="T0" fmla="*/ 892 w 977"/>
                  <a:gd name="T1" fmla="*/ 242 h 978"/>
                  <a:gd name="T2" fmla="*/ 848 w 977"/>
                  <a:gd name="T3" fmla="*/ 233 h 978"/>
                  <a:gd name="T4" fmla="*/ 838 w 977"/>
                  <a:gd name="T5" fmla="*/ 277 h 978"/>
                  <a:gd name="T6" fmla="*/ 912 w 977"/>
                  <a:gd name="T7" fmla="*/ 499 h 978"/>
                  <a:gd name="T8" fmla="*/ 478 w 977"/>
                  <a:gd name="T9" fmla="*/ 499 h 978"/>
                  <a:gd name="T10" fmla="*/ 478 w 977"/>
                  <a:gd name="T11" fmla="*/ 65 h 978"/>
                  <a:gd name="T12" fmla="*/ 654 w 977"/>
                  <a:gd name="T13" fmla="*/ 113 h 978"/>
                  <a:gd name="T14" fmla="*/ 697 w 977"/>
                  <a:gd name="T15" fmla="*/ 98 h 978"/>
                  <a:gd name="T16" fmla="*/ 683 w 977"/>
                  <a:gd name="T17" fmla="*/ 55 h 978"/>
                  <a:gd name="T18" fmla="*/ 446 w 977"/>
                  <a:gd name="T19" fmla="*/ 0 h 978"/>
                  <a:gd name="T20" fmla="*/ 414 w 977"/>
                  <a:gd name="T21" fmla="*/ 32 h 978"/>
                  <a:gd name="T22" fmla="*/ 414 w 977"/>
                  <a:gd name="T23" fmla="*/ 86 h 978"/>
                  <a:gd name="T24" fmla="*/ 0 w 977"/>
                  <a:gd name="T25" fmla="*/ 531 h 978"/>
                  <a:gd name="T26" fmla="*/ 446 w 977"/>
                  <a:gd name="T27" fmla="*/ 978 h 978"/>
                  <a:gd name="T28" fmla="*/ 892 w 977"/>
                  <a:gd name="T29" fmla="*/ 563 h 978"/>
                  <a:gd name="T30" fmla="*/ 945 w 977"/>
                  <a:gd name="T31" fmla="*/ 563 h 978"/>
                  <a:gd name="T32" fmla="*/ 977 w 977"/>
                  <a:gd name="T33" fmla="*/ 531 h 978"/>
                  <a:gd name="T34" fmla="*/ 892 w 977"/>
                  <a:gd name="T35" fmla="*/ 242 h 978"/>
                  <a:gd name="T36" fmla="*/ 414 w 977"/>
                  <a:gd name="T37" fmla="*/ 150 h 978"/>
                  <a:gd name="T38" fmla="*/ 414 w 977"/>
                  <a:gd name="T39" fmla="*/ 454 h 978"/>
                  <a:gd name="T40" fmla="*/ 200 w 977"/>
                  <a:gd name="T41" fmla="*/ 239 h 978"/>
                  <a:gd name="T42" fmla="*/ 414 w 977"/>
                  <a:gd name="T43" fmla="*/ 150 h 978"/>
                  <a:gd name="T44" fmla="*/ 446 w 977"/>
                  <a:gd name="T45" fmla="*/ 914 h 978"/>
                  <a:gd name="T46" fmla="*/ 64 w 977"/>
                  <a:gd name="T47" fmla="*/ 531 h 978"/>
                  <a:gd name="T48" fmla="*/ 154 w 977"/>
                  <a:gd name="T49" fmla="*/ 284 h 978"/>
                  <a:gd name="T50" fmla="*/ 424 w 977"/>
                  <a:gd name="T51" fmla="*/ 554 h 978"/>
                  <a:gd name="T52" fmla="*/ 424 w 977"/>
                  <a:gd name="T53" fmla="*/ 554 h 978"/>
                  <a:gd name="T54" fmla="*/ 446 w 977"/>
                  <a:gd name="T55" fmla="*/ 563 h 978"/>
                  <a:gd name="T56" fmla="*/ 827 w 977"/>
                  <a:gd name="T57" fmla="*/ 563 h 978"/>
                  <a:gd name="T58" fmla="*/ 446 w 977"/>
                  <a:gd name="T59" fmla="*/ 914 h 978"/>
                  <a:gd name="T60" fmla="*/ 446 w 977"/>
                  <a:gd name="T61" fmla="*/ 914 h 978"/>
                  <a:gd name="T62" fmla="*/ 446 w 977"/>
                  <a:gd name="T63" fmla="*/ 914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7" h="978">
                    <a:moveTo>
                      <a:pt x="892" y="242"/>
                    </a:moveTo>
                    <a:cubicBezTo>
                      <a:pt x="882" y="228"/>
                      <a:pt x="863" y="223"/>
                      <a:pt x="848" y="233"/>
                    </a:cubicBezTo>
                    <a:cubicBezTo>
                      <a:pt x="833" y="243"/>
                      <a:pt x="829" y="262"/>
                      <a:pt x="838" y="277"/>
                    </a:cubicBezTo>
                    <a:cubicBezTo>
                      <a:pt x="882" y="344"/>
                      <a:pt x="907" y="420"/>
                      <a:pt x="912" y="499"/>
                    </a:cubicBezTo>
                    <a:cubicBezTo>
                      <a:pt x="478" y="499"/>
                      <a:pt x="478" y="499"/>
                      <a:pt x="478" y="499"/>
                    </a:cubicBezTo>
                    <a:cubicBezTo>
                      <a:pt x="478" y="65"/>
                      <a:pt x="478" y="65"/>
                      <a:pt x="478" y="65"/>
                    </a:cubicBezTo>
                    <a:cubicBezTo>
                      <a:pt x="540" y="69"/>
                      <a:pt x="599" y="85"/>
                      <a:pt x="654" y="113"/>
                    </a:cubicBezTo>
                    <a:cubicBezTo>
                      <a:pt x="670" y="121"/>
                      <a:pt x="689" y="114"/>
                      <a:pt x="697" y="98"/>
                    </a:cubicBezTo>
                    <a:cubicBezTo>
                      <a:pt x="705" y="83"/>
                      <a:pt x="698" y="63"/>
                      <a:pt x="683" y="55"/>
                    </a:cubicBezTo>
                    <a:cubicBezTo>
                      <a:pt x="609" y="19"/>
                      <a:pt x="529" y="0"/>
                      <a:pt x="446" y="0"/>
                    </a:cubicBezTo>
                    <a:cubicBezTo>
                      <a:pt x="429" y="0"/>
                      <a:pt x="414" y="14"/>
                      <a:pt x="414" y="32"/>
                    </a:cubicBezTo>
                    <a:cubicBezTo>
                      <a:pt x="414" y="86"/>
                      <a:pt x="414" y="86"/>
                      <a:pt x="414" y="86"/>
                    </a:cubicBezTo>
                    <a:cubicBezTo>
                      <a:pt x="183" y="102"/>
                      <a:pt x="0" y="296"/>
                      <a:pt x="0" y="531"/>
                    </a:cubicBezTo>
                    <a:cubicBezTo>
                      <a:pt x="0" y="777"/>
                      <a:pt x="200" y="978"/>
                      <a:pt x="446" y="978"/>
                    </a:cubicBezTo>
                    <a:cubicBezTo>
                      <a:pt x="682" y="978"/>
                      <a:pt x="875" y="794"/>
                      <a:pt x="892" y="563"/>
                    </a:cubicBezTo>
                    <a:cubicBezTo>
                      <a:pt x="945" y="563"/>
                      <a:pt x="945" y="563"/>
                      <a:pt x="945" y="563"/>
                    </a:cubicBezTo>
                    <a:cubicBezTo>
                      <a:pt x="963" y="563"/>
                      <a:pt x="977" y="549"/>
                      <a:pt x="977" y="531"/>
                    </a:cubicBezTo>
                    <a:cubicBezTo>
                      <a:pt x="977" y="428"/>
                      <a:pt x="948" y="328"/>
                      <a:pt x="892" y="242"/>
                    </a:cubicBezTo>
                    <a:close/>
                    <a:moveTo>
                      <a:pt x="414" y="150"/>
                    </a:moveTo>
                    <a:cubicBezTo>
                      <a:pt x="414" y="454"/>
                      <a:pt x="414" y="454"/>
                      <a:pt x="414" y="454"/>
                    </a:cubicBezTo>
                    <a:cubicBezTo>
                      <a:pt x="200" y="239"/>
                      <a:pt x="200" y="239"/>
                      <a:pt x="200" y="239"/>
                    </a:cubicBezTo>
                    <a:cubicBezTo>
                      <a:pt x="259" y="189"/>
                      <a:pt x="333" y="157"/>
                      <a:pt x="414" y="150"/>
                    </a:cubicBezTo>
                    <a:close/>
                    <a:moveTo>
                      <a:pt x="446" y="914"/>
                    </a:moveTo>
                    <a:cubicBezTo>
                      <a:pt x="235" y="914"/>
                      <a:pt x="64" y="742"/>
                      <a:pt x="64" y="531"/>
                    </a:cubicBezTo>
                    <a:cubicBezTo>
                      <a:pt x="64" y="437"/>
                      <a:pt x="98" y="351"/>
                      <a:pt x="154" y="284"/>
                    </a:cubicBezTo>
                    <a:cubicBezTo>
                      <a:pt x="424" y="554"/>
                      <a:pt x="424" y="554"/>
                      <a:pt x="424" y="554"/>
                    </a:cubicBezTo>
                    <a:cubicBezTo>
                      <a:pt x="424" y="554"/>
                      <a:pt x="424" y="554"/>
                      <a:pt x="424" y="554"/>
                    </a:cubicBezTo>
                    <a:cubicBezTo>
                      <a:pt x="429" y="560"/>
                      <a:pt x="437" y="563"/>
                      <a:pt x="446" y="563"/>
                    </a:cubicBezTo>
                    <a:cubicBezTo>
                      <a:pt x="827" y="563"/>
                      <a:pt x="827" y="563"/>
                      <a:pt x="827" y="563"/>
                    </a:cubicBezTo>
                    <a:cubicBezTo>
                      <a:pt x="811" y="759"/>
                      <a:pt x="646" y="914"/>
                      <a:pt x="446" y="914"/>
                    </a:cubicBezTo>
                    <a:close/>
                    <a:moveTo>
                      <a:pt x="446" y="914"/>
                    </a:moveTo>
                    <a:cubicBezTo>
                      <a:pt x="446" y="914"/>
                      <a:pt x="446" y="914"/>
                      <a:pt x="446" y="9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80"/>
              <p:cNvSpPr>
                <a:spLocks noEditPoints="1"/>
              </p:cNvSpPr>
              <p:nvPr/>
            </p:nvSpPr>
            <p:spPr bwMode="auto">
              <a:xfrm>
                <a:off x="2758" y="2170"/>
                <a:ext cx="136" cy="129"/>
              </a:xfrm>
              <a:custGeom>
                <a:avLst/>
                <a:gdLst>
                  <a:gd name="T0" fmla="*/ 58 w 72"/>
                  <a:gd name="T1" fmla="*/ 12 h 68"/>
                  <a:gd name="T2" fmla="*/ 57 w 72"/>
                  <a:gd name="T3" fmla="*/ 12 h 68"/>
                  <a:gd name="T4" fmla="*/ 12 w 72"/>
                  <a:gd name="T5" fmla="*/ 14 h 68"/>
                  <a:gd name="T6" fmla="*/ 15 w 72"/>
                  <a:gd name="T7" fmla="*/ 60 h 68"/>
                  <a:gd name="T8" fmla="*/ 15 w 72"/>
                  <a:gd name="T9" fmla="*/ 60 h 68"/>
                  <a:gd name="T10" fmla="*/ 36 w 72"/>
                  <a:gd name="T11" fmla="*/ 68 h 68"/>
                  <a:gd name="T12" fmla="*/ 60 w 72"/>
                  <a:gd name="T13" fmla="*/ 58 h 68"/>
                  <a:gd name="T14" fmla="*/ 58 w 72"/>
                  <a:gd name="T15" fmla="*/ 12 h 68"/>
                  <a:gd name="T16" fmla="*/ 58 w 72"/>
                  <a:gd name="T17" fmla="*/ 12 h 68"/>
                  <a:gd name="T18" fmla="*/ 58 w 72"/>
                  <a:gd name="T19"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68">
                    <a:moveTo>
                      <a:pt x="58" y="12"/>
                    </a:moveTo>
                    <a:cubicBezTo>
                      <a:pt x="58" y="12"/>
                      <a:pt x="57" y="12"/>
                      <a:pt x="57" y="12"/>
                    </a:cubicBezTo>
                    <a:cubicBezTo>
                      <a:pt x="44" y="0"/>
                      <a:pt x="24" y="1"/>
                      <a:pt x="12" y="14"/>
                    </a:cubicBezTo>
                    <a:cubicBezTo>
                      <a:pt x="0" y="28"/>
                      <a:pt x="1" y="48"/>
                      <a:pt x="15" y="60"/>
                    </a:cubicBezTo>
                    <a:cubicBezTo>
                      <a:pt x="15" y="60"/>
                      <a:pt x="15" y="60"/>
                      <a:pt x="15" y="60"/>
                    </a:cubicBezTo>
                    <a:cubicBezTo>
                      <a:pt x="21" y="65"/>
                      <a:pt x="28" y="68"/>
                      <a:pt x="36" y="68"/>
                    </a:cubicBezTo>
                    <a:cubicBezTo>
                      <a:pt x="45" y="68"/>
                      <a:pt x="53" y="64"/>
                      <a:pt x="60" y="58"/>
                    </a:cubicBezTo>
                    <a:cubicBezTo>
                      <a:pt x="72" y="44"/>
                      <a:pt x="71" y="24"/>
                      <a:pt x="58" y="12"/>
                    </a:cubicBezTo>
                    <a:close/>
                    <a:moveTo>
                      <a:pt x="58" y="12"/>
                    </a:moveTo>
                    <a:cubicBezTo>
                      <a:pt x="58" y="12"/>
                      <a:pt x="58" y="12"/>
                      <a:pt x="5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81"/>
              <p:cNvSpPr>
                <a:spLocks noEditPoints="1"/>
              </p:cNvSpPr>
              <p:nvPr/>
            </p:nvSpPr>
            <p:spPr bwMode="auto">
              <a:xfrm>
                <a:off x="2308" y="3100"/>
                <a:ext cx="422" cy="388"/>
              </a:xfrm>
              <a:custGeom>
                <a:avLst/>
                <a:gdLst>
                  <a:gd name="T0" fmla="*/ 201 w 223"/>
                  <a:gd name="T1" fmla="*/ 8 h 205"/>
                  <a:gd name="T2" fmla="*/ 158 w 223"/>
                  <a:gd name="T3" fmla="*/ 22 h 205"/>
                  <a:gd name="T4" fmla="*/ 25 w 223"/>
                  <a:gd name="T5" fmla="*/ 143 h 205"/>
                  <a:gd name="T6" fmla="*/ 7 w 223"/>
                  <a:gd name="T7" fmla="*/ 185 h 205"/>
                  <a:gd name="T8" fmla="*/ 36 w 223"/>
                  <a:gd name="T9" fmla="*/ 205 h 205"/>
                  <a:gd name="T10" fmla="*/ 48 w 223"/>
                  <a:gd name="T11" fmla="*/ 203 h 205"/>
                  <a:gd name="T12" fmla="*/ 215 w 223"/>
                  <a:gd name="T13" fmla="*/ 51 h 205"/>
                  <a:gd name="T14" fmla="*/ 201 w 223"/>
                  <a:gd name="T15" fmla="*/ 8 h 205"/>
                  <a:gd name="T16" fmla="*/ 201 w 223"/>
                  <a:gd name="T17" fmla="*/ 8 h 205"/>
                  <a:gd name="T18" fmla="*/ 201 w 223"/>
                  <a:gd name="T19" fmla="*/ 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05">
                    <a:moveTo>
                      <a:pt x="201" y="8"/>
                    </a:moveTo>
                    <a:cubicBezTo>
                      <a:pt x="185" y="0"/>
                      <a:pt x="166" y="7"/>
                      <a:pt x="158" y="22"/>
                    </a:cubicBezTo>
                    <a:cubicBezTo>
                      <a:pt x="130" y="78"/>
                      <a:pt x="83" y="121"/>
                      <a:pt x="25" y="143"/>
                    </a:cubicBezTo>
                    <a:cubicBezTo>
                      <a:pt x="9" y="150"/>
                      <a:pt x="0" y="168"/>
                      <a:pt x="7" y="185"/>
                    </a:cubicBezTo>
                    <a:cubicBezTo>
                      <a:pt x="11" y="197"/>
                      <a:pt x="24" y="205"/>
                      <a:pt x="36" y="205"/>
                    </a:cubicBezTo>
                    <a:cubicBezTo>
                      <a:pt x="40" y="205"/>
                      <a:pt x="44" y="205"/>
                      <a:pt x="48" y="203"/>
                    </a:cubicBezTo>
                    <a:cubicBezTo>
                      <a:pt x="121" y="175"/>
                      <a:pt x="181" y="121"/>
                      <a:pt x="215" y="51"/>
                    </a:cubicBezTo>
                    <a:cubicBezTo>
                      <a:pt x="223" y="35"/>
                      <a:pt x="217" y="16"/>
                      <a:pt x="201" y="8"/>
                    </a:cubicBezTo>
                    <a:close/>
                    <a:moveTo>
                      <a:pt x="201" y="8"/>
                    </a:moveTo>
                    <a:cubicBezTo>
                      <a:pt x="201" y="8"/>
                      <a:pt x="201" y="8"/>
                      <a:pt x="201"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82"/>
              <p:cNvSpPr>
                <a:spLocks noEditPoints="1"/>
              </p:cNvSpPr>
              <p:nvPr/>
            </p:nvSpPr>
            <p:spPr bwMode="auto">
              <a:xfrm>
                <a:off x="2128" y="3401"/>
                <a:ext cx="123" cy="121"/>
              </a:xfrm>
              <a:custGeom>
                <a:avLst/>
                <a:gdLst>
                  <a:gd name="T0" fmla="*/ 33 w 65"/>
                  <a:gd name="T1" fmla="*/ 0 h 64"/>
                  <a:gd name="T2" fmla="*/ 32 w 65"/>
                  <a:gd name="T3" fmla="*/ 0 h 64"/>
                  <a:gd name="T4" fmla="*/ 0 w 65"/>
                  <a:gd name="T5" fmla="*/ 32 h 64"/>
                  <a:gd name="T6" fmla="*/ 32 w 65"/>
                  <a:gd name="T7" fmla="*/ 64 h 64"/>
                  <a:gd name="T8" fmla="*/ 33 w 65"/>
                  <a:gd name="T9" fmla="*/ 64 h 64"/>
                  <a:gd name="T10" fmla="*/ 65 w 65"/>
                  <a:gd name="T11" fmla="*/ 32 h 64"/>
                  <a:gd name="T12" fmla="*/ 33 w 65"/>
                  <a:gd name="T13" fmla="*/ 0 h 64"/>
                  <a:gd name="T14" fmla="*/ 33 w 65"/>
                  <a:gd name="T15" fmla="*/ 0 h 64"/>
                  <a:gd name="T16" fmla="*/ 33 w 65"/>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4">
                    <a:moveTo>
                      <a:pt x="33" y="0"/>
                    </a:moveTo>
                    <a:cubicBezTo>
                      <a:pt x="32" y="0"/>
                      <a:pt x="32" y="0"/>
                      <a:pt x="32" y="0"/>
                    </a:cubicBezTo>
                    <a:cubicBezTo>
                      <a:pt x="15" y="0"/>
                      <a:pt x="0" y="15"/>
                      <a:pt x="0" y="32"/>
                    </a:cubicBezTo>
                    <a:cubicBezTo>
                      <a:pt x="0" y="50"/>
                      <a:pt x="15" y="64"/>
                      <a:pt x="32" y="64"/>
                    </a:cubicBezTo>
                    <a:cubicBezTo>
                      <a:pt x="33" y="64"/>
                      <a:pt x="33" y="64"/>
                      <a:pt x="33" y="64"/>
                    </a:cubicBezTo>
                    <a:cubicBezTo>
                      <a:pt x="51" y="64"/>
                      <a:pt x="65" y="50"/>
                      <a:pt x="65" y="32"/>
                    </a:cubicBezTo>
                    <a:cubicBezTo>
                      <a:pt x="65" y="15"/>
                      <a:pt x="51" y="0"/>
                      <a:pt x="33" y="0"/>
                    </a:cubicBezTo>
                    <a:close/>
                    <a:moveTo>
                      <a:pt x="33" y="0"/>
                    </a:move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8" name="TextBox 37"/>
          <p:cNvSpPr txBox="1"/>
          <p:nvPr/>
        </p:nvSpPr>
        <p:spPr>
          <a:xfrm>
            <a:off x="1224594" y="1666757"/>
            <a:ext cx="5882059" cy="892552"/>
          </a:xfrm>
          <a:prstGeom prst="rect">
            <a:avLst/>
          </a:prstGeom>
          <a:noFill/>
        </p:spPr>
        <p:txBody>
          <a:bodyPr wrap="square" rtlCol="0">
            <a:spAutoFit/>
          </a:bodyPr>
          <a:lstStyle/>
          <a:p>
            <a:r>
              <a:rPr lang="en-US" sz="2000" b="1" dirty="0">
                <a:solidFill>
                  <a:schemeClr val="accent1"/>
                </a:solidFill>
                <a:latin typeface="+mj-lt"/>
              </a:rPr>
              <a:t>Heading Goes Here</a:t>
            </a:r>
            <a:br>
              <a:rPr lang="en-US" sz="1100" dirty="0">
                <a:solidFill>
                  <a:schemeClr val="accent1"/>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r</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 </a:t>
            </a:r>
            <a:r>
              <a:rPr lang="en-US" sz="1600" dirty="0" err="1">
                <a:solidFill>
                  <a:schemeClr val="accent1"/>
                </a:solidFill>
                <a:latin typeface="+mj-lt"/>
              </a:rPr>
              <a:t>tempor</a:t>
            </a:r>
            <a:r>
              <a:rPr lang="en-US" sz="1600" dirty="0">
                <a:solidFill>
                  <a:schemeClr val="accent1"/>
                </a:solidFill>
                <a:latin typeface="+mj-lt"/>
              </a:rPr>
              <a:t> </a:t>
            </a:r>
            <a:r>
              <a:rPr lang="en-US" sz="1600" dirty="0" err="1">
                <a:solidFill>
                  <a:schemeClr val="accent1"/>
                </a:solidFill>
                <a:latin typeface="+mj-lt"/>
              </a:rPr>
              <a:t>incididunt</a:t>
            </a:r>
            <a:r>
              <a:rPr lang="en-US" sz="1600" dirty="0">
                <a:solidFill>
                  <a:schemeClr val="accent1"/>
                </a:solidFill>
                <a:latin typeface="+mj-lt"/>
              </a:rPr>
              <a:t> </a:t>
            </a:r>
            <a:r>
              <a:rPr lang="en-US" sz="1600" dirty="0" err="1">
                <a:solidFill>
                  <a:schemeClr val="accent1"/>
                </a:solidFill>
                <a:latin typeface="+mj-lt"/>
              </a:rPr>
              <a:t>ut</a:t>
            </a:r>
            <a:r>
              <a:rPr lang="en-US" sz="1600" dirty="0">
                <a:solidFill>
                  <a:schemeClr val="accent1"/>
                </a:solidFill>
                <a:latin typeface="+mj-lt"/>
              </a:rPr>
              <a:t> </a:t>
            </a:r>
            <a:r>
              <a:rPr lang="en-US" sz="1600" dirty="0" err="1">
                <a:solidFill>
                  <a:schemeClr val="accent1"/>
                </a:solidFill>
                <a:latin typeface="+mj-lt"/>
              </a:rPr>
              <a:t>labore</a:t>
            </a:r>
            <a:r>
              <a:rPr lang="en-US" sz="1600" dirty="0">
                <a:solidFill>
                  <a:schemeClr val="accent1"/>
                </a:solidFill>
                <a:latin typeface="+mj-lt"/>
              </a:rPr>
              <a:t> et </a:t>
            </a:r>
            <a:r>
              <a:rPr lang="en-US" sz="1600" dirty="0" err="1">
                <a:solidFill>
                  <a:schemeClr val="accent1"/>
                </a:solidFill>
                <a:latin typeface="+mj-lt"/>
              </a:rPr>
              <a:t>commodo</a:t>
            </a:r>
            <a:r>
              <a:rPr lang="en-US" sz="1600" dirty="0">
                <a:solidFill>
                  <a:schemeClr val="accent1"/>
                </a:solidFill>
                <a:latin typeface="+mj-lt"/>
              </a:rPr>
              <a:t> </a:t>
            </a:r>
            <a:r>
              <a:rPr lang="en-US" sz="1600" dirty="0" err="1">
                <a:solidFill>
                  <a:schemeClr val="accent1"/>
                </a:solidFill>
                <a:latin typeface="+mj-lt"/>
              </a:rPr>
              <a:t>consequat</a:t>
            </a:r>
            <a:endParaRPr lang="en-US" sz="1600" dirty="0">
              <a:solidFill>
                <a:schemeClr val="accent1"/>
              </a:solidFill>
              <a:latin typeface="+mj-lt"/>
            </a:endParaRPr>
          </a:p>
        </p:txBody>
      </p:sp>
      <p:sp>
        <p:nvSpPr>
          <p:cNvPr id="39" name="TextBox 38"/>
          <p:cNvSpPr txBox="1"/>
          <p:nvPr/>
        </p:nvSpPr>
        <p:spPr>
          <a:xfrm>
            <a:off x="1224594" y="2700891"/>
            <a:ext cx="5882059" cy="892552"/>
          </a:xfrm>
          <a:prstGeom prst="rect">
            <a:avLst/>
          </a:prstGeom>
          <a:noFill/>
        </p:spPr>
        <p:txBody>
          <a:bodyPr wrap="square" rtlCol="0">
            <a:spAutoFit/>
          </a:bodyPr>
          <a:lstStyle/>
          <a:p>
            <a:r>
              <a:rPr lang="en-US" sz="2000" b="1" dirty="0">
                <a:solidFill>
                  <a:schemeClr val="accent1"/>
                </a:solidFill>
                <a:latin typeface="+mj-lt"/>
              </a:rPr>
              <a:t>Heading Goes Here</a:t>
            </a:r>
            <a:br>
              <a:rPr lang="en-US" sz="1100" dirty="0">
                <a:solidFill>
                  <a:schemeClr val="accent1"/>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r</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 </a:t>
            </a:r>
            <a:r>
              <a:rPr lang="en-US" sz="1600" dirty="0" err="1">
                <a:solidFill>
                  <a:schemeClr val="accent1"/>
                </a:solidFill>
                <a:latin typeface="+mj-lt"/>
              </a:rPr>
              <a:t>tempor</a:t>
            </a:r>
            <a:r>
              <a:rPr lang="en-US" sz="1600" dirty="0">
                <a:solidFill>
                  <a:schemeClr val="accent1"/>
                </a:solidFill>
                <a:latin typeface="+mj-lt"/>
              </a:rPr>
              <a:t> </a:t>
            </a:r>
            <a:r>
              <a:rPr lang="en-US" sz="1600" dirty="0" err="1">
                <a:solidFill>
                  <a:schemeClr val="accent1"/>
                </a:solidFill>
                <a:latin typeface="+mj-lt"/>
              </a:rPr>
              <a:t>incididunt</a:t>
            </a:r>
            <a:r>
              <a:rPr lang="en-US" sz="1600" dirty="0">
                <a:solidFill>
                  <a:schemeClr val="accent1"/>
                </a:solidFill>
                <a:latin typeface="+mj-lt"/>
              </a:rPr>
              <a:t> </a:t>
            </a:r>
            <a:r>
              <a:rPr lang="en-US" sz="1600" dirty="0" err="1">
                <a:solidFill>
                  <a:schemeClr val="accent1"/>
                </a:solidFill>
                <a:latin typeface="+mj-lt"/>
              </a:rPr>
              <a:t>ut</a:t>
            </a:r>
            <a:r>
              <a:rPr lang="en-US" sz="1600" dirty="0">
                <a:solidFill>
                  <a:schemeClr val="accent1"/>
                </a:solidFill>
                <a:latin typeface="+mj-lt"/>
              </a:rPr>
              <a:t> </a:t>
            </a:r>
            <a:r>
              <a:rPr lang="en-US" sz="1600" dirty="0" err="1">
                <a:solidFill>
                  <a:schemeClr val="accent1"/>
                </a:solidFill>
                <a:latin typeface="+mj-lt"/>
              </a:rPr>
              <a:t>labore</a:t>
            </a:r>
            <a:r>
              <a:rPr lang="en-US" sz="1600" dirty="0">
                <a:solidFill>
                  <a:schemeClr val="accent1"/>
                </a:solidFill>
                <a:latin typeface="+mj-lt"/>
              </a:rPr>
              <a:t> et </a:t>
            </a:r>
            <a:r>
              <a:rPr lang="en-US" sz="1600" dirty="0" err="1">
                <a:solidFill>
                  <a:schemeClr val="accent1"/>
                </a:solidFill>
                <a:latin typeface="+mj-lt"/>
              </a:rPr>
              <a:t>commodo</a:t>
            </a:r>
            <a:r>
              <a:rPr lang="en-US" sz="1600" dirty="0">
                <a:solidFill>
                  <a:schemeClr val="accent1"/>
                </a:solidFill>
                <a:latin typeface="+mj-lt"/>
              </a:rPr>
              <a:t> </a:t>
            </a:r>
            <a:r>
              <a:rPr lang="en-US" sz="1600" dirty="0" err="1">
                <a:solidFill>
                  <a:schemeClr val="accent1"/>
                </a:solidFill>
                <a:latin typeface="+mj-lt"/>
              </a:rPr>
              <a:t>consequat</a:t>
            </a:r>
            <a:endParaRPr lang="en-US" sz="1600" dirty="0">
              <a:solidFill>
                <a:schemeClr val="accent1"/>
              </a:solidFill>
              <a:latin typeface="+mj-lt"/>
            </a:endParaRPr>
          </a:p>
        </p:txBody>
      </p:sp>
      <p:sp>
        <p:nvSpPr>
          <p:cNvPr id="40" name="TextBox 39"/>
          <p:cNvSpPr txBox="1"/>
          <p:nvPr/>
        </p:nvSpPr>
        <p:spPr>
          <a:xfrm>
            <a:off x="1224594" y="3761552"/>
            <a:ext cx="5882059" cy="892552"/>
          </a:xfrm>
          <a:prstGeom prst="rect">
            <a:avLst/>
          </a:prstGeom>
          <a:noFill/>
        </p:spPr>
        <p:txBody>
          <a:bodyPr wrap="square" rtlCol="0">
            <a:spAutoFit/>
          </a:bodyPr>
          <a:lstStyle/>
          <a:p>
            <a:r>
              <a:rPr lang="en-US" sz="2000" b="1" dirty="0">
                <a:solidFill>
                  <a:schemeClr val="accent1"/>
                </a:solidFill>
                <a:latin typeface="+mj-lt"/>
              </a:rPr>
              <a:t>Heading Goes Here</a:t>
            </a:r>
            <a:br>
              <a:rPr lang="en-US" sz="1100" dirty="0">
                <a:solidFill>
                  <a:schemeClr val="accent1"/>
                </a:solidFill>
                <a:latin typeface="+mj-lt"/>
              </a:rPr>
            </a:br>
            <a:r>
              <a:rPr lang="en-US" sz="1600" dirty="0">
                <a:solidFill>
                  <a:schemeClr val="accent1"/>
                </a:solidFill>
                <a:latin typeface="+mj-lt"/>
              </a:rPr>
              <a:t>Lorem Ipsum dolor sit </a:t>
            </a:r>
            <a:r>
              <a:rPr lang="en-US" sz="1600" dirty="0" err="1">
                <a:solidFill>
                  <a:schemeClr val="accent1"/>
                </a:solidFill>
                <a:latin typeface="+mj-lt"/>
              </a:rPr>
              <a:t>amer</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 </a:t>
            </a:r>
            <a:r>
              <a:rPr lang="en-US" sz="1600" dirty="0" err="1">
                <a:solidFill>
                  <a:schemeClr val="accent1"/>
                </a:solidFill>
                <a:latin typeface="+mj-lt"/>
              </a:rPr>
              <a:t>tempor</a:t>
            </a:r>
            <a:r>
              <a:rPr lang="en-US" sz="1600" dirty="0">
                <a:solidFill>
                  <a:schemeClr val="accent1"/>
                </a:solidFill>
                <a:latin typeface="+mj-lt"/>
              </a:rPr>
              <a:t> </a:t>
            </a:r>
            <a:r>
              <a:rPr lang="en-US" sz="1600" dirty="0" err="1">
                <a:solidFill>
                  <a:schemeClr val="accent1"/>
                </a:solidFill>
                <a:latin typeface="+mj-lt"/>
              </a:rPr>
              <a:t>incididunt</a:t>
            </a:r>
            <a:r>
              <a:rPr lang="en-US" sz="1600" dirty="0">
                <a:solidFill>
                  <a:schemeClr val="accent1"/>
                </a:solidFill>
                <a:latin typeface="+mj-lt"/>
              </a:rPr>
              <a:t> </a:t>
            </a:r>
            <a:r>
              <a:rPr lang="en-US" sz="1600" dirty="0" err="1">
                <a:solidFill>
                  <a:schemeClr val="accent1"/>
                </a:solidFill>
                <a:latin typeface="+mj-lt"/>
              </a:rPr>
              <a:t>ut</a:t>
            </a:r>
            <a:r>
              <a:rPr lang="en-US" sz="1600" dirty="0">
                <a:solidFill>
                  <a:schemeClr val="accent1"/>
                </a:solidFill>
                <a:latin typeface="+mj-lt"/>
              </a:rPr>
              <a:t> </a:t>
            </a:r>
            <a:r>
              <a:rPr lang="en-US" sz="1600" dirty="0" err="1">
                <a:solidFill>
                  <a:schemeClr val="accent1"/>
                </a:solidFill>
                <a:latin typeface="+mj-lt"/>
              </a:rPr>
              <a:t>labore</a:t>
            </a:r>
            <a:r>
              <a:rPr lang="en-US" sz="1600" dirty="0">
                <a:solidFill>
                  <a:schemeClr val="accent1"/>
                </a:solidFill>
                <a:latin typeface="+mj-lt"/>
              </a:rPr>
              <a:t> et </a:t>
            </a:r>
            <a:r>
              <a:rPr lang="en-US" sz="1600" dirty="0" err="1">
                <a:solidFill>
                  <a:schemeClr val="accent1"/>
                </a:solidFill>
                <a:latin typeface="+mj-lt"/>
              </a:rPr>
              <a:t>commodo</a:t>
            </a:r>
            <a:r>
              <a:rPr lang="en-US" sz="1600" dirty="0">
                <a:solidFill>
                  <a:schemeClr val="accent1"/>
                </a:solidFill>
                <a:latin typeface="+mj-lt"/>
              </a:rPr>
              <a:t> </a:t>
            </a:r>
            <a:r>
              <a:rPr lang="en-US" sz="1600" dirty="0" err="1">
                <a:solidFill>
                  <a:schemeClr val="accent1"/>
                </a:solidFill>
                <a:latin typeface="+mj-lt"/>
              </a:rPr>
              <a:t>consequat</a:t>
            </a:r>
            <a:endParaRPr lang="en-US" sz="1600" dirty="0">
              <a:solidFill>
                <a:schemeClr val="accent1"/>
              </a:solidFill>
              <a:latin typeface="+mj-lt"/>
            </a:endParaRPr>
          </a:p>
        </p:txBody>
      </p:sp>
    </p:spTree>
    <p:extLst>
      <p:ext uri="{BB962C8B-B14F-4D97-AF65-F5344CB8AC3E}">
        <p14:creationId xmlns:p14="http://schemas.microsoft.com/office/powerpoint/2010/main" val="23443711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9117010" y="1671622"/>
            <a:ext cx="2808290" cy="1107996"/>
          </a:xfrm>
          <a:prstGeom prst="rect">
            <a:avLst/>
          </a:prstGeom>
          <a:noFill/>
        </p:spPr>
        <p:txBody>
          <a:bodyPr wrap="square" rtlCol="0">
            <a:spAutoFit/>
          </a:bodyPr>
          <a:lstStyle/>
          <a:p>
            <a:r>
              <a:rPr lang="en-US" dirty="0">
                <a:solidFill>
                  <a:schemeClr val="accent1"/>
                </a:solidFill>
                <a:latin typeface="+mj-lt"/>
              </a:rPr>
              <a:t>Heading Here</a:t>
            </a:r>
          </a:p>
          <a:p>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sp>
        <p:nvSpPr>
          <p:cNvPr id="11" name="TextBox 10"/>
          <p:cNvSpPr txBox="1"/>
          <p:nvPr/>
        </p:nvSpPr>
        <p:spPr>
          <a:xfrm>
            <a:off x="9117010" y="3081421"/>
            <a:ext cx="2808290" cy="1107996"/>
          </a:xfrm>
          <a:prstGeom prst="rect">
            <a:avLst/>
          </a:prstGeom>
          <a:noFill/>
        </p:spPr>
        <p:txBody>
          <a:bodyPr wrap="square" rtlCol="0">
            <a:spAutoFit/>
          </a:bodyPr>
          <a:lstStyle/>
          <a:p>
            <a:r>
              <a:rPr lang="en-US" dirty="0">
                <a:solidFill>
                  <a:schemeClr val="accent1"/>
                </a:solidFill>
                <a:latin typeface="+mj-lt"/>
              </a:rPr>
              <a:t>Heading Here</a:t>
            </a:r>
          </a:p>
          <a:p>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sp>
        <p:nvSpPr>
          <p:cNvPr id="12" name="TextBox 11"/>
          <p:cNvSpPr txBox="1"/>
          <p:nvPr/>
        </p:nvSpPr>
        <p:spPr>
          <a:xfrm>
            <a:off x="9117010" y="4491221"/>
            <a:ext cx="2808290" cy="1107996"/>
          </a:xfrm>
          <a:prstGeom prst="rect">
            <a:avLst/>
          </a:prstGeom>
          <a:noFill/>
        </p:spPr>
        <p:txBody>
          <a:bodyPr wrap="square" rtlCol="0">
            <a:spAutoFit/>
          </a:bodyPr>
          <a:lstStyle/>
          <a:p>
            <a:r>
              <a:rPr lang="en-US" dirty="0">
                <a:solidFill>
                  <a:schemeClr val="accent1"/>
                </a:solidFill>
                <a:latin typeface="+mj-lt"/>
              </a:rPr>
              <a:t>Heading Here</a:t>
            </a:r>
          </a:p>
          <a:p>
            <a:r>
              <a:rPr lang="en-US" sz="1600" dirty="0">
                <a:solidFill>
                  <a:schemeClr val="accent1"/>
                </a:solidFill>
                <a:latin typeface="+mj-lt"/>
              </a:rPr>
              <a:t>Lorem ipsum dolor sit </a:t>
            </a:r>
            <a:r>
              <a:rPr lang="en-US" sz="1600" dirty="0" err="1">
                <a:solidFill>
                  <a:schemeClr val="accent1"/>
                </a:solidFill>
                <a:latin typeface="+mj-lt"/>
              </a:rPr>
              <a:t>amet</a:t>
            </a:r>
            <a:r>
              <a:rPr lang="en-US" sz="1600" dirty="0">
                <a:solidFill>
                  <a:schemeClr val="accent1"/>
                </a:solidFill>
                <a:latin typeface="+mj-lt"/>
              </a:rPr>
              <a:t>, </a:t>
            </a:r>
            <a:r>
              <a:rPr lang="en-US" sz="1600" dirty="0" err="1">
                <a:solidFill>
                  <a:schemeClr val="accent1"/>
                </a:solidFill>
                <a:latin typeface="+mj-lt"/>
              </a:rPr>
              <a:t>consectetur</a:t>
            </a:r>
            <a:r>
              <a:rPr lang="en-US" sz="1600" dirty="0">
                <a:solidFill>
                  <a:schemeClr val="accent1"/>
                </a:solidFill>
                <a:latin typeface="+mj-lt"/>
              </a:rPr>
              <a:t> </a:t>
            </a:r>
            <a:r>
              <a:rPr lang="en-US" sz="1600" dirty="0" err="1">
                <a:solidFill>
                  <a:schemeClr val="accent1"/>
                </a:solidFill>
                <a:latin typeface="+mj-lt"/>
              </a:rPr>
              <a:t>adipiscing</a:t>
            </a:r>
            <a:r>
              <a:rPr lang="en-US" sz="1600" dirty="0">
                <a:solidFill>
                  <a:schemeClr val="accent1"/>
                </a:solidFill>
                <a:latin typeface="+mj-lt"/>
              </a:rPr>
              <a:t> </a:t>
            </a:r>
            <a:r>
              <a:rPr lang="en-US" sz="1600" dirty="0" err="1">
                <a:solidFill>
                  <a:schemeClr val="accent1"/>
                </a:solidFill>
                <a:latin typeface="+mj-lt"/>
              </a:rPr>
              <a:t>elit</a:t>
            </a:r>
            <a:r>
              <a:rPr lang="en-US" sz="1600" dirty="0">
                <a:solidFill>
                  <a:schemeClr val="accent1"/>
                </a:solidFill>
                <a:latin typeface="+mj-lt"/>
              </a:rPr>
              <a:t>, </a:t>
            </a:r>
            <a:r>
              <a:rPr lang="en-US" sz="1600" dirty="0" err="1">
                <a:solidFill>
                  <a:schemeClr val="accent1"/>
                </a:solidFill>
                <a:latin typeface="+mj-lt"/>
              </a:rPr>
              <a:t>sed</a:t>
            </a:r>
            <a:r>
              <a:rPr lang="en-US" sz="1600" dirty="0">
                <a:solidFill>
                  <a:schemeClr val="accent1"/>
                </a:solidFill>
                <a:latin typeface="+mj-lt"/>
              </a:rPr>
              <a:t> do </a:t>
            </a:r>
            <a:r>
              <a:rPr lang="en-US" sz="1600" dirty="0" err="1">
                <a:solidFill>
                  <a:schemeClr val="accent1"/>
                </a:solidFill>
                <a:latin typeface="+mj-lt"/>
              </a:rPr>
              <a:t>eiusmod</a:t>
            </a:r>
            <a:r>
              <a:rPr lang="en-US" sz="1600" dirty="0">
                <a:solidFill>
                  <a:schemeClr val="accent1"/>
                </a:solidFill>
                <a:latin typeface="+mj-lt"/>
              </a:rPr>
              <a:t>.</a:t>
            </a:r>
          </a:p>
        </p:txBody>
      </p:sp>
      <p:pic>
        <p:nvPicPr>
          <p:cNvPr id="8" name="Picture Placeholder 7"/>
          <p:cNvPicPr>
            <a:picLocks noGrp="1" noChangeAspect="1"/>
          </p:cNvPicPr>
          <p:nvPr>
            <p:ph type="pic" sz="quarter" idx="15"/>
          </p:nvPr>
        </p:nvPicPr>
        <p:blipFill>
          <a:blip r:embed="rId2" cstate="screen">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a:ext>
            </a:extLst>
          </a:blip>
          <a:srcRect/>
          <a:stretch>
            <a:fillRect/>
          </a:stretch>
        </p:blipFill>
        <p:spPr/>
      </p:pic>
      <p:sp>
        <p:nvSpPr>
          <p:cNvPr id="5" name="Text Placeholder 4"/>
          <p:cNvSpPr>
            <a:spLocks noGrp="1"/>
          </p:cNvSpPr>
          <p:nvPr>
            <p:ph type="body" sz="quarter" idx="13"/>
          </p:nvPr>
        </p:nvSpPr>
        <p:spPr/>
        <p:txBody>
          <a:bodyPr/>
          <a:lstStyle/>
          <a:p>
            <a:r>
              <a:rPr lang="en-US" dirty="0"/>
              <a:t>TEXT + </a:t>
            </a:r>
            <a:r>
              <a:rPr lang="en-US" dirty="0">
                <a:solidFill>
                  <a:schemeClr val="accent1"/>
                </a:solidFill>
              </a:rPr>
              <a:t>IMAGE</a:t>
            </a:r>
          </a:p>
        </p:txBody>
      </p:sp>
      <p:sp>
        <p:nvSpPr>
          <p:cNvPr id="9" name="Text Placeholder 7"/>
          <p:cNvSpPr txBox="1">
            <a:spLocks noGrp="1"/>
          </p:cNvSpPr>
          <p:nvPr>
            <p:ph type="body" sz="quarter" idx="16"/>
          </p:nvPr>
        </p:nvSpPr>
        <p:spPr>
          <a:xfrm>
            <a:off x="266700" y="1528462"/>
            <a:ext cx="4085167" cy="4581525"/>
          </a:xfrm>
        </p:spPr>
        <p:txBody>
          <a:bodyPr/>
          <a:lstStyle/>
          <a:p>
            <a:r>
              <a:rPr lang="en-US" dirty="0"/>
              <a:t>Contrary to popular belief, Lorem Ipsum is not simply random text. It has roots in a piece of classical Latin literature from 45 BC, making it over 2000 years old.</a:t>
            </a:r>
          </a:p>
          <a:p>
            <a:r>
              <a:rPr lang="en-US" dirty="0"/>
              <a:t>Richard McClintock, a Latin professor at Hampden-Sydney College in Virginia, looked up one of the more obscure Latin words, </a:t>
            </a:r>
            <a:r>
              <a:rPr lang="en-US" dirty="0" err="1"/>
              <a:t>consectetur</a:t>
            </a:r>
            <a:r>
              <a:rPr lang="en-US" dirty="0"/>
              <a:t>, from a Lorem Ipsum passage, and going through the cites of the word in classical literature,</a:t>
            </a:r>
          </a:p>
        </p:txBody>
      </p:sp>
    </p:spTree>
    <p:extLst>
      <p:ext uri="{BB962C8B-B14F-4D97-AF65-F5344CB8AC3E}">
        <p14:creationId xmlns:p14="http://schemas.microsoft.com/office/powerpoint/2010/main" val="15907618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8212668" y="4815436"/>
            <a:ext cx="3979332" cy="9821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Placeholder 34"/>
          <p:cNvPicPr>
            <a:picLocks noGrp="1" noChangeAspect="1"/>
          </p:cNvPicPr>
          <p:nvPr>
            <p:ph type="pic" sz="quarter" idx="10"/>
          </p:nvPr>
        </p:nvPicPr>
        <p:blipFill>
          <a:blip r:embed="rId2" cstate="screen">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a:ext>
            </a:extLst>
          </a:blip>
          <a:srcRect/>
          <a:stretch>
            <a:fillRect/>
          </a:stretch>
        </p:blipFill>
        <p:spPr/>
      </p:pic>
      <p:sp>
        <p:nvSpPr>
          <p:cNvPr id="6" name="Text Placeholder 5"/>
          <p:cNvSpPr>
            <a:spLocks noGrp="1"/>
          </p:cNvSpPr>
          <p:nvPr>
            <p:ph type="body" sz="quarter" idx="13"/>
          </p:nvPr>
        </p:nvSpPr>
        <p:spPr/>
        <p:txBody>
          <a:bodyPr/>
          <a:lstStyle/>
          <a:p>
            <a:r>
              <a:rPr lang="en-US" dirty="0"/>
              <a:t>Two Columns</a:t>
            </a:r>
          </a:p>
        </p:txBody>
      </p:sp>
      <p:grpSp>
        <p:nvGrpSpPr>
          <p:cNvPr id="31" name="Group 30"/>
          <p:cNvGrpSpPr/>
          <p:nvPr/>
        </p:nvGrpSpPr>
        <p:grpSpPr>
          <a:xfrm>
            <a:off x="266700" y="1966644"/>
            <a:ext cx="4631267" cy="3576535"/>
            <a:chOff x="266700" y="2044346"/>
            <a:chExt cx="4085167" cy="3576535"/>
          </a:xfrm>
        </p:grpSpPr>
        <p:sp>
          <p:nvSpPr>
            <p:cNvPr id="23" name="Text Placeholder 7"/>
            <p:cNvSpPr txBox="1">
              <a:spLocks/>
            </p:cNvSpPr>
            <p:nvPr/>
          </p:nvSpPr>
          <p:spPr>
            <a:xfrm>
              <a:off x="266700" y="2044346"/>
              <a:ext cx="4085167" cy="1122871"/>
            </a:xfrm>
            <a:prstGeom prst="rect">
              <a:avLst/>
            </a:prstGeom>
            <a:noFill/>
          </p:spPr>
          <p:txBody>
            <a:bodyPr wrap="square"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chemeClr val="accent2"/>
                </a:buClr>
                <a:buSzPct val="125000"/>
                <a:buFont typeface="Wingdings" panose="05000000000000000000" pitchFamily="2" charset="2"/>
                <a:buChar char="§"/>
              </a:pPr>
              <a:r>
                <a:rPr lang="en-US" sz="1600" b="1" dirty="0">
                  <a:solidFill>
                    <a:schemeClr val="accent1"/>
                  </a:solidFill>
                  <a:latin typeface="+mj-lt"/>
                </a:rPr>
                <a:t>Your Heading Here</a:t>
              </a:r>
            </a:p>
            <a:p>
              <a:pPr marL="0" indent="0" algn="just">
                <a:buClr>
                  <a:schemeClr val="accent2"/>
                </a:buClr>
                <a:buSzPct val="125000"/>
                <a:buNone/>
              </a:pPr>
              <a:endParaRPr lang="en-US" sz="100" b="1" dirty="0">
                <a:solidFill>
                  <a:schemeClr val="accent1"/>
                </a:solidFill>
                <a:latin typeface="+mj-lt"/>
              </a:endParaRPr>
            </a:p>
            <a:p>
              <a:pPr marL="234950" indent="0" algn="just">
                <a:lnSpc>
                  <a:spcPts val="1300"/>
                </a:lnSpc>
                <a:spcBef>
                  <a:spcPts val="0"/>
                </a:spcBef>
                <a:buSzPct val="125000"/>
                <a:buFont typeface="Arial" panose="020B0604020202020204" pitchFamily="34" charset="0"/>
                <a:buNone/>
              </a:pPr>
              <a:r>
                <a:rPr lang="en-US" sz="1600" dirty="0">
                  <a:solidFill>
                    <a:schemeClr val="accent1"/>
                  </a:solidFill>
                  <a:latin typeface="+mj-lt"/>
                </a:rPr>
                <a:t>Contrary to popular belief, Lorem Ipsum is not simply random text. It has roots in a piece of classical Latin literature from 45 BC, making it over 2000.</a:t>
              </a:r>
            </a:p>
          </p:txBody>
        </p:sp>
        <p:sp>
          <p:nvSpPr>
            <p:cNvPr id="25" name="Text Placeholder 7"/>
            <p:cNvSpPr txBox="1">
              <a:spLocks/>
            </p:cNvSpPr>
            <p:nvPr/>
          </p:nvSpPr>
          <p:spPr>
            <a:xfrm>
              <a:off x="266700" y="3250403"/>
              <a:ext cx="4085167" cy="1122871"/>
            </a:xfrm>
            <a:prstGeom prst="rect">
              <a:avLst/>
            </a:prstGeom>
            <a:noFill/>
          </p:spPr>
          <p:txBody>
            <a:bodyPr wrap="square"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chemeClr val="accent2"/>
                </a:buClr>
                <a:buSzPct val="125000"/>
                <a:buFont typeface="Wingdings" panose="05000000000000000000" pitchFamily="2" charset="2"/>
                <a:buChar char="§"/>
              </a:pPr>
              <a:r>
                <a:rPr lang="en-US" sz="1600" b="1" dirty="0">
                  <a:solidFill>
                    <a:schemeClr val="accent1"/>
                  </a:solidFill>
                  <a:latin typeface="+mj-lt"/>
                </a:rPr>
                <a:t>Your Heading Here</a:t>
              </a:r>
            </a:p>
            <a:p>
              <a:pPr algn="just">
                <a:buClr>
                  <a:schemeClr val="accent2"/>
                </a:buClr>
                <a:buSzPct val="125000"/>
                <a:buFont typeface="Wingdings" panose="05000000000000000000" pitchFamily="2" charset="2"/>
                <a:buChar char="§"/>
              </a:pPr>
              <a:endParaRPr lang="en-US" sz="100" b="1" dirty="0">
                <a:solidFill>
                  <a:schemeClr val="accent1"/>
                </a:solidFill>
                <a:latin typeface="+mj-lt"/>
              </a:endParaRPr>
            </a:p>
            <a:p>
              <a:pPr marL="234950" indent="0" algn="just">
                <a:lnSpc>
                  <a:spcPts val="1300"/>
                </a:lnSpc>
                <a:spcBef>
                  <a:spcPts val="0"/>
                </a:spcBef>
                <a:buSzPct val="125000"/>
                <a:buFont typeface="Arial" panose="020B0604020202020204" pitchFamily="34" charset="0"/>
                <a:buNone/>
              </a:pPr>
              <a:r>
                <a:rPr lang="en-US" sz="1600" dirty="0">
                  <a:solidFill>
                    <a:schemeClr val="accent1"/>
                  </a:solidFill>
                  <a:latin typeface="+mj-lt"/>
                </a:rPr>
                <a:t>Contrary to popular belief, Lorem Ipsum is not simply random text. It has roots in a piece of classical Latin literature from 45 BC, making it over 2000.</a:t>
              </a:r>
            </a:p>
          </p:txBody>
        </p:sp>
        <p:sp>
          <p:nvSpPr>
            <p:cNvPr id="26" name="Text Placeholder 7"/>
            <p:cNvSpPr txBox="1">
              <a:spLocks/>
            </p:cNvSpPr>
            <p:nvPr/>
          </p:nvSpPr>
          <p:spPr>
            <a:xfrm>
              <a:off x="266700" y="4456460"/>
              <a:ext cx="4085167" cy="1164421"/>
            </a:xfrm>
            <a:prstGeom prst="rect">
              <a:avLst/>
            </a:prstGeom>
            <a:noFill/>
          </p:spPr>
          <p:txBody>
            <a:bodyPr wrap="square"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chemeClr val="accent2"/>
                </a:buClr>
                <a:buSzPct val="125000"/>
                <a:buFont typeface="Wingdings" panose="05000000000000000000" pitchFamily="2" charset="2"/>
                <a:buChar char="§"/>
              </a:pPr>
              <a:r>
                <a:rPr lang="en-US" sz="1600" b="1" dirty="0">
                  <a:solidFill>
                    <a:schemeClr val="accent1"/>
                  </a:solidFill>
                  <a:latin typeface="+mj-lt"/>
                </a:rPr>
                <a:t>Your Heading Here</a:t>
              </a:r>
            </a:p>
            <a:p>
              <a:pPr algn="just">
                <a:buClr>
                  <a:schemeClr val="accent2"/>
                </a:buClr>
                <a:buSzPct val="125000"/>
                <a:buFont typeface="Wingdings" panose="05000000000000000000" pitchFamily="2" charset="2"/>
                <a:buChar char="§"/>
              </a:pPr>
              <a:endParaRPr lang="en-US" sz="100" b="1" dirty="0">
                <a:solidFill>
                  <a:schemeClr val="accent1"/>
                </a:solidFill>
                <a:latin typeface="+mj-lt"/>
              </a:endParaRPr>
            </a:p>
            <a:p>
              <a:pPr marL="234950" indent="0" algn="just">
                <a:lnSpc>
                  <a:spcPts val="1300"/>
                </a:lnSpc>
                <a:spcBef>
                  <a:spcPts val="0"/>
                </a:spcBef>
                <a:buSzPct val="125000"/>
                <a:buFont typeface="Arial" panose="020B0604020202020204" pitchFamily="34" charset="0"/>
                <a:buNone/>
              </a:pPr>
              <a:r>
                <a:rPr lang="en-US" sz="1600" dirty="0">
                  <a:solidFill>
                    <a:schemeClr val="accent1"/>
                  </a:solidFill>
                  <a:latin typeface="+mj-lt"/>
                </a:rPr>
                <a:t>Contrary to popular belief, Lorem Ipsum is not simply random text. It has roots in a piece of classical Latin literature from 45 BC, making it over 2000.</a:t>
              </a:r>
            </a:p>
          </p:txBody>
        </p:sp>
      </p:grpSp>
      <p:sp>
        <p:nvSpPr>
          <p:cNvPr id="27" name="Text Placeholder 7"/>
          <p:cNvSpPr txBox="1">
            <a:spLocks/>
          </p:cNvSpPr>
          <p:nvPr/>
        </p:nvSpPr>
        <p:spPr>
          <a:xfrm>
            <a:off x="8348133" y="1864449"/>
            <a:ext cx="3577167" cy="1289584"/>
          </a:xfrm>
          <a:prstGeom prst="rect">
            <a:avLst/>
          </a:prstGeom>
          <a:noFill/>
        </p:spPr>
        <p:txBody>
          <a:bodyPr wrap="square"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chemeClr val="accent2"/>
              </a:buClr>
              <a:buSzPct val="125000"/>
              <a:buFont typeface="Wingdings" panose="05000000000000000000" pitchFamily="2" charset="2"/>
              <a:buChar char="§"/>
            </a:pPr>
            <a:r>
              <a:rPr lang="en-US" sz="1600" b="1" dirty="0">
                <a:solidFill>
                  <a:schemeClr val="accent1"/>
                </a:solidFill>
                <a:latin typeface="+mj-lt"/>
              </a:rPr>
              <a:t>Your Heading Here</a:t>
            </a:r>
          </a:p>
          <a:p>
            <a:pPr algn="just">
              <a:buClr>
                <a:schemeClr val="accent2"/>
              </a:buClr>
              <a:buSzPct val="125000"/>
              <a:buFont typeface="Wingdings" panose="05000000000000000000" pitchFamily="2" charset="2"/>
              <a:buChar char="§"/>
            </a:pPr>
            <a:endParaRPr lang="en-US" sz="100" b="1" dirty="0">
              <a:solidFill>
                <a:schemeClr val="accent1"/>
              </a:solidFill>
              <a:latin typeface="+mj-lt"/>
            </a:endParaRPr>
          </a:p>
          <a:p>
            <a:pPr indent="0" algn="just">
              <a:lnSpc>
                <a:spcPts val="1300"/>
              </a:lnSpc>
              <a:spcBef>
                <a:spcPts val="0"/>
              </a:spcBef>
              <a:buSzPct val="125000"/>
              <a:buFont typeface="Arial" panose="020B0604020202020204" pitchFamily="34" charset="0"/>
              <a:buNone/>
            </a:pPr>
            <a:r>
              <a:rPr lang="en-US" sz="1600" dirty="0">
                <a:solidFill>
                  <a:schemeClr val="accent1"/>
                </a:solidFill>
                <a:latin typeface="+mj-lt"/>
              </a:rPr>
              <a:t>Contrary to popular belief, Lorem Ipsum is not simply random text. It has roots in a piece of classical Latin literature from 45 BC, making it over 2000.</a:t>
            </a:r>
          </a:p>
        </p:txBody>
      </p:sp>
      <p:sp>
        <p:nvSpPr>
          <p:cNvPr id="28" name="Text Placeholder 7"/>
          <p:cNvSpPr txBox="1">
            <a:spLocks/>
          </p:cNvSpPr>
          <p:nvPr/>
        </p:nvSpPr>
        <p:spPr>
          <a:xfrm>
            <a:off x="8348133" y="3160779"/>
            <a:ext cx="3577167" cy="1289584"/>
          </a:xfrm>
          <a:prstGeom prst="rect">
            <a:avLst/>
          </a:prstGeom>
          <a:noFill/>
        </p:spPr>
        <p:txBody>
          <a:bodyPr wrap="square"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chemeClr val="accent2"/>
              </a:buClr>
              <a:buSzPct val="125000"/>
              <a:buFont typeface="Wingdings" panose="05000000000000000000" pitchFamily="2" charset="2"/>
              <a:buChar char="§"/>
            </a:pPr>
            <a:r>
              <a:rPr lang="en-US" sz="1600" b="1" dirty="0">
                <a:solidFill>
                  <a:schemeClr val="accent1"/>
                </a:solidFill>
                <a:latin typeface="+mj-lt"/>
              </a:rPr>
              <a:t>Your Heading Here</a:t>
            </a:r>
          </a:p>
          <a:p>
            <a:pPr algn="just">
              <a:buClr>
                <a:schemeClr val="accent2"/>
              </a:buClr>
              <a:buSzPct val="125000"/>
              <a:buFont typeface="Wingdings" panose="05000000000000000000" pitchFamily="2" charset="2"/>
              <a:buChar char="§"/>
            </a:pPr>
            <a:endParaRPr lang="en-US" sz="100" b="1" dirty="0">
              <a:solidFill>
                <a:schemeClr val="accent1"/>
              </a:solidFill>
              <a:latin typeface="+mj-lt"/>
            </a:endParaRPr>
          </a:p>
          <a:p>
            <a:pPr indent="0" algn="just">
              <a:lnSpc>
                <a:spcPts val="1300"/>
              </a:lnSpc>
              <a:spcBef>
                <a:spcPts val="0"/>
              </a:spcBef>
              <a:buSzPct val="125000"/>
              <a:buFont typeface="Arial" panose="020B0604020202020204" pitchFamily="34" charset="0"/>
              <a:buNone/>
            </a:pPr>
            <a:r>
              <a:rPr lang="en-US" sz="1600" dirty="0">
                <a:solidFill>
                  <a:schemeClr val="accent1"/>
                </a:solidFill>
                <a:latin typeface="+mj-lt"/>
              </a:rPr>
              <a:t>Contrary to popular belief, Lorem Ipsum is not simply random text. It has roots in a piece of classical Latin literature from 45 BC, making it over 2000.</a:t>
            </a:r>
          </a:p>
        </p:txBody>
      </p:sp>
      <p:sp>
        <p:nvSpPr>
          <p:cNvPr id="30" name="Text Placeholder 7"/>
          <p:cNvSpPr txBox="1">
            <a:spLocks/>
          </p:cNvSpPr>
          <p:nvPr/>
        </p:nvSpPr>
        <p:spPr>
          <a:xfrm>
            <a:off x="8348133" y="5001322"/>
            <a:ext cx="3577167" cy="649409"/>
          </a:xfrm>
          <a:prstGeom prst="rect">
            <a:avLst/>
          </a:prstGeom>
          <a:noFill/>
        </p:spPr>
        <p:txBody>
          <a:bodyPr wrap="square"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chemeClr val="accent2"/>
              </a:buClr>
              <a:buSzPct val="125000"/>
              <a:buFont typeface="Wingdings" panose="05000000000000000000" pitchFamily="2" charset="2"/>
              <a:buChar char="§"/>
            </a:pPr>
            <a:r>
              <a:rPr lang="en-US" sz="1600" b="1" dirty="0">
                <a:solidFill>
                  <a:schemeClr val="bg1"/>
                </a:solidFill>
                <a:latin typeface="+mj-lt"/>
              </a:rPr>
              <a:t>Your Heading Here</a:t>
            </a:r>
          </a:p>
          <a:p>
            <a:pPr indent="0" algn="just">
              <a:lnSpc>
                <a:spcPts val="1300"/>
              </a:lnSpc>
              <a:spcBef>
                <a:spcPts val="0"/>
              </a:spcBef>
              <a:buSzPct val="125000"/>
              <a:buNone/>
            </a:pPr>
            <a:r>
              <a:rPr lang="en-US" sz="1600" dirty="0">
                <a:solidFill>
                  <a:schemeClr val="bg1"/>
                </a:solidFill>
                <a:latin typeface="+mj-lt"/>
              </a:rPr>
              <a:t>Contrary to popular belief, Lorem Ipsum is not simply random text. It</a:t>
            </a:r>
          </a:p>
        </p:txBody>
      </p:sp>
    </p:spTree>
    <p:extLst>
      <p:ext uri="{BB962C8B-B14F-4D97-AF65-F5344CB8AC3E}">
        <p14:creationId xmlns:p14="http://schemas.microsoft.com/office/powerpoint/2010/main" val="24422330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0"/>
          </p:nvPr>
        </p:nvPicPr>
        <p:blipFill>
          <a:blip r:embed="rId2" cstate="screen">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a:ext>
            </a:extLst>
          </a:blip>
          <a:srcRect/>
          <a:stretch>
            <a:fillRect/>
          </a:stretch>
        </p:blipFill>
        <p:spPr/>
      </p:pic>
      <p:sp>
        <p:nvSpPr>
          <p:cNvPr id="6" name="Text Placeholder 5"/>
          <p:cNvSpPr>
            <a:spLocks noGrp="1"/>
          </p:cNvSpPr>
          <p:nvPr>
            <p:ph type="body" sz="quarter" idx="13"/>
          </p:nvPr>
        </p:nvSpPr>
        <p:spPr/>
        <p:txBody>
          <a:bodyPr/>
          <a:lstStyle/>
          <a:p>
            <a:r>
              <a:rPr lang="en-US" dirty="0"/>
              <a:t>Three Columns</a:t>
            </a:r>
          </a:p>
        </p:txBody>
      </p:sp>
      <p:sp>
        <p:nvSpPr>
          <p:cNvPr id="12" name="Rectangle 11"/>
          <p:cNvSpPr/>
          <p:nvPr/>
        </p:nvSpPr>
        <p:spPr>
          <a:xfrm>
            <a:off x="8348133" y="1862662"/>
            <a:ext cx="3843867" cy="762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8348133" y="4961462"/>
            <a:ext cx="3843867" cy="762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266699" y="2031995"/>
            <a:ext cx="2694518" cy="3570208"/>
          </a:xfrm>
          <a:prstGeom prst="rect">
            <a:avLst/>
          </a:prstGeom>
          <a:noFill/>
        </p:spPr>
        <p:txBody>
          <a:bodyPr wrap="square" rtlCol="0">
            <a:spAutoFit/>
          </a:bodyPr>
          <a:lstStyle/>
          <a:p>
            <a:r>
              <a:rPr lang="en-US" dirty="0">
                <a:solidFill>
                  <a:schemeClr val="accent1"/>
                </a:solidFill>
                <a:latin typeface="+mj-lt"/>
              </a:rPr>
              <a:t>Heading Here</a:t>
            </a:r>
          </a:p>
          <a:p>
            <a:r>
              <a:rPr lang="en-US" sz="1600" dirty="0">
                <a:solidFill>
                  <a:schemeClr val="accent1"/>
                </a:solidFill>
                <a:latin typeface="+mj-lt"/>
              </a:rPr>
              <a:t>Contrary to popular belief, Lorem Ipsum is not simply random text. It has roots in a piece of classical Latin literature from 45 BC, making it over 2000 years old. Richard McClintock, a Latin professor at Hampden-Sydney College in Virginia, looked up one of the more Hampden-Sydney College in Virginia, looked up one of the more</a:t>
            </a:r>
          </a:p>
        </p:txBody>
      </p:sp>
      <p:sp>
        <p:nvSpPr>
          <p:cNvPr id="34" name="TextBox 33"/>
          <p:cNvSpPr txBox="1"/>
          <p:nvPr/>
        </p:nvSpPr>
        <p:spPr>
          <a:xfrm>
            <a:off x="2900891" y="2031995"/>
            <a:ext cx="2694518" cy="3570208"/>
          </a:xfrm>
          <a:prstGeom prst="rect">
            <a:avLst/>
          </a:prstGeom>
          <a:noFill/>
        </p:spPr>
        <p:txBody>
          <a:bodyPr wrap="square" rtlCol="0">
            <a:spAutoFit/>
          </a:bodyPr>
          <a:lstStyle/>
          <a:p>
            <a:r>
              <a:rPr lang="en-US" dirty="0">
                <a:solidFill>
                  <a:schemeClr val="accent1"/>
                </a:solidFill>
                <a:latin typeface="+mj-lt"/>
              </a:rPr>
              <a:t>Heading Here</a:t>
            </a:r>
          </a:p>
          <a:p>
            <a:r>
              <a:rPr lang="en-US" sz="1600" dirty="0">
                <a:solidFill>
                  <a:schemeClr val="accent1"/>
                </a:solidFill>
                <a:latin typeface="+mj-lt"/>
              </a:rPr>
              <a:t>Contrary to popular belief, Lorem Ipsum is not simply random text. It has roots in a piece of classical Latin literature from 45 BC, making it over 2000 years old. Richard McClintock, a Latin professor at Hampden-Sydney College in Virginia, looked up one of the more Hampden-Sydney College in Virginia, looked up one of the more</a:t>
            </a:r>
          </a:p>
        </p:txBody>
      </p:sp>
      <p:sp>
        <p:nvSpPr>
          <p:cNvPr id="36" name="TextBox 35"/>
          <p:cNvSpPr txBox="1"/>
          <p:nvPr/>
        </p:nvSpPr>
        <p:spPr>
          <a:xfrm>
            <a:off x="5535082" y="2031995"/>
            <a:ext cx="2694518" cy="3570208"/>
          </a:xfrm>
          <a:prstGeom prst="rect">
            <a:avLst/>
          </a:prstGeom>
          <a:noFill/>
        </p:spPr>
        <p:txBody>
          <a:bodyPr wrap="square" rtlCol="0">
            <a:spAutoFit/>
          </a:bodyPr>
          <a:lstStyle/>
          <a:p>
            <a:r>
              <a:rPr lang="en-US" dirty="0">
                <a:solidFill>
                  <a:schemeClr val="accent1"/>
                </a:solidFill>
                <a:latin typeface="+mj-lt"/>
              </a:rPr>
              <a:t>Heading Here</a:t>
            </a:r>
          </a:p>
          <a:p>
            <a:r>
              <a:rPr lang="en-US" sz="1600" dirty="0">
                <a:solidFill>
                  <a:schemeClr val="accent1"/>
                </a:solidFill>
                <a:latin typeface="+mj-lt"/>
              </a:rPr>
              <a:t>Contrary to popular belief, Lorem Ipsum is not simply random text. It has roots in a piece of classical Latin literature from 45 BC, making it over 2000 years old. Richard McClintock, a Latin professor at Hampden-Sydney College in Virginia, looked up one of the more Hampden-Sydney College in Virginia, looked up one of the more</a:t>
            </a:r>
          </a:p>
        </p:txBody>
      </p:sp>
    </p:spTree>
    <p:extLst>
      <p:ext uri="{BB962C8B-B14F-4D97-AF65-F5344CB8AC3E}">
        <p14:creationId xmlns:p14="http://schemas.microsoft.com/office/powerpoint/2010/main" val="7806931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p:pic>
      <p:sp>
        <p:nvSpPr>
          <p:cNvPr id="4" name="Text Placeholder 3"/>
          <p:cNvSpPr>
            <a:spLocks noGrp="1"/>
          </p:cNvSpPr>
          <p:nvPr>
            <p:ph type="body" sz="quarter" idx="14"/>
          </p:nvPr>
        </p:nvSpPr>
        <p:spPr/>
        <p:txBody>
          <a:bodyPr/>
          <a:lstStyle/>
          <a:p>
            <a:r>
              <a:rPr lang="en-US" dirty="0"/>
              <a:t>Image + Icon combination</a:t>
            </a:r>
          </a:p>
        </p:txBody>
      </p:sp>
      <p:sp>
        <p:nvSpPr>
          <p:cNvPr id="79" name="Oval 78"/>
          <p:cNvSpPr>
            <a:spLocks noChangeAspect="1"/>
          </p:cNvSpPr>
          <p:nvPr/>
        </p:nvSpPr>
        <p:spPr>
          <a:xfrm>
            <a:off x="6789360" y="3236259"/>
            <a:ext cx="1737360" cy="1737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309"/>
          <p:cNvGrpSpPr>
            <a:grpSpLocks noChangeAspect="1"/>
          </p:cNvGrpSpPr>
          <p:nvPr/>
        </p:nvGrpSpPr>
        <p:grpSpPr bwMode="auto">
          <a:xfrm>
            <a:off x="7196560" y="3739179"/>
            <a:ext cx="922960" cy="731520"/>
            <a:chOff x="3050" y="326"/>
            <a:chExt cx="3100" cy="2457"/>
          </a:xfrm>
          <a:solidFill>
            <a:schemeClr val="bg1"/>
          </a:solidFill>
        </p:grpSpPr>
        <p:sp>
          <p:nvSpPr>
            <p:cNvPr id="23" name="Freeform 310"/>
            <p:cNvSpPr>
              <a:spLocks noEditPoints="1"/>
            </p:cNvSpPr>
            <p:nvPr/>
          </p:nvSpPr>
          <p:spPr bwMode="auto">
            <a:xfrm>
              <a:off x="3050" y="326"/>
              <a:ext cx="2513" cy="2457"/>
            </a:xfrm>
            <a:custGeom>
              <a:avLst/>
              <a:gdLst>
                <a:gd name="T0" fmla="*/ 1287 w 1328"/>
                <a:gd name="T1" fmla="*/ 22 h 1297"/>
                <a:gd name="T2" fmla="*/ 1199 w 1328"/>
                <a:gd name="T3" fmla="*/ 10 h 1297"/>
                <a:gd name="T4" fmla="*/ 781 w 1328"/>
                <a:gd name="T5" fmla="*/ 160 h 1297"/>
                <a:gd name="T6" fmla="*/ 762 w 1328"/>
                <a:gd name="T7" fmla="*/ 201 h 1297"/>
                <a:gd name="T8" fmla="*/ 803 w 1328"/>
                <a:gd name="T9" fmla="*/ 220 h 1297"/>
                <a:gd name="T10" fmla="*/ 1221 w 1328"/>
                <a:gd name="T11" fmla="*/ 70 h 1297"/>
                <a:gd name="T12" fmla="*/ 1250 w 1328"/>
                <a:gd name="T13" fmla="*/ 74 h 1297"/>
                <a:gd name="T14" fmla="*/ 1264 w 1328"/>
                <a:gd name="T15" fmla="*/ 100 h 1297"/>
                <a:gd name="T16" fmla="*/ 1264 w 1328"/>
                <a:gd name="T17" fmla="*/ 1023 h 1297"/>
                <a:gd name="T18" fmla="*/ 1250 w 1328"/>
                <a:gd name="T19" fmla="*/ 1050 h 1297"/>
                <a:gd name="T20" fmla="*/ 1221 w 1328"/>
                <a:gd name="T21" fmla="*/ 1053 h 1297"/>
                <a:gd name="T22" fmla="*/ 1198 w 1328"/>
                <a:gd name="T23" fmla="*/ 1045 h 1297"/>
                <a:gd name="T24" fmla="*/ 1198 w 1328"/>
                <a:gd name="T25" fmla="*/ 717 h 1297"/>
                <a:gd name="T26" fmla="*/ 1166 w 1328"/>
                <a:gd name="T27" fmla="*/ 685 h 1297"/>
                <a:gd name="T28" fmla="*/ 1134 w 1328"/>
                <a:gd name="T29" fmla="*/ 717 h 1297"/>
                <a:gd name="T30" fmla="*/ 1134 w 1328"/>
                <a:gd name="T31" fmla="*/ 1022 h 1297"/>
                <a:gd name="T32" fmla="*/ 448 w 1328"/>
                <a:gd name="T33" fmla="*/ 776 h 1297"/>
                <a:gd name="T34" fmla="*/ 448 w 1328"/>
                <a:gd name="T35" fmla="*/ 348 h 1297"/>
                <a:gd name="T36" fmla="*/ 586 w 1328"/>
                <a:gd name="T37" fmla="*/ 298 h 1297"/>
                <a:gd name="T38" fmla="*/ 606 w 1328"/>
                <a:gd name="T39" fmla="*/ 257 h 1297"/>
                <a:gd name="T40" fmla="*/ 565 w 1328"/>
                <a:gd name="T41" fmla="*/ 238 h 1297"/>
                <a:gd name="T42" fmla="*/ 410 w 1328"/>
                <a:gd name="T43" fmla="*/ 293 h 1297"/>
                <a:gd name="T44" fmla="*/ 160 w 1328"/>
                <a:gd name="T45" fmla="*/ 293 h 1297"/>
                <a:gd name="T46" fmla="*/ 0 w 1328"/>
                <a:gd name="T47" fmla="*/ 453 h 1297"/>
                <a:gd name="T48" fmla="*/ 0 w 1328"/>
                <a:gd name="T49" fmla="*/ 671 h 1297"/>
                <a:gd name="T50" fmla="*/ 160 w 1328"/>
                <a:gd name="T51" fmla="*/ 831 h 1297"/>
                <a:gd name="T52" fmla="*/ 163 w 1328"/>
                <a:gd name="T53" fmla="*/ 831 h 1297"/>
                <a:gd name="T54" fmla="*/ 320 w 1328"/>
                <a:gd name="T55" fmla="*/ 1253 h 1297"/>
                <a:gd name="T56" fmla="*/ 383 w 1328"/>
                <a:gd name="T57" fmla="*/ 1297 h 1297"/>
                <a:gd name="T58" fmla="*/ 543 w 1328"/>
                <a:gd name="T59" fmla="*/ 1297 h 1297"/>
                <a:gd name="T60" fmla="*/ 599 w 1328"/>
                <a:gd name="T61" fmla="*/ 1268 h 1297"/>
                <a:gd name="T62" fmla="*/ 607 w 1328"/>
                <a:gd name="T63" fmla="*/ 1206 h 1297"/>
                <a:gd name="T64" fmla="*/ 476 w 1328"/>
                <a:gd name="T65" fmla="*/ 854 h 1297"/>
                <a:gd name="T66" fmla="*/ 1199 w 1328"/>
                <a:gd name="T67" fmla="*/ 1114 h 1297"/>
                <a:gd name="T68" fmla="*/ 1232 w 1328"/>
                <a:gd name="T69" fmla="*/ 1119 h 1297"/>
                <a:gd name="T70" fmla="*/ 1287 w 1328"/>
                <a:gd name="T71" fmla="*/ 1102 h 1297"/>
                <a:gd name="T72" fmla="*/ 1328 w 1328"/>
                <a:gd name="T73" fmla="*/ 1023 h 1297"/>
                <a:gd name="T74" fmla="*/ 1328 w 1328"/>
                <a:gd name="T75" fmla="*/ 100 h 1297"/>
                <a:gd name="T76" fmla="*/ 1287 w 1328"/>
                <a:gd name="T77" fmla="*/ 22 h 1297"/>
                <a:gd name="T78" fmla="*/ 160 w 1328"/>
                <a:gd name="T79" fmla="*/ 767 h 1297"/>
                <a:gd name="T80" fmla="*/ 64 w 1328"/>
                <a:gd name="T81" fmla="*/ 671 h 1297"/>
                <a:gd name="T82" fmla="*/ 64 w 1328"/>
                <a:gd name="T83" fmla="*/ 453 h 1297"/>
                <a:gd name="T84" fmla="*/ 160 w 1328"/>
                <a:gd name="T85" fmla="*/ 357 h 1297"/>
                <a:gd name="T86" fmla="*/ 384 w 1328"/>
                <a:gd name="T87" fmla="*/ 357 h 1297"/>
                <a:gd name="T88" fmla="*/ 384 w 1328"/>
                <a:gd name="T89" fmla="*/ 767 h 1297"/>
                <a:gd name="T90" fmla="*/ 160 w 1328"/>
                <a:gd name="T91" fmla="*/ 767 h 1297"/>
                <a:gd name="T92" fmla="*/ 547 w 1328"/>
                <a:gd name="T93" fmla="*/ 1228 h 1297"/>
                <a:gd name="T94" fmla="*/ 546 w 1328"/>
                <a:gd name="T95" fmla="*/ 1232 h 1297"/>
                <a:gd name="T96" fmla="*/ 543 w 1328"/>
                <a:gd name="T97" fmla="*/ 1233 h 1297"/>
                <a:gd name="T98" fmla="*/ 383 w 1328"/>
                <a:gd name="T99" fmla="*/ 1233 h 1297"/>
                <a:gd name="T100" fmla="*/ 380 w 1328"/>
                <a:gd name="T101" fmla="*/ 1231 h 1297"/>
                <a:gd name="T102" fmla="*/ 231 w 1328"/>
                <a:gd name="T103" fmla="*/ 831 h 1297"/>
                <a:gd name="T104" fmla="*/ 399 w 1328"/>
                <a:gd name="T105" fmla="*/ 831 h 1297"/>
                <a:gd name="T106" fmla="*/ 547 w 1328"/>
                <a:gd name="T107" fmla="*/ 1228 h 1297"/>
                <a:gd name="T108" fmla="*/ 547 w 1328"/>
                <a:gd name="T109" fmla="*/ 1228 h 1297"/>
                <a:gd name="T110" fmla="*/ 547 w 1328"/>
                <a:gd name="T111" fmla="*/ 1228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8" h="1297">
                  <a:moveTo>
                    <a:pt x="1287" y="22"/>
                  </a:moveTo>
                  <a:cubicBezTo>
                    <a:pt x="1261" y="4"/>
                    <a:pt x="1229" y="0"/>
                    <a:pt x="1199" y="10"/>
                  </a:cubicBezTo>
                  <a:cubicBezTo>
                    <a:pt x="781" y="160"/>
                    <a:pt x="781" y="160"/>
                    <a:pt x="781" y="160"/>
                  </a:cubicBezTo>
                  <a:cubicBezTo>
                    <a:pt x="764" y="166"/>
                    <a:pt x="756" y="184"/>
                    <a:pt x="762" y="201"/>
                  </a:cubicBezTo>
                  <a:cubicBezTo>
                    <a:pt x="768" y="218"/>
                    <a:pt x="786" y="226"/>
                    <a:pt x="803" y="220"/>
                  </a:cubicBezTo>
                  <a:cubicBezTo>
                    <a:pt x="1221" y="70"/>
                    <a:pt x="1221" y="70"/>
                    <a:pt x="1221" y="70"/>
                  </a:cubicBezTo>
                  <a:cubicBezTo>
                    <a:pt x="1231" y="67"/>
                    <a:pt x="1242" y="68"/>
                    <a:pt x="1250" y="74"/>
                  </a:cubicBezTo>
                  <a:cubicBezTo>
                    <a:pt x="1259" y="80"/>
                    <a:pt x="1264" y="90"/>
                    <a:pt x="1264" y="100"/>
                  </a:cubicBezTo>
                  <a:cubicBezTo>
                    <a:pt x="1264" y="1023"/>
                    <a:pt x="1264" y="1023"/>
                    <a:pt x="1264" y="1023"/>
                  </a:cubicBezTo>
                  <a:cubicBezTo>
                    <a:pt x="1264" y="1034"/>
                    <a:pt x="1259" y="1043"/>
                    <a:pt x="1250" y="1050"/>
                  </a:cubicBezTo>
                  <a:cubicBezTo>
                    <a:pt x="1242" y="1056"/>
                    <a:pt x="1231" y="1057"/>
                    <a:pt x="1221" y="1053"/>
                  </a:cubicBezTo>
                  <a:cubicBezTo>
                    <a:pt x="1198" y="1045"/>
                    <a:pt x="1198" y="1045"/>
                    <a:pt x="1198" y="1045"/>
                  </a:cubicBezTo>
                  <a:cubicBezTo>
                    <a:pt x="1198" y="717"/>
                    <a:pt x="1198" y="717"/>
                    <a:pt x="1198" y="717"/>
                  </a:cubicBezTo>
                  <a:cubicBezTo>
                    <a:pt x="1198" y="699"/>
                    <a:pt x="1184" y="685"/>
                    <a:pt x="1166" y="685"/>
                  </a:cubicBezTo>
                  <a:cubicBezTo>
                    <a:pt x="1148" y="685"/>
                    <a:pt x="1134" y="699"/>
                    <a:pt x="1134" y="717"/>
                  </a:cubicBezTo>
                  <a:cubicBezTo>
                    <a:pt x="1134" y="1022"/>
                    <a:pt x="1134" y="1022"/>
                    <a:pt x="1134" y="1022"/>
                  </a:cubicBezTo>
                  <a:cubicBezTo>
                    <a:pt x="448" y="776"/>
                    <a:pt x="448" y="776"/>
                    <a:pt x="448" y="776"/>
                  </a:cubicBezTo>
                  <a:cubicBezTo>
                    <a:pt x="448" y="348"/>
                    <a:pt x="448" y="348"/>
                    <a:pt x="448" y="348"/>
                  </a:cubicBezTo>
                  <a:cubicBezTo>
                    <a:pt x="586" y="298"/>
                    <a:pt x="586" y="298"/>
                    <a:pt x="586" y="298"/>
                  </a:cubicBezTo>
                  <a:cubicBezTo>
                    <a:pt x="603" y="292"/>
                    <a:pt x="612" y="274"/>
                    <a:pt x="606" y="257"/>
                  </a:cubicBezTo>
                  <a:cubicBezTo>
                    <a:pt x="600" y="240"/>
                    <a:pt x="581" y="232"/>
                    <a:pt x="565" y="238"/>
                  </a:cubicBezTo>
                  <a:cubicBezTo>
                    <a:pt x="410" y="293"/>
                    <a:pt x="410" y="293"/>
                    <a:pt x="410" y="293"/>
                  </a:cubicBezTo>
                  <a:cubicBezTo>
                    <a:pt x="160" y="293"/>
                    <a:pt x="160" y="293"/>
                    <a:pt x="160" y="293"/>
                  </a:cubicBezTo>
                  <a:cubicBezTo>
                    <a:pt x="72" y="293"/>
                    <a:pt x="0" y="365"/>
                    <a:pt x="0" y="453"/>
                  </a:cubicBezTo>
                  <a:cubicBezTo>
                    <a:pt x="0" y="671"/>
                    <a:pt x="0" y="671"/>
                    <a:pt x="0" y="671"/>
                  </a:cubicBezTo>
                  <a:cubicBezTo>
                    <a:pt x="0" y="759"/>
                    <a:pt x="72" y="831"/>
                    <a:pt x="160" y="831"/>
                  </a:cubicBezTo>
                  <a:cubicBezTo>
                    <a:pt x="163" y="831"/>
                    <a:pt x="163" y="831"/>
                    <a:pt x="163" y="831"/>
                  </a:cubicBezTo>
                  <a:cubicBezTo>
                    <a:pt x="320" y="1253"/>
                    <a:pt x="320" y="1253"/>
                    <a:pt x="320" y="1253"/>
                  </a:cubicBezTo>
                  <a:cubicBezTo>
                    <a:pt x="329" y="1279"/>
                    <a:pt x="355" y="1297"/>
                    <a:pt x="383" y="1297"/>
                  </a:cubicBezTo>
                  <a:cubicBezTo>
                    <a:pt x="543" y="1297"/>
                    <a:pt x="543" y="1297"/>
                    <a:pt x="543" y="1297"/>
                  </a:cubicBezTo>
                  <a:cubicBezTo>
                    <a:pt x="565" y="1297"/>
                    <a:pt x="586" y="1286"/>
                    <a:pt x="599" y="1268"/>
                  </a:cubicBezTo>
                  <a:cubicBezTo>
                    <a:pt x="611" y="1250"/>
                    <a:pt x="614" y="1227"/>
                    <a:pt x="607" y="1206"/>
                  </a:cubicBezTo>
                  <a:cubicBezTo>
                    <a:pt x="476" y="854"/>
                    <a:pt x="476" y="854"/>
                    <a:pt x="476" y="854"/>
                  </a:cubicBezTo>
                  <a:cubicBezTo>
                    <a:pt x="1199" y="1114"/>
                    <a:pt x="1199" y="1114"/>
                    <a:pt x="1199" y="1114"/>
                  </a:cubicBezTo>
                  <a:cubicBezTo>
                    <a:pt x="1210" y="1118"/>
                    <a:pt x="1221" y="1119"/>
                    <a:pt x="1232" y="1119"/>
                  </a:cubicBezTo>
                  <a:cubicBezTo>
                    <a:pt x="1251" y="1119"/>
                    <a:pt x="1271" y="1113"/>
                    <a:pt x="1287" y="1102"/>
                  </a:cubicBezTo>
                  <a:cubicBezTo>
                    <a:pt x="1313" y="1084"/>
                    <a:pt x="1328" y="1055"/>
                    <a:pt x="1328" y="1023"/>
                  </a:cubicBezTo>
                  <a:cubicBezTo>
                    <a:pt x="1328" y="100"/>
                    <a:pt x="1328" y="100"/>
                    <a:pt x="1328" y="100"/>
                  </a:cubicBezTo>
                  <a:cubicBezTo>
                    <a:pt x="1328" y="69"/>
                    <a:pt x="1313" y="40"/>
                    <a:pt x="1287" y="22"/>
                  </a:cubicBezTo>
                  <a:close/>
                  <a:moveTo>
                    <a:pt x="160" y="767"/>
                  </a:moveTo>
                  <a:cubicBezTo>
                    <a:pt x="107" y="767"/>
                    <a:pt x="64" y="724"/>
                    <a:pt x="64" y="671"/>
                  </a:cubicBezTo>
                  <a:cubicBezTo>
                    <a:pt x="64" y="453"/>
                    <a:pt x="64" y="453"/>
                    <a:pt x="64" y="453"/>
                  </a:cubicBezTo>
                  <a:cubicBezTo>
                    <a:pt x="64" y="400"/>
                    <a:pt x="107" y="357"/>
                    <a:pt x="160" y="357"/>
                  </a:cubicBezTo>
                  <a:cubicBezTo>
                    <a:pt x="384" y="357"/>
                    <a:pt x="384" y="357"/>
                    <a:pt x="384" y="357"/>
                  </a:cubicBezTo>
                  <a:cubicBezTo>
                    <a:pt x="384" y="767"/>
                    <a:pt x="384" y="767"/>
                    <a:pt x="384" y="767"/>
                  </a:cubicBezTo>
                  <a:lnTo>
                    <a:pt x="160" y="767"/>
                  </a:lnTo>
                  <a:close/>
                  <a:moveTo>
                    <a:pt x="547" y="1228"/>
                  </a:moveTo>
                  <a:cubicBezTo>
                    <a:pt x="547" y="1229"/>
                    <a:pt x="547" y="1230"/>
                    <a:pt x="546" y="1232"/>
                  </a:cubicBezTo>
                  <a:cubicBezTo>
                    <a:pt x="545" y="1233"/>
                    <a:pt x="544" y="1233"/>
                    <a:pt x="543" y="1233"/>
                  </a:cubicBezTo>
                  <a:cubicBezTo>
                    <a:pt x="383" y="1233"/>
                    <a:pt x="383" y="1233"/>
                    <a:pt x="383" y="1233"/>
                  </a:cubicBezTo>
                  <a:cubicBezTo>
                    <a:pt x="381" y="1233"/>
                    <a:pt x="380" y="1232"/>
                    <a:pt x="380" y="1231"/>
                  </a:cubicBezTo>
                  <a:cubicBezTo>
                    <a:pt x="231" y="831"/>
                    <a:pt x="231" y="831"/>
                    <a:pt x="231" y="831"/>
                  </a:cubicBezTo>
                  <a:cubicBezTo>
                    <a:pt x="399" y="831"/>
                    <a:pt x="399" y="831"/>
                    <a:pt x="399" y="831"/>
                  </a:cubicBezTo>
                  <a:lnTo>
                    <a:pt x="547" y="1228"/>
                  </a:lnTo>
                  <a:close/>
                  <a:moveTo>
                    <a:pt x="547" y="1228"/>
                  </a:moveTo>
                  <a:cubicBezTo>
                    <a:pt x="547" y="1228"/>
                    <a:pt x="547" y="1228"/>
                    <a:pt x="547"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11"/>
            <p:cNvSpPr>
              <a:spLocks noEditPoints="1"/>
            </p:cNvSpPr>
            <p:nvPr/>
          </p:nvSpPr>
          <p:spPr bwMode="auto">
            <a:xfrm>
              <a:off x="4276" y="701"/>
              <a:ext cx="122"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12"/>
            <p:cNvSpPr>
              <a:spLocks noEditPoints="1"/>
            </p:cNvSpPr>
            <p:nvPr/>
          </p:nvSpPr>
          <p:spPr bwMode="auto">
            <a:xfrm>
              <a:off x="5690" y="1103"/>
              <a:ext cx="218" cy="570"/>
            </a:xfrm>
            <a:custGeom>
              <a:avLst/>
              <a:gdLst>
                <a:gd name="T0" fmla="*/ 58 w 115"/>
                <a:gd name="T1" fmla="*/ 12 h 301"/>
                <a:gd name="T2" fmla="*/ 12 w 115"/>
                <a:gd name="T3" fmla="*/ 12 h 301"/>
                <a:gd name="T4" fmla="*/ 12 w 115"/>
                <a:gd name="T5" fmla="*/ 58 h 301"/>
                <a:gd name="T6" fmla="*/ 51 w 115"/>
                <a:gd name="T7" fmla="*/ 152 h 301"/>
                <a:gd name="T8" fmla="*/ 12 w 115"/>
                <a:gd name="T9" fmla="*/ 246 h 301"/>
                <a:gd name="T10" fmla="*/ 12 w 115"/>
                <a:gd name="T11" fmla="*/ 291 h 301"/>
                <a:gd name="T12" fmla="*/ 35 w 115"/>
                <a:gd name="T13" fmla="*/ 301 h 301"/>
                <a:gd name="T14" fmla="*/ 58 w 115"/>
                <a:gd name="T15" fmla="*/ 291 h 301"/>
                <a:gd name="T16" fmla="*/ 115 w 115"/>
                <a:gd name="T17" fmla="*/ 152 h 301"/>
                <a:gd name="T18" fmla="*/ 58 w 115"/>
                <a:gd name="T19" fmla="*/ 12 h 301"/>
                <a:gd name="T20" fmla="*/ 58 w 115"/>
                <a:gd name="T21" fmla="*/ 12 h 301"/>
                <a:gd name="T22" fmla="*/ 58 w 115"/>
                <a:gd name="T23"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301">
                  <a:moveTo>
                    <a:pt x="58" y="12"/>
                  </a:moveTo>
                  <a:cubicBezTo>
                    <a:pt x="45" y="0"/>
                    <a:pt x="25" y="0"/>
                    <a:pt x="12" y="12"/>
                  </a:cubicBezTo>
                  <a:cubicBezTo>
                    <a:pt x="0" y="25"/>
                    <a:pt x="0" y="45"/>
                    <a:pt x="12" y="58"/>
                  </a:cubicBezTo>
                  <a:cubicBezTo>
                    <a:pt x="38" y="83"/>
                    <a:pt x="51" y="116"/>
                    <a:pt x="51" y="152"/>
                  </a:cubicBezTo>
                  <a:cubicBezTo>
                    <a:pt x="51" y="188"/>
                    <a:pt x="38" y="221"/>
                    <a:pt x="12" y="246"/>
                  </a:cubicBezTo>
                  <a:cubicBezTo>
                    <a:pt x="0" y="259"/>
                    <a:pt x="0" y="279"/>
                    <a:pt x="12" y="291"/>
                  </a:cubicBezTo>
                  <a:cubicBezTo>
                    <a:pt x="19" y="298"/>
                    <a:pt x="27" y="301"/>
                    <a:pt x="35" y="301"/>
                  </a:cubicBezTo>
                  <a:cubicBezTo>
                    <a:pt x="43" y="301"/>
                    <a:pt x="51" y="298"/>
                    <a:pt x="58" y="291"/>
                  </a:cubicBezTo>
                  <a:cubicBezTo>
                    <a:pt x="95" y="254"/>
                    <a:pt x="115" y="205"/>
                    <a:pt x="115" y="152"/>
                  </a:cubicBezTo>
                  <a:cubicBezTo>
                    <a:pt x="115" y="99"/>
                    <a:pt x="95" y="50"/>
                    <a:pt x="58" y="12"/>
                  </a:cubicBezTo>
                  <a:close/>
                  <a:moveTo>
                    <a:pt x="58" y="12"/>
                  </a:moveTo>
                  <a:cubicBezTo>
                    <a:pt x="58" y="12"/>
                    <a:pt x="58" y="12"/>
                    <a:pt x="5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13"/>
            <p:cNvSpPr>
              <a:spLocks noEditPoints="1"/>
            </p:cNvSpPr>
            <p:nvPr/>
          </p:nvSpPr>
          <p:spPr bwMode="auto">
            <a:xfrm>
              <a:off x="5861" y="930"/>
              <a:ext cx="289" cy="913"/>
            </a:xfrm>
            <a:custGeom>
              <a:avLst/>
              <a:gdLst>
                <a:gd name="T0" fmla="*/ 58 w 153"/>
                <a:gd name="T1" fmla="*/ 13 h 482"/>
                <a:gd name="T2" fmla="*/ 13 w 153"/>
                <a:gd name="T3" fmla="*/ 13 h 482"/>
                <a:gd name="T4" fmla="*/ 13 w 153"/>
                <a:gd name="T5" fmla="*/ 58 h 482"/>
                <a:gd name="T6" fmla="*/ 89 w 153"/>
                <a:gd name="T7" fmla="*/ 243 h 482"/>
                <a:gd name="T8" fmla="*/ 13 w 153"/>
                <a:gd name="T9" fmla="*/ 428 h 482"/>
                <a:gd name="T10" fmla="*/ 13 w 153"/>
                <a:gd name="T11" fmla="*/ 473 h 482"/>
                <a:gd name="T12" fmla="*/ 35 w 153"/>
                <a:gd name="T13" fmla="*/ 482 h 482"/>
                <a:gd name="T14" fmla="*/ 58 w 153"/>
                <a:gd name="T15" fmla="*/ 473 h 482"/>
                <a:gd name="T16" fmla="*/ 153 w 153"/>
                <a:gd name="T17" fmla="*/ 243 h 482"/>
                <a:gd name="T18" fmla="*/ 58 w 153"/>
                <a:gd name="T19" fmla="*/ 13 h 482"/>
                <a:gd name="T20" fmla="*/ 58 w 153"/>
                <a:gd name="T21" fmla="*/ 13 h 482"/>
                <a:gd name="T22" fmla="*/ 58 w 153"/>
                <a:gd name="T2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482">
                  <a:moveTo>
                    <a:pt x="58" y="13"/>
                  </a:moveTo>
                  <a:cubicBezTo>
                    <a:pt x="46" y="0"/>
                    <a:pt x="25" y="0"/>
                    <a:pt x="13" y="13"/>
                  </a:cubicBezTo>
                  <a:cubicBezTo>
                    <a:pt x="0" y="25"/>
                    <a:pt x="0" y="46"/>
                    <a:pt x="13" y="58"/>
                  </a:cubicBezTo>
                  <a:cubicBezTo>
                    <a:pt x="62" y="107"/>
                    <a:pt x="89" y="173"/>
                    <a:pt x="89" y="243"/>
                  </a:cubicBezTo>
                  <a:cubicBezTo>
                    <a:pt x="89" y="313"/>
                    <a:pt x="62" y="378"/>
                    <a:pt x="13" y="428"/>
                  </a:cubicBezTo>
                  <a:cubicBezTo>
                    <a:pt x="0" y="440"/>
                    <a:pt x="0" y="460"/>
                    <a:pt x="13" y="473"/>
                  </a:cubicBezTo>
                  <a:cubicBezTo>
                    <a:pt x="19" y="479"/>
                    <a:pt x="27" y="482"/>
                    <a:pt x="35" y="482"/>
                  </a:cubicBezTo>
                  <a:cubicBezTo>
                    <a:pt x="44" y="482"/>
                    <a:pt x="52" y="479"/>
                    <a:pt x="58" y="473"/>
                  </a:cubicBezTo>
                  <a:cubicBezTo>
                    <a:pt x="120" y="412"/>
                    <a:pt x="153" y="330"/>
                    <a:pt x="153" y="243"/>
                  </a:cubicBezTo>
                  <a:cubicBezTo>
                    <a:pt x="153" y="156"/>
                    <a:pt x="120" y="74"/>
                    <a:pt x="58" y="13"/>
                  </a:cubicBezTo>
                  <a:close/>
                  <a:moveTo>
                    <a:pt x="58" y="13"/>
                  </a:moveTo>
                  <a:cubicBezTo>
                    <a:pt x="58" y="13"/>
                    <a:pt x="58" y="13"/>
                    <a:pt x="58"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4"/>
            <p:cNvSpPr>
              <a:spLocks noEditPoints="1"/>
            </p:cNvSpPr>
            <p:nvPr/>
          </p:nvSpPr>
          <p:spPr bwMode="auto">
            <a:xfrm>
              <a:off x="4015" y="834"/>
              <a:ext cx="1306" cy="799"/>
            </a:xfrm>
            <a:custGeom>
              <a:avLst/>
              <a:gdLst>
                <a:gd name="T0" fmla="*/ 658 w 690"/>
                <a:gd name="T1" fmla="*/ 0 h 422"/>
                <a:gd name="T2" fmla="*/ 586 w 690"/>
                <a:gd name="T3" fmla="*/ 0 h 422"/>
                <a:gd name="T4" fmla="*/ 554 w 690"/>
                <a:gd name="T5" fmla="*/ 32 h 422"/>
                <a:gd name="T6" fmla="*/ 581 w 690"/>
                <a:gd name="T7" fmla="*/ 63 h 422"/>
                <a:gd name="T8" fmla="*/ 354 w 690"/>
                <a:gd name="T9" fmla="*/ 291 h 422"/>
                <a:gd name="T10" fmla="*/ 244 w 690"/>
                <a:gd name="T11" fmla="*/ 181 h 422"/>
                <a:gd name="T12" fmla="*/ 199 w 690"/>
                <a:gd name="T13" fmla="*/ 181 h 422"/>
                <a:gd name="T14" fmla="*/ 12 w 690"/>
                <a:gd name="T15" fmla="*/ 367 h 422"/>
                <a:gd name="T16" fmla="*/ 12 w 690"/>
                <a:gd name="T17" fmla="*/ 412 h 422"/>
                <a:gd name="T18" fmla="*/ 35 w 690"/>
                <a:gd name="T19" fmla="*/ 422 h 422"/>
                <a:gd name="T20" fmla="*/ 58 w 690"/>
                <a:gd name="T21" fmla="*/ 412 h 422"/>
                <a:gd name="T22" fmla="*/ 221 w 690"/>
                <a:gd name="T23" fmla="*/ 249 h 422"/>
                <a:gd name="T24" fmla="*/ 331 w 690"/>
                <a:gd name="T25" fmla="*/ 359 h 422"/>
                <a:gd name="T26" fmla="*/ 376 w 690"/>
                <a:gd name="T27" fmla="*/ 359 h 422"/>
                <a:gd name="T28" fmla="*/ 626 w 690"/>
                <a:gd name="T29" fmla="*/ 108 h 422"/>
                <a:gd name="T30" fmla="*/ 658 w 690"/>
                <a:gd name="T31" fmla="*/ 135 h 422"/>
                <a:gd name="T32" fmla="*/ 690 w 690"/>
                <a:gd name="T33" fmla="*/ 103 h 422"/>
                <a:gd name="T34" fmla="*/ 690 w 690"/>
                <a:gd name="T35" fmla="*/ 32 h 422"/>
                <a:gd name="T36" fmla="*/ 658 w 690"/>
                <a:gd name="T37" fmla="*/ 0 h 422"/>
                <a:gd name="T38" fmla="*/ 658 w 690"/>
                <a:gd name="T39" fmla="*/ 0 h 422"/>
                <a:gd name="T40" fmla="*/ 658 w 690"/>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0" h="422">
                  <a:moveTo>
                    <a:pt x="658" y="0"/>
                  </a:moveTo>
                  <a:cubicBezTo>
                    <a:pt x="586" y="0"/>
                    <a:pt x="586" y="0"/>
                    <a:pt x="586" y="0"/>
                  </a:cubicBezTo>
                  <a:cubicBezTo>
                    <a:pt x="568" y="0"/>
                    <a:pt x="554" y="14"/>
                    <a:pt x="554" y="32"/>
                  </a:cubicBezTo>
                  <a:cubicBezTo>
                    <a:pt x="554" y="48"/>
                    <a:pt x="566" y="61"/>
                    <a:pt x="581" y="63"/>
                  </a:cubicBezTo>
                  <a:cubicBezTo>
                    <a:pt x="354" y="291"/>
                    <a:pt x="354" y="291"/>
                    <a:pt x="354" y="291"/>
                  </a:cubicBezTo>
                  <a:cubicBezTo>
                    <a:pt x="244" y="181"/>
                    <a:pt x="244" y="181"/>
                    <a:pt x="244" y="181"/>
                  </a:cubicBezTo>
                  <a:cubicBezTo>
                    <a:pt x="231" y="168"/>
                    <a:pt x="211" y="168"/>
                    <a:pt x="199" y="181"/>
                  </a:cubicBezTo>
                  <a:cubicBezTo>
                    <a:pt x="12" y="367"/>
                    <a:pt x="12" y="367"/>
                    <a:pt x="12" y="367"/>
                  </a:cubicBezTo>
                  <a:cubicBezTo>
                    <a:pt x="0" y="380"/>
                    <a:pt x="0" y="400"/>
                    <a:pt x="12" y="412"/>
                  </a:cubicBezTo>
                  <a:cubicBezTo>
                    <a:pt x="19" y="419"/>
                    <a:pt x="27" y="422"/>
                    <a:pt x="35" y="422"/>
                  </a:cubicBezTo>
                  <a:cubicBezTo>
                    <a:pt x="43" y="422"/>
                    <a:pt x="51" y="419"/>
                    <a:pt x="58" y="412"/>
                  </a:cubicBezTo>
                  <a:cubicBezTo>
                    <a:pt x="221" y="249"/>
                    <a:pt x="221" y="249"/>
                    <a:pt x="221" y="249"/>
                  </a:cubicBezTo>
                  <a:cubicBezTo>
                    <a:pt x="331" y="359"/>
                    <a:pt x="331" y="359"/>
                    <a:pt x="331" y="359"/>
                  </a:cubicBezTo>
                  <a:cubicBezTo>
                    <a:pt x="343" y="371"/>
                    <a:pt x="364" y="371"/>
                    <a:pt x="376" y="359"/>
                  </a:cubicBezTo>
                  <a:cubicBezTo>
                    <a:pt x="626" y="108"/>
                    <a:pt x="626" y="108"/>
                    <a:pt x="626" y="108"/>
                  </a:cubicBezTo>
                  <a:cubicBezTo>
                    <a:pt x="629" y="124"/>
                    <a:pt x="642" y="135"/>
                    <a:pt x="658" y="135"/>
                  </a:cubicBezTo>
                  <a:cubicBezTo>
                    <a:pt x="676" y="135"/>
                    <a:pt x="690" y="121"/>
                    <a:pt x="690" y="103"/>
                  </a:cubicBezTo>
                  <a:cubicBezTo>
                    <a:pt x="690" y="32"/>
                    <a:pt x="690" y="32"/>
                    <a:pt x="690" y="32"/>
                  </a:cubicBezTo>
                  <a:cubicBezTo>
                    <a:pt x="690" y="14"/>
                    <a:pt x="676" y="0"/>
                    <a:pt x="658" y="0"/>
                  </a:cubicBezTo>
                  <a:close/>
                  <a:moveTo>
                    <a:pt x="658" y="0"/>
                  </a:moveTo>
                  <a:cubicBezTo>
                    <a:pt x="658" y="0"/>
                    <a:pt x="658" y="0"/>
                    <a:pt x="6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15"/>
            <p:cNvSpPr>
              <a:spLocks noEditPoints="1"/>
            </p:cNvSpPr>
            <p:nvPr/>
          </p:nvSpPr>
          <p:spPr bwMode="auto">
            <a:xfrm>
              <a:off x="5196" y="1372"/>
              <a:ext cx="121" cy="121"/>
            </a:xfrm>
            <a:custGeom>
              <a:avLst/>
              <a:gdLst>
                <a:gd name="T0" fmla="*/ 54 w 64"/>
                <a:gd name="T1" fmla="*/ 9 h 64"/>
                <a:gd name="T2" fmla="*/ 32 w 64"/>
                <a:gd name="T3" fmla="*/ 0 h 64"/>
                <a:gd name="T4" fmla="*/ 9 w 64"/>
                <a:gd name="T5" fmla="*/ 9 h 64"/>
                <a:gd name="T6" fmla="*/ 0 w 64"/>
                <a:gd name="T7" fmla="*/ 32 h 64"/>
                <a:gd name="T8" fmla="*/ 9 w 64"/>
                <a:gd name="T9" fmla="*/ 55 h 64"/>
                <a:gd name="T10" fmla="*/ 32 w 64"/>
                <a:gd name="T11" fmla="*/ 64 h 64"/>
                <a:gd name="T12" fmla="*/ 54 w 64"/>
                <a:gd name="T13" fmla="*/ 55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9" y="3"/>
                    <a:pt x="40" y="0"/>
                    <a:pt x="32" y="0"/>
                  </a:cubicBezTo>
                  <a:cubicBezTo>
                    <a:pt x="23" y="0"/>
                    <a:pt x="15" y="3"/>
                    <a:pt x="9" y="9"/>
                  </a:cubicBezTo>
                  <a:cubicBezTo>
                    <a:pt x="3" y="15"/>
                    <a:pt x="0" y="24"/>
                    <a:pt x="0" y="32"/>
                  </a:cubicBezTo>
                  <a:cubicBezTo>
                    <a:pt x="0" y="40"/>
                    <a:pt x="3" y="49"/>
                    <a:pt x="9" y="55"/>
                  </a:cubicBezTo>
                  <a:cubicBezTo>
                    <a:pt x="15" y="61"/>
                    <a:pt x="23" y="64"/>
                    <a:pt x="32" y="64"/>
                  </a:cubicBezTo>
                  <a:cubicBezTo>
                    <a:pt x="40" y="64"/>
                    <a:pt x="49" y="61"/>
                    <a:pt x="54" y="55"/>
                  </a:cubicBezTo>
                  <a:cubicBezTo>
                    <a:pt x="60" y="49"/>
                    <a:pt x="64" y="40"/>
                    <a:pt x="64" y="32"/>
                  </a:cubicBezTo>
                  <a:cubicBezTo>
                    <a:pt x="64" y="24"/>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p:cNvGrpSpPr/>
          <p:nvPr/>
        </p:nvGrpSpPr>
        <p:grpSpPr>
          <a:xfrm>
            <a:off x="9920608" y="3236259"/>
            <a:ext cx="1737360" cy="1737360"/>
            <a:chOff x="10033747" y="3236259"/>
            <a:chExt cx="1737360" cy="1737360"/>
          </a:xfrm>
        </p:grpSpPr>
        <p:sp>
          <p:nvSpPr>
            <p:cNvPr id="80" name="Oval 79"/>
            <p:cNvSpPr>
              <a:spLocks noChangeAspect="1"/>
            </p:cNvSpPr>
            <p:nvPr/>
          </p:nvSpPr>
          <p:spPr>
            <a:xfrm>
              <a:off x="10033747" y="3236259"/>
              <a:ext cx="1737360" cy="1737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324"/>
            <p:cNvGrpSpPr>
              <a:grpSpLocks noChangeAspect="1"/>
            </p:cNvGrpSpPr>
            <p:nvPr/>
          </p:nvGrpSpPr>
          <p:grpSpPr bwMode="auto">
            <a:xfrm>
              <a:off x="10439290" y="3739179"/>
              <a:ext cx="926274" cy="731520"/>
              <a:chOff x="-799" y="819"/>
              <a:chExt cx="3101" cy="2449"/>
            </a:xfrm>
            <a:solidFill>
              <a:schemeClr val="bg1"/>
            </a:solidFill>
          </p:grpSpPr>
          <p:sp>
            <p:nvSpPr>
              <p:cNvPr id="30" name="Freeform 325"/>
              <p:cNvSpPr>
                <a:spLocks noEditPoints="1"/>
              </p:cNvSpPr>
              <p:nvPr/>
            </p:nvSpPr>
            <p:spPr bwMode="auto">
              <a:xfrm>
                <a:off x="-799" y="819"/>
                <a:ext cx="3101" cy="2449"/>
              </a:xfrm>
              <a:custGeom>
                <a:avLst/>
                <a:gdLst>
                  <a:gd name="T0" fmla="*/ 1453 w 1638"/>
                  <a:gd name="T1" fmla="*/ 0 h 1293"/>
                  <a:gd name="T2" fmla="*/ 186 w 1638"/>
                  <a:gd name="T3" fmla="*/ 0 h 1293"/>
                  <a:gd name="T4" fmla="*/ 0 w 1638"/>
                  <a:gd name="T5" fmla="*/ 186 h 1293"/>
                  <a:gd name="T6" fmla="*/ 0 w 1638"/>
                  <a:gd name="T7" fmla="*/ 1107 h 1293"/>
                  <a:gd name="T8" fmla="*/ 186 w 1638"/>
                  <a:gd name="T9" fmla="*/ 1293 h 1293"/>
                  <a:gd name="T10" fmla="*/ 842 w 1638"/>
                  <a:gd name="T11" fmla="*/ 1293 h 1293"/>
                  <a:gd name="T12" fmla="*/ 874 w 1638"/>
                  <a:gd name="T13" fmla="*/ 1261 h 1293"/>
                  <a:gd name="T14" fmla="*/ 842 w 1638"/>
                  <a:gd name="T15" fmla="*/ 1229 h 1293"/>
                  <a:gd name="T16" fmla="*/ 186 w 1638"/>
                  <a:gd name="T17" fmla="*/ 1229 h 1293"/>
                  <a:gd name="T18" fmla="*/ 64 w 1638"/>
                  <a:gd name="T19" fmla="*/ 1107 h 1293"/>
                  <a:gd name="T20" fmla="*/ 64 w 1638"/>
                  <a:gd name="T21" fmla="*/ 186 h 1293"/>
                  <a:gd name="T22" fmla="*/ 186 w 1638"/>
                  <a:gd name="T23" fmla="*/ 64 h 1293"/>
                  <a:gd name="T24" fmla="*/ 1453 w 1638"/>
                  <a:gd name="T25" fmla="*/ 64 h 1293"/>
                  <a:gd name="T26" fmla="*/ 1574 w 1638"/>
                  <a:gd name="T27" fmla="*/ 186 h 1293"/>
                  <a:gd name="T28" fmla="*/ 1574 w 1638"/>
                  <a:gd name="T29" fmla="*/ 1107 h 1293"/>
                  <a:gd name="T30" fmla="*/ 1453 w 1638"/>
                  <a:gd name="T31" fmla="*/ 1229 h 1293"/>
                  <a:gd name="T32" fmla="*/ 1074 w 1638"/>
                  <a:gd name="T33" fmla="*/ 1229 h 1293"/>
                  <a:gd name="T34" fmla="*/ 1042 w 1638"/>
                  <a:gd name="T35" fmla="*/ 1261 h 1293"/>
                  <a:gd name="T36" fmla="*/ 1074 w 1638"/>
                  <a:gd name="T37" fmla="*/ 1293 h 1293"/>
                  <a:gd name="T38" fmla="*/ 1453 w 1638"/>
                  <a:gd name="T39" fmla="*/ 1293 h 1293"/>
                  <a:gd name="T40" fmla="*/ 1638 w 1638"/>
                  <a:gd name="T41" fmla="*/ 1107 h 1293"/>
                  <a:gd name="T42" fmla="*/ 1638 w 1638"/>
                  <a:gd name="T43" fmla="*/ 186 h 1293"/>
                  <a:gd name="T44" fmla="*/ 1453 w 1638"/>
                  <a:gd name="T45" fmla="*/ 0 h 1293"/>
                  <a:gd name="T46" fmla="*/ 1453 w 1638"/>
                  <a:gd name="T47" fmla="*/ 0 h 1293"/>
                  <a:gd name="T48" fmla="*/ 1453 w 1638"/>
                  <a:gd name="T49" fmla="*/ 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8" h="1293">
                    <a:moveTo>
                      <a:pt x="1453" y="0"/>
                    </a:moveTo>
                    <a:cubicBezTo>
                      <a:pt x="186" y="0"/>
                      <a:pt x="186" y="0"/>
                      <a:pt x="186" y="0"/>
                    </a:cubicBezTo>
                    <a:cubicBezTo>
                      <a:pt x="83" y="0"/>
                      <a:pt x="0" y="83"/>
                      <a:pt x="0" y="186"/>
                    </a:cubicBezTo>
                    <a:cubicBezTo>
                      <a:pt x="0" y="1107"/>
                      <a:pt x="0" y="1107"/>
                      <a:pt x="0" y="1107"/>
                    </a:cubicBezTo>
                    <a:cubicBezTo>
                      <a:pt x="0" y="1210"/>
                      <a:pt x="83" y="1293"/>
                      <a:pt x="186" y="1293"/>
                    </a:cubicBezTo>
                    <a:cubicBezTo>
                      <a:pt x="842" y="1293"/>
                      <a:pt x="842" y="1293"/>
                      <a:pt x="842" y="1293"/>
                    </a:cubicBezTo>
                    <a:cubicBezTo>
                      <a:pt x="859" y="1293"/>
                      <a:pt x="874" y="1278"/>
                      <a:pt x="874" y="1261"/>
                    </a:cubicBezTo>
                    <a:cubicBezTo>
                      <a:pt x="874" y="1243"/>
                      <a:pt x="859" y="1229"/>
                      <a:pt x="842" y="1229"/>
                    </a:cubicBezTo>
                    <a:cubicBezTo>
                      <a:pt x="186" y="1229"/>
                      <a:pt x="186" y="1229"/>
                      <a:pt x="186" y="1229"/>
                    </a:cubicBezTo>
                    <a:cubicBezTo>
                      <a:pt x="119" y="1229"/>
                      <a:pt x="64" y="1174"/>
                      <a:pt x="64" y="1107"/>
                    </a:cubicBezTo>
                    <a:cubicBezTo>
                      <a:pt x="64" y="186"/>
                      <a:pt x="64" y="186"/>
                      <a:pt x="64" y="186"/>
                    </a:cubicBezTo>
                    <a:cubicBezTo>
                      <a:pt x="64" y="119"/>
                      <a:pt x="119" y="64"/>
                      <a:pt x="186" y="64"/>
                    </a:cubicBezTo>
                    <a:cubicBezTo>
                      <a:pt x="1453" y="64"/>
                      <a:pt x="1453" y="64"/>
                      <a:pt x="1453" y="64"/>
                    </a:cubicBezTo>
                    <a:cubicBezTo>
                      <a:pt x="1520" y="64"/>
                      <a:pt x="1574" y="119"/>
                      <a:pt x="1574" y="186"/>
                    </a:cubicBezTo>
                    <a:cubicBezTo>
                      <a:pt x="1574" y="1107"/>
                      <a:pt x="1574" y="1107"/>
                      <a:pt x="1574" y="1107"/>
                    </a:cubicBezTo>
                    <a:cubicBezTo>
                      <a:pt x="1574" y="1174"/>
                      <a:pt x="1520" y="1229"/>
                      <a:pt x="1453" y="1229"/>
                    </a:cubicBezTo>
                    <a:cubicBezTo>
                      <a:pt x="1074" y="1229"/>
                      <a:pt x="1074" y="1229"/>
                      <a:pt x="1074" y="1229"/>
                    </a:cubicBezTo>
                    <a:cubicBezTo>
                      <a:pt x="1056" y="1229"/>
                      <a:pt x="1042" y="1243"/>
                      <a:pt x="1042" y="1261"/>
                    </a:cubicBezTo>
                    <a:cubicBezTo>
                      <a:pt x="1042" y="1278"/>
                      <a:pt x="1056" y="1293"/>
                      <a:pt x="1074" y="1293"/>
                    </a:cubicBezTo>
                    <a:cubicBezTo>
                      <a:pt x="1453" y="1293"/>
                      <a:pt x="1453" y="1293"/>
                      <a:pt x="1453" y="1293"/>
                    </a:cubicBezTo>
                    <a:cubicBezTo>
                      <a:pt x="1555" y="1293"/>
                      <a:pt x="1638" y="1210"/>
                      <a:pt x="1638" y="1107"/>
                    </a:cubicBezTo>
                    <a:cubicBezTo>
                      <a:pt x="1638" y="186"/>
                      <a:pt x="1638" y="186"/>
                      <a:pt x="1638" y="186"/>
                    </a:cubicBezTo>
                    <a:cubicBezTo>
                      <a:pt x="1638" y="83"/>
                      <a:pt x="1555" y="0"/>
                      <a:pt x="1453" y="0"/>
                    </a:cubicBezTo>
                    <a:close/>
                    <a:moveTo>
                      <a:pt x="1453" y="0"/>
                    </a:moveTo>
                    <a:cubicBezTo>
                      <a:pt x="1453" y="0"/>
                      <a:pt x="1453" y="0"/>
                      <a:pt x="14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26"/>
              <p:cNvSpPr>
                <a:spLocks noEditPoints="1"/>
              </p:cNvSpPr>
              <p:nvPr/>
            </p:nvSpPr>
            <p:spPr bwMode="auto">
              <a:xfrm>
                <a:off x="952" y="3147"/>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27"/>
              <p:cNvSpPr>
                <a:spLocks noEditPoints="1"/>
              </p:cNvSpPr>
              <p:nvPr/>
            </p:nvSpPr>
            <p:spPr bwMode="auto">
              <a:xfrm>
                <a:off x="195" y="1111"/>
                <a:ext cx="121" cy="121"/>
              </a:xfrm>
              <a:custGeom>
                <a:avLst/>
                <a:gdLst>
                  <a:gd name="T0" fmla="*/ 54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4 w 64"/>
                  <a:gd name="T13" fmla="*/ 54 h 64"/>
                  <a:gd name="T14" fmla="*/ 64 w 64"/>
                  <a:gd name="T15" fmla="*/ 32 h 64"/>
                  <a:gd name="T16" fmla="*/ 54 w 64"/>
                  <a:gd name="T17" fmla="*/ 9 h 64"/>
                  <a:gd name="T18" fmla="*/ 54 w 64"/>
                  <a:gd name="T19" fmla="*/ 9 h 64"/>
                  <a:gd name="T20" fmla="*/ 54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4" y="9"/>
                    </a:moveTo>
                    <a:cubicBezTo>
                      <a:pt x="48" y="3"/>
                      <a:pt x="40" y="0"/>
                      <a:pt x="32" y="0"/>
                    </a:cubicBezTo>
                    <a:cubicBezTo>
                      <a:pt x="23" y="0"/>
                      <a:pt x="15" y="3"/>
                      <a:pt x="9" y="9"/>
                    </a:cubicBezTo>
                    <a:cubicBezTo>
                      <a:pt x="3" y="15"/>
                      <a:pt x="0" y="23"/>
                      <a:pt x="0" y="32"/>
                    </a:cubicBezTo>
                    <a:cubicBezTo>
                      <a:pt x="0" y="40"/>
                      <a:pt x="3" y="48"/>
                      <a:pt x="9" y="54"/>
                    </a:cubicBezTo>
                    <a:cubicBezTo>
                      <a:pt x="15" y="60"/>
                      <a:pt x="23" y="64"/>
                      <a:pt x="32" y="64"/>
                    </a:cubicBezTo>
                    <a:cubicBezTo>
                      <a:pt x="40" y="64"/>
                      <a:pt x="48" y="60"/>
                      <a:pt x="54" y="54"/>
                    </a:cubicBezTo>
                    <a:cubicBezTo>
                      <a:pt x="60" y="48"/>
                      <a:pt x="64" y="40"/>
                      <a:pt x="64" y="32"/>
                    </a:cubicBezTo>
                    <a:cubicBezTo>
                      <a:pt x="64" y="23"/>
                      <a:pt x="60" y="15"/>
                      <a:pt x="54" y="9"/>
                    </a:cubicBezTo>
                    <a:close/>
                    <a:moveTo>
                      <a:pt x="54" y="9"/>
                    </a:moveTo>
                    <a:cubicBezTo>
                      <a:pt x="54" y="9"/>
                      <a:pt x="54" y="9"/>
                      <a:pt x="5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8"/>
              <p:cNvSpPr>
                <a:spLocks noEditPoints="1"/>
              </p:cNvSpPr>
              <p:nvPr/>
            </p:nvSpPr>
            <p:spPr bwMode="auto">
              <a:xfrm>
                <a:off x="-508" y="1111"/>
                <a:ext cx="2520" cy="1866"/>
              </a:xfrm>
              <a:custGeom>
                <a:avLst/>
                <a:gdLst>
                  <a:gd name="T0" fmla="*/ 1299 w 1331"/>
                  <a:gd name="T1" fmla="*/ 0 h 985"/>
                  <a:gd name="T2" fmla="*/ 544 w 1331"/>
                  <a:gd name="T3" fmla="*/ 0 h 985"/>
                  <a:gd name="T4" fmla="*/ 512 w 1331"/>
                  <a:gd name="T5" fmla="*/ 32 h 985"/>
                  <a:gd name="T6" fmla="*/ 544 w 1331"/>
                  <a:gd name="T7" fmla="*/ 64 h 985"/>
                  <a:gd name="T8" fmla="*/ 1267 w 1331"/>
                  <a:gd name="T9" fmla="*/ 64 h 985"/>
                  <a:gd name="T10" fmla="*/ 1267 w 1331"/>
                  <a:gd name="T11" fmla="*/ 921 h 985"/>
                  <a:gd name="T12" fmla="*/ 64 w 1331"/>
                  <a:gd name="T13" fmla="*/ 921 h 985"/>
                  <a:gd name="T14" fmla="*/ 64 w 1331"/>
                  <a:gd name="T15" fmla="*/ 64 h 985"/>
                  <a:gd name="T16" fmla="*/ 252 w 1331"/>
                  <a:gd name="T17" fmla="*/ 64 h 985"/>
                  <a:gd name="T18" fmla="*/ 284 w 1331"/>
                  <a:gd name="T19" fmla="*/ 32 h 985"/>
                  <a:gd name="T20" fmla="*/ 252 w 1331"/>
                  <a:gd name="T21" fmla="*/ 0 h 985"/>
                  <a:gd name="T22" fmla="*/ 32 w 1331"/>
                  <a:gd name="T23" fmla="*/ 0 h 985"/>
                  <a:gd name="T24" fmla="*/ 0 w 1331"/>
                  <a:gd name="T25" fmla="*/ 32 h 985"/>
                  <a:gd name="T26" fmla="*/ 0 w 1331"/>
                  <a:gd name="T27" fmla="*/ 953 h 985"/>
                  <a:gd name="T28" fmla="*/ 32 w 1331"/>
                  <a:gd name="T29" fmla="*/ 985 h 985"/>
                  <a:gd name="T30" fmla="*/ 1299 w 1331"/>
                  <a:gd name="T31" fmla="*/ 985 h 985"/>
                  <a:gd name="T32" fmla="*/ 1331 w 1331"/>
                  <a:gd name="T33" fmla="*/ 953 h 985"/>
                  <a:gd name="T34" fmla="*/ 1331 w 1331"/>
                  <a:gd name="T35" fmla="*/ 32 h 985"/>
                  <a:gd name="T36" fmla="*/ 1299 w 1331"/>
                  <a:gd name="T37" fmla="*/ 0 h 985"/>
                  <a:gd name="T38" fmla="*/ 1299 w 1331"/>
                  <a:gd name="T39" fmla="*/ 0 h 985"/>
                  <a:gd name="T40" fmla="*/ 1299 w 1331"/>
                  <a:gd name="T41"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1" h="985">
                    <a:moveTo>
                      <a:pt x="1299" y="0"/>
                    </a:moveTo>
                    <a:cubicBezTo>
                      <a:pt x="544" y="0"/>
                      <a:pt x="544" y="0"/>
                      <a:pt x="544" y="0"/>
                    </a:cubicBezTo>
                    <a:cubicBezTo>
                      <a:pt x="526" y="0"/>
                      <a:pt x="512" y="14"/>
                      <a:pt x="512" y="32"/>
                    </a:cubicBezTo>
                    <a:cubicBezTo>
                      <a:pt x="512" y="49"/>
                      <a:pt x="526" y="64"/>
                      <a:pt x="544" y="64"/>
                    </a:cubicBezTo>
                    <a:cubicBezTo>
                      <a:pt x="1267" y="64"/>
                      <a:pt x="1267" y="64"/>
                      <a:pt x="1267" y="64"/>
                    </a:cubicBezTo>
                    <a:cubicBezTo>
                      <a:pt x="1267" y="921"/>
                      <a:pt x="1267" y="921"/>
                      <a:pt x="1267" y="921"/>
                    </a:cubicBezTo>
                    <a:cubicBezTo>
                      <a:pt x="64" y="921"/>
                      <a:pt x="64" y="921"/>
                      <a:pt x="64" y="921"/>
                    </a:cubicBezTo>
                    <a:cubicBezTo>
                      <a:pt x="64" y="64"/>
                      <a:pt x="64" y="64"/>
                      <a:pt x="64" y="64"/>
                    </a:cubicBezTo>
                    <a:cubicBezTo>
                      <a:pt x="252" y="64"/>
                      <a:pt x="252" y="64"/>
                      <a:pt x="252" y="64"/>
                    </a:cubicBezTo>
                    <a:cubicBezTo>
                      <a:pt x="270" y="64"/>
                      <a:pt x="284" y="49"/>
                      <a:pt x="284" y="32"/>
                    </a:cubicBezTo>
                    <a:cubicBezTo>
                      <a:pt x="284" y="14"/>
                      <a:pt x="270" y="0"/>
                      <a:pt x="252" y="0"/>
                    </a:cubicBezTo>
                    <a:cubicBezTo>
                      <a:pt x="32" y="0"/>
                      <a:pt x="32" y="0"/>
                      <a:pt x="32" y="0"/>
                    </a:cubicBezTo>
                    <a:cubicBezTo>
                      <a:pt x="14" y="0"/>
                      <a:pt x="0" y="14"/>
                      <a:pt x="0" y="32"/>
                    </a:cubicBezTo>
                    <a:cubicBezTo>
                      <a:pt x="0" y="953"/>
                      <a:pt x="0" y="953"/>
                      <a:pt x="0" y="953"/>
                    </a:cubicBezTo>
                    <a:cubicBezTo>
                      <a:pt x="0" y="971"/>
                      <a:pt x="14" y="985"/>
                      <a:pt x="32" y="985"/>
                    </a:cubicBezTo>
                    <a:cubicBezTo>
                      <a:pt x="1299" y="985"/>
                      <a:pt x="1299" y="985"/>
                      <a:pt x="1299" y="985"/>
                    </a:cubicBezTo>
                    <a:cubicBezTo>
                      <a:pt x="1316" y="985"/>
                      <a:pt x="1331" y="971"/>
                      <a:pt x="1331" y="953"/>
                    </a:cubicBezTo>
                    <a:cubicBezTo>
                      <a:pt x="1331" y="32"/>
                      <a:pt x="1331" y="32"/>
                      <a:pt x="1331" y="32"/>
                    </a:cubicBezTo>
                    <a:cubicBezTo>
                      <a:pt x="1331" y="14"/>
                      <a:pt x="1316" y="0"/>
                      <a:pt x="1299" y="0"/>
                    </a:cubicBezTo>
                    <a:close/>
                    <a:moveTo>
                      <a:pt x="1299" y="0"/>
                    </a:moveTo>
                    <a:cubicBezTo>
                      <a:pt x="1299" y="0"/>
                      <a:pt x="1299" y="0"/>
                      <a:pt x="12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9"/>
              <p:cNvSpPr>
                <a:spLocks noEditPoints="1"/>
              </p:cNvSpPr>
              <p:nvPr/>
            </p:nvSpPr>
            <p:spPr bwMode="auto">
              <a:xfrm>
                <a:off x="1119" y="1376"/>
                <a:ext cx="469" cy="727"/>
              </a:xfrm>
              <a:custGeom>
                <a:avLst/>
                <a:gdLst>
                  <a:gd name="T0" fmla="*/ 216 w 248"/>
                  <a:gd name="T1" fmla="*/ 0 h 384"/>
                  <a:gd name="T2" fmla="*/ 33 w 248"/>
                  <a:gd name="T3" fmla="*/ 0 h 384"/>
                  <a:gd name="T4" fmla="*/ 6 w 248"/>
                  <a:gd name="T5" fmla="*/ 16 h 384"/>
                  <a:gd name="T6" fmla="*/ 5 w 248"/>
                  <a:gd name="T7" fmla="*/ 48 h 384"/>
                  <a:gd name="T8" fmla="*/ 42 w 248"/>
                  <a:gd name="T9" fmla="*/ 116 h 384"/>
                  <a:gd name="T10" fmla="*/ 5 w 248"/>
                  <a:gd name="T11" fmla="*/ 184 h 384"/>
                  <a:gd name="T12" fmla="*/ 6 w 248"/>
                  <a:gd name="T13" fmla="*/ 215 h 384"/>
                  <a:gd name="T14" fmla="*/ 33 w 248"/>
                  <a:gd name="T15" fmla="*/ 231 h 384"/>
                  <a:gd name="T16" fmla="*/ 184 w 248"/>
                  <a:gd name="T17" fmla="*/ 231 h 384"/>
                  <a:gd name="T18" fmla="*/ 184 w 248"/>
                  <a:gd name="T19" fmla="*/ 352 h 384"/>
                  <a:gd name="T20" fmla="*/ 216 w 248"/>
                  <a:gd name="T21" fmla="*/ 384 h 384"/>
                  <a:gd name="T22" fmla="*/ 248 w 248"/>
                  <a:gd name="T23" fmla="*/ 352 h 384"/>
                  <a:gd name="T24" fmla="*/ 248 w 248"/>
                  <a:gd name="T25" fmla="*/ 32 h 384"/>
                  <a:gd name="T26" fmla="*/ 216 w 248"/>
                  <a:gd name="T27" fmla="*/ 0 h 384"/>
                  <a:gd name="T28" fmla="*/ 184 w 248"/>
                  <a:gd name="T29" fmla="*/ 96 h 384"/>
                  <a:gd name="T30" fmla="*/ 184 w 248"/>
                  <a:gd name="T31" fmla="*/ 167 h 384"/>
                  <a:gd name="T32" fmla="*/ 87 w 248"/>
                  <a:gd name="T33" fmla="*/ 167 h 384"/>
                  <a:gd name="T34" fmla="*/ 106 w 248"/>
                  <a:gd name="T35" fmla="*/ 131 h 384"/>
                  <a:gd name="T36" fmla="*/ 106 w 248"/>
                  <a:gd name="T37" fmla="*/ 100 h 384"/>
                  <a:gd name="T38" fmla="*/ 87 w 248"/>
                  <a:gd name="T39" fmla="*/ 64 h 384"/>
                  <a:gd name="T40" fmla="*/ 184 w 248"/>
                  <a:gd name="T41" fmla="*/ 64 h 384"/>
                  <a:gd name="T42" fmla="*/ 184 w 248"/>
                  <a:gd name="T43" fmla="*/ 96 h 384"/>
                  <a:gd name="T44" fmla="*/ 184 w 248"/>
                  <a:gd name="T45" fmla="*/ 96 h 384"/>
                  <a:gd name="T46" fmla="*/ 184 w 248"/>
                  <a:gd name="T47" fmla="*/ 9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8" h="384">
                    <a:moveTo>
                      <a:pt x="216" y="0"/>
                    </a:moveTo>
                    <a:cubicBezTo>
                      <a:pt x="33" y="0"/>
                      <a:pt x="33" y="0"/>
                      <a:pt x="33" y="0"/>
                    </a:cubicBezTo>
                    <a:cubicBezTo>
                      <a:pt x="22" y="0"/>
                      <a:pt x="12" y="6"/>
                      <a:pt x="6" y="16"/>
                    </a:cubicBezTo>
                    <a:cubicBezTo>
                      <a:pt x="0" y="26"/>
                      <a:pt x="0" y="38"/>
                      <a:pt x="5" y="48"/>
                    </a:cubicBezTo>
                    <a:cubicBezTo>
                      <a:pt x="42" y="116"/>
                      <a:pt x="42" y="116"/>
                      <a:pt x="42" y="116"/>
                    </a:cubicBezTo>
                    <a:cubicBezTo>
                      <a:pt x="5" y="184"/>
                      <a:pt x="5" y="184"/>
                      <a:pt x="5" y="184"/>
                    </a:cubicBezTo>
                    <a:cubicBezTo>
                      <a:pt x="0" y="194"/>
                      <a:pt x="0" y="206"/>
                      <a:pt x="6" y="215"/>
                    </a:cubicBezTo>
                    <a:cubicBezTo>
                      <a:pt x="12" y="225"/>
                      <a:pt x="22" y="231"/>
                      <a:pt x="33" y="231"/>
                    </a:cubicBezTo>
                    <a:cubicBezTo>
                      <a:pt x="184" y="231"/>
                      <a:pt x="184" y="231"/>
                      <a:pt x="184" y="231"/>
                    </a:cubicBezTo>
                    <a:cubicBezTo>
                      <a:pt x="184" y="352"/>
                      <a:pt x="184" y="352"/>
                      <a:pt x="184" y="352"/>
                    </a:cubicBezTo>
                    <a:cubicBezTo>
                      <a:pt x="184" y="370"/>
                      <a:pt x="198" y="384"/>
                      <a:pt x="216" y="384"/>
                    </a:cubicBezTo>
                    <a:cubicBezTo>
                      <a:pt x="233" y="384"/>
                      <a:pt x="248" y="370"/>
                      <a:pt x="248" y="352"/>
                    </a:cubicBezTo>
                    <a:cubicBezTo>
                      <a:pt x="248" y="32"/>
                      <a:pt x="248" y="32"/>
                      <a:pt x="248" y="32"/>
                    </a:cubicBezTo>
                    <a:cubicBezTo>
                      <a:pt x="248" y="15"/>
                      <a:pt x="233" y="0"/>
                      <a:pt x="216" y="0"/>
                    </a:cubicBezTo>
                    <a:close/>
                    <a:moveTo>
                      <a:pt x="184" y="96"/>
                    </a:moveTo>
                    <a:cubicBezTo>
                      <a:pt x="184" y="167"/>
                      <a:pt x="184" y="167"/>
                      <a:pt x="184" y="167"/>
                    </a:cubicBezTo>
                    <a:cubicBezTo>
                      <a:pt x="87" y="167"/>
                      <a:pt x="87" y="167"/>
                      <a:pt x="87" y="167"/>
                    </a:cubicBezTo>
                    <a:cubicBezTo>
                      <a:pt x="106" y="131"/>
                      <a:pt x="106" y="131"/>
                      <a:pt x="106" y="131"/>
                    </a:cubicBezTo>
                    <a:cubicBezTo>
                      <a:pt x="111" y="121"/>
                      <a:pt x="111" y="110"/>
                      <a:pt x="106" y="100"/>
                    </a:cubicBezTo>
                    <a:cubicBezTo>
                      <a:pt x="87" y="64"/>
                      <a:pt x="87" y="64"/>
                      <a:pt x="87" y="64"/>
                    </a:cubicBezTo>
                    <a:cubicBezTo>
                      <a:pt x="184" y="64"/>
                      <a:pt x="184" y="64"/>
                      <a:pt x="184" y="64"/>
                    </a:cubicBezTo>
                    <a:lnTo>
                      <a:pt x="184" y="96"/>
                    </a:lnTo>
                    <a:close/>
                    <a:moveTo>
                      <a:pt x="184" y="96"/>
                    </a:moveTo>
                    <a:cubicBezTo>
                      <a:pt x="184" y="96"/>
                      <a:pt x="184" y="96"/>
                      <a:pt x="184" y="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0"/>
              <p:cNvSpPr>
                <a:spLocks noEditPoints="1"/>
              </p:cNvSpPr>
              <p:nvPr/>
            </p:nvSpPr>
            <p:spPr bwMode="auto">
              <a:xfrm>
                <a:off x="1200"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1"/>
              <p:cNvSpPr>
                <a:spLocks noEditPoints="1"/>
              </p:cNvSpPr>
              <p:nvPr/>
            </p:nvSpPr>
            <p:spPr bwMode="auto">
              <a:xfrm>
                <a:off x="182" y="1982"/>
                <a:ext cx="181"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32"/>
              <p:cNvSpPr>
                <a:spLocks noEditPoints="1"/>
              </p:cNvSpPr>
              <p:nvPr/>
            </p:nvSpPr>
            <p:spPr bwMode="auto">
              <a:xfrm>
                <a:off x="946"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33"/>
              <p:cNvSpPr>
                <a:spLocks noEditPoints="1"/>
              </p:cNvSpPr>
              <p:nvPr/>
            </p:nvSpPr>
            <p:spPr bwMode="auto">
              <a:xfrm>
                <a:off x="-169" y="2382"/>
                <a:ext cx="178" cy="172"/>
              </a:xfrm>
              <a:custGeom>
                <a:avLst/>
                <a:gdLst>
                  <a:gd name="T0" fmla="*/ 79 w 94"/>
                  <a:gd name="T1" fmla="*/ 35 h 91"/>
                  <a:gd name="T2" fmla="*/ 62 w 94"/>
                  <a:gd name="T3" fmla="*/ 17 h 91"/>
                  <a:gd name="T4" fmla="*/ 17 w 94"/>
                  <a:gd name="T5" fmla="*/ 11 h 91"/>
                  <a:gd name="T6" fmla="*/ 11 w 94"/>
                  <a:gd name="T7" fmla="*/ 56 h 91"/>
                  <a:gd name="T8" fmla="*/ 38 w 94"/>
                  <a:gd name="T9" fmla="*/ 84 h 91"/>
                  <a:gd name="T10" fmla="*/ 58 w 94"/>
                  <a:gd name="T11" fmla="*/ 91 h 91"/>
                  <a:gd name="T12" fmla="*/ 83 w 94"/>
                  <a:gd name="T13" fmla="*/ 80 h 91"/>
                  <a:gd name="T14" fmla="*/ 79 w 94"/>
                  <a:gd name="T15" fmla="*/ 35 h 91"/>
                  <a:gd name="T16" fmla="*/ 79 w 94"/>
                  <a:gd name="T17" fmla="*/ 35 h 91"/>
                  <a:gd name="T18" fmla="*/ 79 w 94"/>
                  <a:gd name="T19" fmla="*/ 3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1">
                    <a:moveTo>
                      <a:pt x="79" y="35"/>
                    </a:moveTo>
                    <a:cubicBezTo>
                      <a:pt x="72" y="30"/>
                      <a:pt x="67" y="24"/>
                      <a:pt x="62" y="17"/>
                    </a:cubicBezTo>
                    <a:cubicBezTo>
                      <a:pt x="51" y="3"/>
                      <a:pt x="31" y="0"/>
                      <a:pt x="17" y="11"/>
                    </a:cubicBezTo>
                    <a:cubicBezTo>
                      <a:pt x="3" y="21"/>
                      <a:pt x="0" y="41"/>
                      <a:pt x="11" y="56"/>
                    </a:cubicBezTo>
                    <a:cubicBezTo>
                      <a:pt x="19" y="66"/>
                      <a:pt x="28" y="76"/>
                      <a:pt x="38" y="84"/>
                    </a:cubicBezTo>
                    <a:cubicBezTo>
                      <a:pt x="44" y="89"/>
                      <a:pt x="51" y="91"/>
                      <a:pt x="58" y="91"/>
                    </a:cubicBezTo>
                    <a:cubicBezTo>
                      <a:pt x="67" y="91"/>
                      <a:pt x="77" y="87"/>
                      <a:pt x="83" y="80"/>
                    </a:cubicBezTo>
                    <a:cubicBezTo>
                      <a:pt x="94" y="66"/>
                      <a:pt x="92" y="46"/>
                      <a:pt x="79" y="35"/>
                    </a:cubicBezTo>
                    <a:close/>
                    <a:moveTo>
                      <a:pt x="79" y="35"/>
                    </a:moveTo>
                    <a:cubicBezTo>
                      <a:pt x="79" y="35"/>
                      <a:pt x="79" y="35"/>
                      <a:pt x="79"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34"/>
              <p:cNvSpPr>
                <a:spLocks noEditPoints="1"/>
              </p:cNvSpPr>
              <p:nvPr/>
            </p:nvSpPr>
            <p:spPr bwMode="auto">
              <a:xfrm>
                <a:off x="-76" y="1982"/>
                <a:ext cx="191" cy="148"/>
              </a:xfrm>
              <a:custGeom>
                <a:avLst/>
                <a:gdLst>
                  <a:gd name="T0" fmla="*/ 98 w 101"/>
                  <a:gd name="T1" fmla="*/ 29 h 78"/>
                  <a:gd name="T2" fmla="*/ 59 w 101"/>
                  <a:gd name="T3" fmla="*/ 4 h 78"/>
                  <a:gd name="T4" fmla="*/ 22 w 101"/>
                  <a:gd name="T5" fmla="*/ 17 h 78"/>
                  <a:gd name="T6" fmla="*/ 7 w 101"/>
                  <a:gd name="T7" fmla="*/ 60 h 78"/>
                  <a:gd name="T8" fmla="*/ 36 w 101"/>
                  <a:gd name="T9" fmla="*/ 78 h 78"/>
                  <a:gd name="T10" fmla="*/ 50 w 101"/>
                  <a:gd name="T11" fmla="*/ 75 h 78"/>
                  <a:gd name="T12" fmla="*/ 73 w 101"/>
                  <a:gd name="T13" fmla="*/ 67 h 78"/>
                  <a:gd name="T14" fmla="*/ 98 w 101"/>
                  <a:gd name="T15" fmla="*/ 29 h 78"/>
                  <a:gd name="T16" fmla="*/ 98 w 101"/>
                  <a:gd name="T17" fmla="*/ 29 h 78"/>
                  <a:gd name="T18" fmla="*/ 98 w 101"/>
                  <a:gd name="T19" fmla="*/ 2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78">
                    <a:moveTo>
                      <a:pt x="98" y="29"/>
                    </a:moveTo>
                    <a:cubicBezTo>
                      <a:pt x="94" y="11"/>
                      <a:pt x="77" y="0"/>
                      <a:pt x="59" y="4"/>
                    </a:cubicBezTo>
                    <a:cubicBezTo>
                      <a:pt x="47" y="7"/>
                      <a:pt x="34" y="11"/>
                      <a:pt x="22" y="17"/>
                    </a:cubicBezTo>
                    <a:cubicBezTo>
                      <a:pt x="6" y="25"/>
                      <a:pt x="0" y="44"/>
                      <a:pt x="7" y="60"/>
                    </a:cubicBezTo>
                    <a:cubicBezTo>
                      <a:pt x="13" y="71"/>
                      <a:pt x="24" y="78"/>
                      <a:pt x="36" y="78"/>
                    </a:cubicBezTo>
                    <a:cubicBezTo>
                      <a:pt x="41" y="78"/>
                      <a:pt x="46" y="77"/>
                      <a:pt x="50" y="75"/>
                    </a:cubicBezTo>
                    <a:cubicBezTo>
                      <a:pt x="57" y="71"/>
                      <a:pt x="65" y="68"/>
                      <a:pt x="73" y="67"/>
                    </a:cubicBezTo>
                    <a:cubicBezTo>
                      <a:pt x="90" y="63"/>
                      <a:pt x="101" y="46"/>
                      <a:pt x="98" y="29"/>
                    </a:cubicBezTo>
                    <a:close/>
                    <a:moveTo>
                      <a:pt x="98" y="29"/>
                    </a:moveTo>
                    <a:cubicBezTo>
                      <a:pt x="98" y="29"/>
                      <a:pt x="98" y="29"/>
                      <a:pt x="98"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5"/>
              <p:cNvSpPr>
                <a:spLocks noEditPoints="1"/>
              </p:cNvSpPr>
              <p:nvPr/>
            </p:nvSpPr>
            <p:spPr bwMode="auto">
              <a:xfrm>
                <a:off x="60" y="249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36"/>
              <p:cNvSpPr>
                <a:spLocks noEditPoints="1"/>
              </p:cNvSpPr>
              <p:nvPr/>
            </p:nvSpPr>
            <p:spPr bwMode="auto">
              <a:xfrm>
                <a:off x="-214" y="2141"/>
                <a:ext cx="148" cy="188"/>
              </a:xfrm>
              <a:custGeom>
                <a:avLst/>
                <a:gdLst>
                  <a:gd name="T0" fmla="*/ 53 w 78"/>
                  <a:gd name="T1" fmla="*/ 6 h 99"/>
                  <a:gd name="T2" fmla="*/ 12 w 78"/>
                  <a:gd name="T3" fmla="*/ 25 h 99"/>
                  <a:gd name="T4" fmla="*/ 3 w 78"/>
                  <a:gd name="T5" fmla="*/ 63 h 99"/>
                  <a:gd name="T6" fmla="*/ 31 w 78"/>
                  <a:gd name="T7" fmla="*/ 99 h 99"/>
                  <a:gd name="T8" fmla="*/ 34 w 78"/>
                  <a:gd name="T9" fmla="*/ 99 h 99"/>
                  <a:gd name="T10" fmla="*/ 66 w 78"/>
                  <a:gd name="T11" fmla="*/ 71 h 99"/>
                  <a:gd name="T12" fmla="*/ 72 w 78"/>
                  <a:gd name="T13" fmla="*/ 47 h 99"/>
                  <a:gd name="T14" fmla="*/ 53 w 78"/>
                  <a:gd name="T15" fmla="*/ 6 h 99"/>
                  <a:gd name="T16" fmla="*/ 53 w 78"/>
                  <a:gd name="T17" fmla="*/ 6 h 99"/>
                  <a:gd name="T18" fmla="*/ 53 w 78"/>
                  <a:gd name="T19"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99">
                    <a:moveTo>
                      <a:pt x="53" y="6"/>
                    </a:moveTo>
                    <a:cubicBezTo>
                      <a:pt x="36" y="0"/>
                      <a:pt x="18" y="8"/>
                      <a:pt x="12" y="25"/>
                    </a:cubicBezTo>
                    <a:cubicBezTo>
                      <a:pt x="7" y="37"/>
                      <a:pt x="4" y="50"/>
                      <a:pt x="3" y="63"/>
                    </a:cubicBezTo>
                    <a:cubicBezTo>
                      <a:pt x="0" y="81"/>
                      <a:pt x="13" y="97"/>
                      <a:pt x="31" y="99"/>
                    </a:cubicBezTo>
                    <a:cubicBezTo>
                      <a:pt x="32" y="99"/>
                      <a:pt x="33" y="99"/>
                      <a:pt x="34" y="99"/>
                    </a:cubicBezTo>
                    <a:cubicBezTo>
                      <a:pt x="50" y="99"/>
                      <a:pt x="64" y="87"/>
                      <a:pt x="66" y="71"/>
                    </a:cubicBezTo>
                    <a:cubicBezTo>
                      <a:pt x="67" y="63"/>
                      <a:pt x="69" y="55"/>
                      <a:pt x="72" y="47"/>
                    </a:cubicBezTo>
                    <a:cubicBezTo>
                      <a:pt x="78" y="30"/>
                      <a:pt x="70" y="12"/>
                      <a:pt x="53" y="6"/>
                    </a:cubicBezTo>
                    <a:close/>
                    <a:moveTo>
                      <a:pt x="53" y="6"/>
                    </a:moveTo>
                    <a:cubicBezTo>
                      <a:pt x="53" y="6"/>
                      <a:pt x="53" y="6"/>
                      <a:pt x="5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7"/>
              <p:cNvSpPr>
                <a:spLocks noEditPoints="1"/>
              </p:cNvSpPr>
              <p:nvPr/>
            </p:nvSpPr>
            <p:spPr bwMode="auto">
              <a:xfrm>
                <a:off x="316" y="249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38"/>
              <p:cNvSpPr>
                <a:spLocks noEditPoints="1"/>
              </p:cNvSpPr>
              <p:nvPr/>
            </p:nvSpPr>
            <p:spPr bwMode="auto">
              <a:xfrm>
                <a:off x="691"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39"/>
              <p:cNvSpPr>
                <a:spLocks noEditPoints="1"/>
              </p:cNvSpPr>
              <p:nvPr/>
            </p:nvSpPr>
            <p:spPr bwMode="auto">
              <a:xfrm>
                <a:off x="825" y="2492"/>
                <a:ext cx="154" cy="121"/>
              </a:xfrm>
              <a:custGeom>
                <a:avLst/>
                <a:gdLst>
                  <a:gd name="T0" fmla="*/ 49 w 81"/>
                  <a:gd name="T1" fmla="*/ 0 h 64"/>
                  <a:gd name="T2" fmla="*/ 32 w 81"/>
                  <a:gd name="T3" fmla="*/ 0 h 64"/>
                  <a:gd name="T4" fmla="*/ 0 w 81"/>
                  <a:gd name="T5" fmla="*/ 32 h 64"/>
                  <a:gd name="T6" fmla="*/ 32 w 81"/>
                  <a:gd name="T7" fmla="*/ 64 h 64"/>
                  <a:gd name="T8" fmla="*/ 49 w 81"/>
                  <a:gd name="T9" fmla="*/ 64 h 64"/>
                  <a:gd name="T10" fmla="*/ 81 w 81"/>
                  <a:gd name="T11" fmla="*/ 32 h 64"/>
                  <a:gd name="T12" fmla="*/ 49 w 81"/>
                  <a:gd name="T13" fmla="*/ 0 h 64"/>
                  <a:gd name="T14" fmla="*/ 49 w 81"/>
                  <a:gd name="T15" fmla="*/ 0 h 64"/>
                  <a:gd name="T16" fmla="*/ 49 w 8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64">
                    <a:moveTo>
                      <a:pt x="49" y="0"/>
                    </a:moveTo>
                    <a:cubicBezTo>
                      <a:pt x="32" y="0"/>
                      <a:pt x="32" y="0"/>
                      <a:pt x="32" y="0"/>
                    </a:cubicBezTo>
                    <a:cubicBezTo>
                      <a:pt x="14" y="0"/>
                      <a:pt x="0" y="15"/>
                      <a:pt x="0" y="32"/>
                    </a:cubicBezTo>
                    <a:cubicBezTo>
                      <a:pt x="0" y="50"/>
                      <a:pt x="14" y="64"/>
                      <a:pt x="32" y="64"/>
                    </a:cubicBezTo>
                    <a:cubicBezTo>
                      <a:pt x="49" y="64"/>
                      <a:pt x="49" y="64"/>
                      <a:pt x="49" y="64"/>
                    </a:cubicBezTo>
                    <a:cubicBezTo>
                      <a:pt x="67" y="64"/>
                      <a:pt x="81" y="50"/>
                      <a:pt x="81" y="32"/>
                    </a:cubicBezTo>
                    <a:cubicBezTo>
                      <a:pt x="81" y="15"/>
                      <a:pt x="67" y="0"/>
                      <a:pt x="49" y="0"/>
                    </a:cubicBezTo>
                    <a:close/>
                    <a:moveTo>
                      <a:pt x="49" y="0"/>
                    </a:moveTo>
                    <a:cubicBezTo>
                      <a:pt x="49" y="0"/>
                      <a:pt x="49"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40"/>
              <p:cNvSpPr>
                <a:spLocks noEditPoints="1"/>
              </p:cNvSpPr>
              <p:nvPr/>
            </p:nvSpPr>
            <p:spPr bwMode="auto">
              <a:xfrm>
                <a:off x="437" y="1982"/>
                <a:ext cx="182"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4" y="0"/>
                      <a:pt x="0" y="15"/>
                      <a:pt x="0" y="32"/>
                    </a:cubicBezTo>
                    <a:cubicBezTo>
                      <a:pt x="0" y="50"/>
                      <a:pt x="14" y="64"/>
                      <a:pt x="32" y="64"/>
                    </a:cubicBezTo>
                    <a:cubicBezTo>
                      <a:pt x="64" y="64"/>
                      <a:pt x="64" y="64"/>
                      <a:pt x="64" y="64"/>
                    </a:cubicBezTo>
                    <a:cubicBezTo>
                      <a:pt x="81" y="64"/>
                      <a:pt x="96" y="50"/>
                      <a:pt x="96" y="32"/>
                    </a:cubicBezTo>
                    <a:cubicBezTo>
                      <a:pt x="96" y="15"/>
                      <a:pt x="81"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41"/>
              <p:cNvSpPr>
                <a:spLocks noEditPoints="1"/>
              </p:cNvSpPr>
              <p:nvPr/>
            </p:nvSpPr>
            <p:spPr bwMode="auto">
              <a:xfrm>
                <a:off x="570" y="2492"/>
                <a:ext cx="181" cy="121"/>
              </a:xfrm>
              <a:custGeom>
                <a:avLst/>
                <a:gdLst>
                  <a:gd name="T0" fmla="*/ 64 w 96"/>
                  <a:gd name="T1" fmla="*/ 0 h 64"/>
                  <a:gd name="T2" fmla="*/ 32 w 96"/>
                  <a:gd name="T3" fmla="*/ 0 h 64"/>
                  <a:gd name="T4" fmla="*/ 0 w 96"/>
                  <a:gd name="T5" fmla="*/ 32 h 64"/>
                  <a:gd name="T6" fmla="*/ 32 w 96"/>
                  <a:gd name="T7" fmla="*/ 64 h 64"/>
                  <a:gd name="T8" fmla="*/ 64 w 96"/>
                  <a:gd name="T9" fmla="*/ 64 h 64"/>
                  <a:gd name="T10" fmla="*/ 96 w 96"/>
                  <a:gd name="T11" fmla="*/ 32 h 64"/>
                  <a:gd name="T12" fmla="*/ 64 w 96"/>
                  <a:gd name="T13" fmla="*/ 0 h 64"/>
                  <a:gd name="T14" fmla="*/ 64 w 96"/>
                  <a:gd name="T15" fmla="*/ 0 h 64"/>
                  <a:gd name="T16" fmla="*/ 64 w 9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4">
                    <a:moveTo>
                      <a:pt x="64" y="0"/>
                    </a:moveTo>
                    <a:cubicBezTo>
                      <a:pt x="32" y="0"/>
                      <a:pt x="32" y="0"/>
                      <a:pt x="32" y="0"/>
                    </a:cubicBezTo>
                    <a:cubicBezTo>
                      <a:pt x="15" y="0"/>
                      <a:pt x="0" y="15"/>
                      <a:pt x="0" y="32"/>
                    </a:cubicBezTo>
                    <a:cubicBezTo>
                      <a:pt x="0" y="50"/>
                      <a:pt x="15" y="64"/>
                      <a:pt x="32" y="64"/>
                    </a:cubicBezTo>
                    <a:cubicBezTo>
                      <a:pt x="64" y="64"/>
                      <a:pt x="64" y="64"/>
                      <a:pt x="64" y="64"/>
                    </a:cubicBezTo>
                    <a:cubicBezTo>
                      <a:pt x="82" y="64"/>
                      <a:pt x="96" y="50"/>
                      <a:pt x="96" y="32"/>
                    </a:cubicBezTo>
                    <a:cubicBezTo>
                      <a:pt x="96" y="15"/>
                      <a:pt x="82" y="0"/>
                      <a:pt x="64" y="0"/>
                    </a:cubicBezTo>
                    <a:close/>
                    <a:moveTo>
                      <a:pt x="64" y="0"/>
                    </a:moveTo>
                    <a:cubicBezTo>
                      <a:pt x="64" y="0"/>
                      <a:pt x="64"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42"/>
              <p:cNvSpPr>
                <a:spLocks noEditPoints="1"/>
              </p:cNvSpPr>
              <p:nvPr/>
            </p:nvSpPr>
            <p:spPr bwMode="auto">
              <a:xfrm>
                <a:off x="1052" y="2370"/>
                <a:ext cx="364" cy="364"/>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28 h 192"/>
                  <a:gd name="T12" fmla="*/ 64 w 192"/>
                  <a:gd name="T13" fmla="*/ 96 h 192"/>
                  <a:gd name="T14" fmla="*/ 96 w 192"/>
                  <a:gd name="T15" fmla="*/ 64 h 192"/>
                  <a:gd name="T16" fmla="*/ 128 w 192"/>
                  <a:gd name="T17" fmla="*/ 96 h 192"/>
                  <a:gd name="T18" fmla="*/ 96 w 192"/>
                  <a:gd name="T19" fmla="*/ 128 h 192"/>
                  <a:gd name="T20" fmla="*/ 96 w 192"/>
                  <a:gd name="T21" fmla="*/ 128 h 192"/>
                  <a:gd name="T22" fmla="*/ 96 w 192"/>
                  <a:gd name="T23" fmla="*/ 12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28"/>
                    </a:moveTo>
                    <a:cubicBezTo>
                      <a:pt x="78" y="128"/>
                      <a:pt x="64" y="114"/>
                      <a:pt x="64" y="96"/>
                    </a:cubicBezTo>
                    <a:cubicBezTo>
                      <a:pt x="64" y="79"/>
                      <a:pt x="78" y="64"/>
                      <a:pt x="96" y="64"/>
                    </a:cubicBezTo>
                    <a:cubicBezTo>
                      <a:pt x="113" y="64"/>
                      <a:pt x="128" y="79"/>
                      <a:pt x="128" y="96"/>
                    </a:cubicBezTo>
                    <a:cubicBezTo>
                      <a:pt x="128" y="114"/>
                      <a:pt x="113" y="128"/>
                      <a:pt x="96" y="128"/>
                    </a:cubicBezTo>
                    <a:close/>
                    <a:moveTo>
                      <a:pt x="96" y="128"/>
                    </a:moveTo>
                    <a:cubicBezTo>
                      <a:pt x="96" y="128"/>
                      <a:pt x="96" y="128"/>
                      <a:pt x="96"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 name="Group 6"/>
          <p:cNvGrpSpPr/>
          <p:nvPr/>
        </p:nvGrpSpPr>
        <p:grpSpPr>
          <a:xfrm>
            <a:off x="3658112" y="3236259"/>
            <a:ext cx="1737360" cy="1737360"/>
            <a:chOff x="3631453" y="3236259"/>
            <a:chExt cx="1737360" cy="1737360"/>
          </a:xfrm>
        </p:grpSpPr>
        <p:sp>
          <p:nvSpPr>
            <p:cNvPr id="78" name="Oval 77"/>
            <p:cNvSpPr>
              <a:spLocks noChangeAspect="1"/>
            </p:cNvSpPr>
            <p:nvPr/>
          </p:nvSpPr>
          <p:spPr>
            <a:xfrm>
              <a:off x="3631453" y="3236259"/>
              <a:ext cx="1737360" cy="1737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86"/>
            <p:cNvGrpSpPr>
              <a:grpSpLocks noChangeAspect="1"/>
            </p:cNvGrpSpPr>
            <p:nvPr/>
          </p:nvGrpSpPr>
          <p:grpSpPr bwMode="auto">
            <a:xfrm>
              <a:off x="4134373" y="3739179"/>
              <a:ext cx="731520" cy="731520"/>
              <a:chOff x="1968" y="1145"/>
              <a:chExt cx="3101" cy="3101"/>
            </a:xfrm>
            <a:solidFill>
              <a:schemeClr val="bg1"/>
            </a:solidFill>
          </p:grpSpPr>
          <p:sp>
            <p:nvSpPr>
              <p:cNvPr id="59" name="Freeform 87"/>
              <p:cNvSpPr>
                <a:spLocks noEditPoints="1"/>
              </p:cNvSpPr>
              <p:nvPr/>
            </p:nvSpPr>
            <p:spPr bwMode="auto">
              <a:xfrm>
                <a:off x="1968" y="1145"/>
                <a:ext cx="2448" cy="1617"/>
              </a:xfrm>
              <a:custGeom>
                <a:avLst/>
                <a:gdLst>
                  <a:gd name="T0" fmla="*/ 1133 w 1293"/>
                  <a:gd name="T1" fmla="*/ 128 h 854"/>
                  <a:gd name="T2" fmla="*/ 953 w 1293"/>
                  <a:gd name="T3" fmla="*/ 128 h 854"/>
                  <a:gd name="T4" fmla="*/ 953 w 1293"/>
                  <a:gd name="T5" fmla="*/ 96 h 854"/>
                  <a:gd name="T6" fmla="*/ 857 w 1293"/>
                  <a:gd name="T7" fmla="*/ 0 h 854"/>
                  <a:gd name="T8" fmla="*/ 761 w 1293"/>
                  <a:gd name="T9" fmla="*/ 96 h 854"/>
                  <a:gd name="T10" fmla="*/ 761 w 1293"/>
                  <a:gd name="T11" fmla="*/ 128 h 854"/>
                  <a:gd name="T12" fmla="*/ 492 w 1293"/>
                  <a:gd name="T13" fmla="*/ 128 h 854"/>
                  <a:gd name="T14" fmla="*/ 492 w 1293"/>
                  <a:gd name="T15" fmla="*/ 96 h 854"/>
                  <a:gd name="T16" fmla="*/ 396 w 1293"/>
                  <a:gd name="T17" fmla="*/ 0 h 854"/>
                  <a:gd name="T18" fmla="*/ 300 w 1293"/>
                  <a:gd name="T19" fmla="*/ 96 h 854"/>
                  <a:gd name="T20" fmla="*/ 300 w 1293"/>
                  <a:gd name="T21" fmla="*/ 128 h 854"/>
                  <a:gd name="T22" fmla="*/ 160 w 1293"/>
                  <a:gd name="T23" fmla="*/ 128 h 854"/>
                  <a:gd name="T24" fmla="*/ 0 w 1293"/>
                  <a:gd name="T25" fmla="*/ 288 h 854"/>
                  <a:gd name="T26" fmla="*/ 0 w 1293"/>
                  <a:gd name="T27" fmla="*/ 822 h 854"/>
                  <a:gd name="T28" fmla="*/ 32 w 1293"/>
                  <a:gd name="T29" fmla="*/ 854 h 854"/>
                  <a:gd name="T30" fmla="*/ 64 w 1293"/>
                  <a:gd name="T31" fmla="*/ 822 h 854"/>
                  <a:gd name="T32" fmla="*/ 64 w 1293"/>
                  <a:gd name="T33" fmla="*/ 288 h 854"/>
                  <a:gd name="T34" fmla="*/ 160 w 1293"/>
                  <a:gd name="T35" fmla="*/ 192 h 854"/>
                  <a:gd name="T36" fmla="*/ 427 w 1293"/>
                  <a:gd name="T37" fmla="*/ 192 h 854"/>
                  <a:gd name="T38" fmla="*/ 396 w 1293"/>
                  <a:gd name="T39" fmla="*/ 216 h 854"/>
                  <a:gd name="T40" fmla="*/ 364 w 1293"/>
                  <a:gd name="T41" fmla="*/ 248 h 854"/>
                  <a:gd name="T42" fmla="*/ 396 w 1293"/>
                  <a:gd name="T43" fmla="*/ 280 h 854"/>
                  <a:gd name="T44" fmla="*/ 491 w 1293"/>
                  <a:gd name="T45" fmla="*/ 192 h 854"/>
                  <a:gd name="T46" fmla="*/ 888 w 1293"/>
                  <a:gd name="T47" fmla="*/ 192 h 854"/>
                  <a:gd name="T48" fmla="*/ 857 w 1293"/>
                  <a:gd name="T49" fmla="*/ 216 h 854"/>
                  <a:gd name="T50" fmla="*/ 825 w 1293"/>
                  <a:gd name="T51" fmla="*/ 248 h 854"/>
                  <a:gd name="T52" fmla="*/ 857 w 1293"/>
                  <a:gd name="T53" fmla="*/ 280 h 854"/>
                  <a:gd name="T54" fmla="*/ 952 w 1293"/>
                  <a:gd name="T55" fmla="*/ 192 h 854"/>
                  <a:gd name="T56" fmla="*/ 1133 w 1293"/>
                  <a:gd name="T57" fmla="*/ 192 h 854"/>
                  <a:gd name="T58" fmla="*/ 1229 w 1293"/>
                  <a:gd name="T59" fmla="*/ 288 h 854"/>
                  <a:gd name="T60" fmla="*/ 1229 w 1293"/>
                  <a:gd name="T61" fmla="*/ 361 h 854"/>
                  <a:gd name="T62" fmla="*/ 1261 w 1293"/>
                  <a:gd name="T63" fmla="*/ 393 h 854"/>
                  <a:gd name="T64" fmla="*/ 1293 w 1293"/>
                  <a:gd name="T65" fmla="*/ 361 h 854"/>
                  <a:gd name="T66" fmla="*/ 1293 w 1293"/>
                  <a:gd name="T67" fmla="*/ 288 h 854"/>
                  <a:gd name="T68" fmla="*/ 1133 w 1293"/>
                  <a:gd name="T69" fmla="*/ 128 h 854"/>
                  <a:gd name="T70" fmla="*/ 428 w 1293"/>
                  <a:gd name="T71" fmla="*/ 128 h 854"/>
                  <a:gd name="T72" fmla="*/ 364 w 1293"/>
                  <a:gd name="T73" fmla="*/ 128 h 854"/>
                  <a:gd name="T74" fmla="*/ 364 w 1293"/>
                  <a:gd name="T75" fmla="*/ 96 h 854"/>
                  <a:gd name="T76" fmla="*/ 396 w 1293"/>
                  <a:gd name="T77" fmla="*/ 64 h 854"/>
                  <a:gd name="T78" fmla="*/ 428 w 1293"/>
                  <a:gd name="T79" fmla="*/ 96 h 854"/>
                  <a:gd name="T80" fmla="*/ 428 w 1293"/>
                  <a:gd name="T81" fmla="*/ 128 h 854"/>
                  <a:gd name="T82" fmla="*/ 889 w 1293"/>
                  <a:gd name="T83" fmla="*/ 128 h 854"/>
                  <a:gd name="T84" fmla="*/ 825 w 1293"/>
                  <a:gd name="T85" fmla="*/ 128 h 854"/>
                  <a:gd name="T86" fmla="*/ 825 w 1293"/>
                  <a:gd name="T87" fmla="*/ 96 h 854"/>
                  <a:gd name="T88" fmla="*/ 857 w 1293"/>
                  <a:gd name="T89" fmla="*/ 64 h 854"/>
                  <a:gd name="T90" fmla="*/ 889 w 1293"/>
                  <a:gd name="T91" fmla="*/ 96 h 854"/>
                  <a:gd name="T92" fmla="*/ 889 w 1293"/>
                  <a:gd name="T93" fmla="*/ 128 h 854"/>
                  <a:gd name="T94" fmla="*/ 889 w 1293"/>
                  <a:gd name="T95" fmla="*/ 128 h 854"/>
                  <a:gd name="T96" fmla="*/ 889 w 1293"/>
                  <a:gd name="T97" fmla="*/ 12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3" h="854">
                    <a:moveTo>
                      <a:pt x="1133" y="128"/>
                    </a:moveTo>
                    <a:cubicBezTo>
                      <a:pt x="953" y="128"/>
                      <a:pt x="953" y="128"/>
                      <a:pt x="953" y="128"/>
                    </a:cubicBezTo>
                    <a:cubicBezTo>
                      <a:pt x="953" y="96"/>
                      <a:pt x="953" y="96"/>
                      <a:pt x="953" y="96"/>
                    </a:cubicBezTo>
                    <a:cubicBezTo>
                      <a:pt x="953" y="43"/>
                      <a:pt x="909" y="0"/>
                      <a:pt x="857" y="0"/>
                    </a:cubicBezTo>
                    <a:cubicBezTo>
                      <a:pt x="804" y="0"/>
                      <a:pt x="761" y="43"/>
                      <a:pt x="761" y="96"/>
                    </a:cubicBezTo>
                    <a:cubicBezTo>
                      <a:pt x="761" y="128"/>
                      <a:pt x="761" y="128"/>
                      <a:pt x="761" y="128"/>
                    </a:cubicBezTo>
                    <a:cubicBezTo>
                      <a:pt x="492" y="128"/>
                      <a:pt x="492" y="128"/>
                      <a:pt x="492" y="128"/>
                    </a:cubicBezTo>
                    <a:cubicBezTo>
                      <a:pt x="492" y="96"/>
                      <a:pt x="492" y="96"/>
                      <a:pt x="492" y="96"/>
                    </a:cubicBezTo>
                    <a:cubicBezTo>
                      <a:pt x="492" y="43"/>
                      <a:pt x="449" y="0"/>
                      <a:pt x="396" y="0"/>
                    </a:cubicBezTo>
                    <a:cubicBezTo>
                      <a:pt x="343" y="0"/>
                      <a:pt x="300" y="43"/>
                      <a:pt x="300" y="96"/>
                    </a:cubicBezTo>
                    <a:cubicBezTo>
                      <a:pt x="300" y="128"/>
                      <a:pt x="300" y="128"/>
                      <a:pt x="300" y="128"/>
                    </a:cubicBezTo>
                    <a:cubicBezTo>
                      <a:pt x="160" y="128"/>
                      <a:pt x="160" y="128"/>
                      <a:pt x="160" y="128"/>
                    </a:cubicBezTo>
                    <a:cubicBezTo>
                      <a:pt x="72" y="128"/>
                      <a:pt x="0" y="200"/>
                      <a:pt x="0" y="288"/>
                    </a:cubicBezTo>
                    <a:cubicBezTo>
                      <a:pt x="0" y="822"/>
                      <a:pt x="0" y="822"/>
                      <a:pt x="0" y="822"/>
                    </a:cubicBezTo>
                    <a:cubicBezTo>
                      <a:pt x="0" y="840"/>
                      <a:pt x="14" y="854"/>
                      <a:pt x="32" y="854"/>
                    </a:cubicBezTo>
                    <a:cubicBezTo>
                      <a:pt x="50" y="854"/>
                      <a:pt x="64" y="840"/>
                      <a:pt x="64" y="822"/>
                    </a:cubicBezTo>
                    <a:cubicBezTo>
                      <a:pt x="64" y="288"/>
                      <a:pt x="64" y="288"/>
                      <a:pt x="64" y="288"/>
                    </a:cubicBezTo>
                    <a:cubicBezTo>
                      <a:pt x="64" y="235"/>
                      <a:pt x="107" y="192"/>
                      <a:pt x="160" y="192"/>
                    </a:cubicBezTo>
                    <a:cubicBezTo>
                      <a:pt x="427" y="192"/>
                      <a:pt x="427" y="192"/>
                      <a:pt x="427" y="192"/>
                    </a:cubicBezTo>
                    <a:cubicBezTo>
                      <a:pt x="423" y="206"/>
                      <a:pt x="411" y="216"/>
                      <a:pt x="396" y="216"/>
                    </a:cubicBezTo>
                    <a:cubicBezTo>
                      <a:pt x="378" y="216"/>
                      <a:pt x="364" y="231"/>
                      <a:pt x="364" y="248"/>
                    </a:cubicBezTo>
                    <a:cubicBezTo>
                      <a:pt x="364" y="266"/>
                      <a:pt x="378" y="280"/>
                      <a:pt x="396" y="280"/>
                    </a:cubicBezTo>
                    <a:cubicBezTo>
                      <a:pt x="446" y="280"/>
                      <a:pt x="488" y="241"/>
                      <a:pt x="491" y="192"/>
                    </a:cubicBezTo>
                    <a:cubicBezTo>
                      <a:pt x="888" y="192"/>
                      <a:pt x="888" y="192"/>
                      <a:pt x="888" y="192"/>
                    </a:cubicBezTo>
                    <a:cubicBezTo>
                      <a:pt x="884" y="206"/>
                      <a:pt x="872" y="216"/>
                      <a:pt x="857" y="216"/>
                    </a:cubicBezTo>
                    <a:cubicBezTo>
                      <a:pt x="839" y="216"/>
                      <a:pt x="825" y="231"/>
                      <a:pt x="825" y="248"/>
                    </a:cubicBezTo>
                    <a:cubicBezTo>
                      <a:pt x="825" y="266"/>
                      <a:pt x="839" y="280"/>
                      <a:pt x="857" y="280"/>
                    </a:cubicBezTo>
                    <a:cubicBezTo>
                      <a:pt x="907" y="280"/>
                      <a:pt x="948" y="241"/>
                      <a:pt x="952" y="192"/>
                    </a:cubicBezTo>
                    <a:cubicBezTo>
                      <a:pt x="1133" y="192"/>
                      <a:pt x="1133" y="192"/>
                      <a:pt x="1133" y="192"/>
                    </a:cubicBezTo>
                    <a:cubicBezTo>
                      <a:pt x="1186" y="192"/>
                      <a:pt x="1229" y="235"/>
                      <a:pt x="1229" y="288"/>
                    </a:cubicBezTo>
                    <a:cubicBezTo>
                      <a:pt x="1229" y="361"/>
                      <a:pt x="1229" y="361"/>
                      <a:pt x="1229" y="361"/>
                    </a:cubicBezTo>
                    <a:cubicBezTo>
                      <a:pt x="1229" y="379"/>
                      <a:pt x="1243" y="393"/>
                      <a:pt x="1261" y="393"/>
                    </a:cubicBezTo>
                    <a:cubicBezTo>
                      <a:pt x="1278" y="393"/>
                      <a:pt x="1293" y="379"/>
                      <a:pt x="1293" y="361"/>
                    </a:cubicBezTo>
                    <a:cubicBezTo>
                      <a:pt x="1293" y="288"/>
                      <a:pt x="1293" y="288"/>
                      <a:pt x="1293" y="288"/>
                    </a:cubicBezTo>
                    <a:cubicBezTo>
                      <a:pt x="1293" y="200"/>
                      <a:pt x="1221" y="128"/>
                      <a:pt x="1133" y="128"/>
                    </a:cubicBezTo>
                    <a:close/>
                    <a:moveTo>
                      <a:pt x="428" y="128"/>
                    </a:moveTo>
                    <a:cubicBezTo>
                      <a:pt x="364" y="128"/>
                      <a:pt x="364" y="128"/>
                      <a:pt x="364" y="128"/>
                    </a:cubicBezTo>
                    <a:cubicBezTo>
                      <a:pt x="364" y="96"/>
                      <a:pt x="364" y="96"/>
                      <a:pt x="364" y="96"/>
                    </a:cubicBezTo>
                    <a:cubicBezTo>
                      <a:pt x="364" y="78"/>
                      <a:pt x="378" y="64"/>
                      <a:pt x="396" y="64"/>
                    </a:cubicBezTo>
                    <a:cubicBezTo>
                      <a:pt x="413" y="64"/>
                      <a:pt x="428" y="78"/>
                      <a:pt x="428" y="96"/>
                    </a:cubicBezTo>
                    <a:lnTo>
                      <a:pt x="428" y="128"/>
                    </a:lnTo>
                    <a:close/>
                    <a:moveTo>
                      <a:pt x="889" y="128"/>
                    </a:moveTo>
                    <a:cubicBezTo>
                      <a:pt x="825" y="128"/>
                      <a:pt x="825" y="128"/>
                      <a:pt x="825" y="128"/>
                    </a:cubicBezTo>
                    <a:cubicBezTo>
                      <a:pt x="825" y="96"/>
                      <a:pt x="825" y="96"/>
                      <a:pt x="825" y="96"/>
                    </a:cubicBezTo>
                    <a:cubicBezTo>
                      <a:pt x="825" y="78"/>
                      <a:pt x="839" y="64"/>
                      <a:pt x="857" y="64"/>
                    </a:cubicBezTo>
                    <a:cubicBezTo>
                      <a:pt x="874" y="64"/>
                      <a:pt x="889" y="78"/>
                      <a:pt x="889" y="96"/>
                    </a:cubicBezTo>
                    <a:lnTo>
                      <a:pt x="889" y="128"/>
                    </a:lnTo>
                    <a:close/>
                    <a:moveTo>
                      <a:pt x="889" y="128"/>
                    </a:moveTo>
                    <a:cubicBezTo>
                      <a:pt x="889" y="128"/>
                      <a:pt x="889" y="128"/>
                      <a:pt x="889"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8"/>
              <p:cNvSpPr>
                <a:spLocks noEditPoints="1"/>
              </p:cNvSpPr>
              <p:nvPr/>
            </p:nvSpPr>
            <p:spPr bwMode="auto">
              <a:xfrm>
                <a:off x="1968" y="2879"/>
                <a:ext cx="121" cy="121"/>
              </a:xfrm>
              <a:custGeom>
                <a:avLst/>
                <a:gdLst>
                  <a:gd name="T0" fmla="*/ 55 w 64"/>
                  <a:gd name="T1" fmla="*/ 9 h 64"/>
                  <a:gd name="T2" fmla="*/ 32 w 64"/>
                  <a:gd name="T3" fmla="*/ 0 h 64"/>
                  <a:gd name="T4" fmla="*/ 9 w 64"/>
                  <a:gd name="T5" fmla="*/ 9 h 64"/>
                  <a:gd name="T6" fmla="*/ 0 w 64"/>
                  <a:gd name="T7" fmla="*/ 32 h 64"/>
                  <a:gd name="T8" fmla="*/ 9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0" y="0"/>
                      <a:pt x="32" y="0"/>
                    </a:cubicBezTo>
                    <a:cubicBezTo>
                      <a:pt x="24" y="0"/>
                      <a:pt x="15" y="3"/>
                      <a:pt x="9" y="9"/>
                    </a:cubicBezTo>
                    <a:cubicBezTo>
                      <a:pt x="3" y="15"/>
                      <a:pt x="0" y="23"/>
                      <a:pt x="0" y="32"/>
                    </a:cubicBezTo>
                    <a:cubicBezTo>
                      <a:pt x="0" y="40"/>
                      <a:pt x="3" y="48"/>
                      <a:pt x="9" y="54"/>
                    </a:cubicBezTo>
                    <a:cubicBezTo>
                      <a:pt x="15" y="60"/>
                      <a:pt x="24" y="64"/>
                      <a:pt x="32" y="64"/>
                    </a:cubicBezTo>
                    <a:cubicBezTo>
                      <a:pt x="40"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9"/>
              <p:cNvSpPr>
                <a:spLocks noEditPoints="1"/>
              </p:cNvSpPr>
              <p:nvPr/>
            </p:nvSpPr>
            <p:spPr bwMode="auto">
              <a:xfrm>
                <a:off x="1968" y="3112"/>
                <a:ext cx="2065" cy="1134"/>
              </a:xfrm>
              <a:custGeom>
                <a:avLst/>
                <a:gdLst>
                  <a:gd name="T0" fmla="*/ 1059 w 1091"/>
                  <a:gd name="T1" fmla="*/ 535 h 599"/>
                  <a:gd name="T2" fmla="*/ 160 w 1091"/>
                  <a:gd name="T3" fmla="*/ 535 h 599"/>
                  <a:gd name="T4" fmla="*/ 64 w 1091"/>
                  <a:gd name="T5" fmla="*/ 439 h 599"/>
                  <a:gd name="T6" fmla="*/ 64 w 1091"/>
                  <a:gd name="T7" fmla="*/ 32 h 599"/>
                  <a:gd name="T8" fmla="*/ 32 w 1091"/>
                  <a:gd name="T9" fmla="*/ 0 h 599"/>
                  <a:gd name="T10" fmla="*/ 0 w 1091"/>
                  <a:gd name="T11" fmla="*/ 32 h 599"/>
                  <a:gd name="T12" fmla="*/ 0 w 1091"/>
                  <a:gd name="T13" fmla="*/ 439 h 599"/>
                  <a:gd name="T14" fmla="*/ 160 w 1091"/>
                  <a:gd name="T15" fmla="*/ 599 h 599"/>
                  <a:gd name="T16" fmla="*/ 1059 w 1091"/>
                  <a:gd name="T17" fmla="*/ 599 h 599"/>
                  <a:gd name="T18" fmla="*/ 1091 w 1091"/>
                  <a:gd name="T19" fmla="*/ 567 h 599"/>
                  <a:gd name="T20" fmla="*/ 1059 w 1091"/>
                  <a:gd name="T21" fmla="*/ 535 h 599"/>
                  <a:gd name="T22" fmla="*/ 1059 w 1091"/>
                  <a:gd name="T23" fmla="*/ 535 h 599"/>
                  <a:gd name="T24" fmla="*/ 1059 w 1091"/>
                  <a:gd name="T25" fmla="*/ 53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1" h="599">
                    <a:moveTo>
                      <a:pt x="1059" y="535"/>
                    </a:moveTo>
                    <a:cubicBezTo>
                      <a:pt x="160" y="535"/>
                      <a:pt x="160" y="535"/>
                      <a:pt x="160" y="535"/>
                    </a:cubicBezTo>
                    <a:cubicBezTo>
                      <a:pt x="107" y="535"/>
                      <a:pt x="64" y="492"/>
                      <a:pt x="64" y="439"/>
                    </a:cubicBezTo>
                    <a:cubicBezTo>
                      <a:pt x="64" y="32"/>
                      <a:pt x="64" y="32"/>
                      <a:pt x="64" y="32"/>
                    </a:cubicBezTo>
                    <a:cubicBezTo>
                      <a:pt x="64" y="14"/>
                      <a:pt x="50" y="0"/>
                      <a:pt x="32" y="0"/>
                    </a:cubicBezTo>
                    <a:cubicBezTo>
                      <a:pt x="14" y="0"/>
                      <a:pt x="0" y="14"/>
                      <a:pt x="0" y="32"/>
                    </a:cubicBezTo>
                    <a:cubicBezTo>
                      <a:pt x="0" y="439"/>
                      <a:pt x="0" y="439"/>
                      <a:pt x="0" y="439"/>
                    </a:cubicBezTo>
                    <a:cubicBezTo>
                      <a:pt x="0" y="528"/>
                      <a:pt x="72" y="599"/>
                      <a:pt x="160" y="599"/>
                    </a:cubicBezTo>
                    <a:cubicBezTo>
                      <a:pt x="1059" y="599"/>
                      <a:pt x="1059" y="599"/>
                      <a:pt x="1059" y="599"/>
                    </a:cubicBezTo>
                    <a:cubicBezTo>
                      <a:pt x="1077" y="599"/>
                      <a:pt x="1091" y="585"/>
                      <a:pt x="1091" y="567"/>
                    </a:cubicBezTo>
                    <a:cubicBezTo>
                      <a:pt x="1091" y="550"/>
                      <a:pt x="1077" y="535"/>
                      <a:pt x="1059" y="535"/>
                    </a:cubicBezTo>
                    <a:close/>
                    <a:moveTo>
                      <a:pt x="1059" y="535"/>
                    </a:moveTo>
                    <a:cubicBezTo>
                      <a:pt x="1059" y="535"/>
                      <a:pt x="1059" y="535"/>
                      <a:pt x="1059" y="5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90"/>
              <p:cNvSpPr>
                <a:spLocks noEditPoints="1"/>
              </p:cNvSpPr>
              <p:nvPr/>
            </p:nvSpPr>
            <p:spPr bwMode="auto">
              <a:xfrm>
                <a:off x="2235" y="1811"/>
                <a:ext cx="901" cy="945"/>
              </a:xfrm>
              <a:custGeom>
                <a:avLst/>
                <a:gdLst>
                  <a:gd name="T0" fmla="*/ 346 w 476"/>
                  <a:gd name="T1" fmla="*/ 207 h 499"/>
                  <a:gd name="T2" fmla="*/ 362 w 476"/>
                  <a:gd name="T3" fmla="*/ 147 h 499"/>
                  <a:gd name="T4" fmla="*/ 362 w 476"/>
                  <a:gd name="T5" fmla="*/ 124 h 499"/>
                  <a:gd name="T6" fmla="*/ 238 w 476"/>
                  <a:gd name="T7" fmla="*/ 0 h 499"/>
                  <a:gd name="T8" fmla="*/ 114 w 476"/>
                  <a:gd name="T9" fmla="*/ 124 h 499"/>
                  <a:gd name="T10" fmla="*/ 114 w 476"/>
                  <a:gd name="T11" fmla="*/ 147 h 499"/>
                  <a:gd name="T12" fmla="*/ 130 w 476"/>
                  <a:gd name="T13" fmla="*/ 207 h 499"/>
                  <a:gd name="T14" fmla="*/ 0 w 476"/>
                  <a:gd name="T15" fmla="*/ 353 h 499"/>
                  <a:gd name="T16" fmla="*/ 0 w 476"/>
                  <a:gd name="T17" fmla="*/ 467 h 499"/>
                  <a:gd name="T18" fmla="*/ 32 w 476"/>
                  <a:gd name="T19" fmla="*/ 499 h 499"/>
                  <a:gd name="T20" fmla="*/ 444 w 476"/>
                  <a:gd name="T21" fmla="*/ 499 h 499"/>
                  <a:gd name="T22" fmla="*/ 476 w 476"/>
                  <a:gd name="T23" fmla="*/ 467 h 499"/>
                  <a:gd name="T24" fmla="*/ 476 w 476"/>
                  <a:gd name="T25" fmla="*/ 353 h 499"/>
                  <a:gd name="T26" fmla="*/ 346 w 476"/>
                  <a:gd name="T27" fmla="*/ 207 h 499"/>
                  <a:gd name="T28" fmla="*/ 238 w 476"/>
                  <a:gd name="T29" fmla="*/ 64 h 499"/>
                  <a:gd name="T30" fmla="*/ 298 w 476"/>
                  <a:gd name="T31" fmla="*/ 124 h 499"/>
                  <a:gd name="T32" fmla="*/ 298 w 476"/>
                  <a:gd name="T33" fmla="*/ 147 h 499"/>
                  <a:gd name="T34" fmla="*/ 238 w 476"/>
                  <a:gd name="T35" fmla="*/ 206 h 499"/>
                  <a:gd name="T36" fmla="*/ 178 w 476"/>
                  <a:gd name="T37" fmla="*/ 147 h 499"/>
                  <a:gd name="T38" fmla="*/ 178 w 476"/>
                  <a:gd name="T39" fmla="*/ 124 h 499"/>
                  <a:gd name="T40" fmla="*/ 238 w 476"/>
                  <a:gd name="T41" fmla="*/ 64 h 499"/>
                  <a:gd name="T42" fmla="*/ 412 w 476"/>
                  <a:gd name="T43" fmla="*/ 435 h 499"/>
                  <a:gd name="T44" fmla="*/ 64 w 476"/>
                  <a:gd name="T45" fmla="*/ 435 h 499"/>
                  <a:gd name="T46" fmla="*/ 64 w 476"/>
                  <a:gd name="T47" fmla="*/ 353 h 499"/>
                  <a:gd name="T48" fmla="*/ 146 w 476"/>
                  <a:gd name="T49" fmla="*/ 270 h 499"/>
                  <a:gd name="T50" fmla="*/ 330 w 476"/>
                  <a:gd name="T51" fmla="*/ 270 h 499"/>
                  <a:gd name="T52" fmla="*/ 412 w 476"/>
                  <a:gd name="T53" fmla="*/ 353 h 499"/>
                  <a:gd name="T54" fmla="*/ 412 w 476"/>
                  <a:gd name="T55" fmla="*/ 435 h 499"/>
                  <a:gd name="T56" fmla="*/ 412 w 476"/>
                  <a:gd name="T57" fmla="*/ 435 h 499"/>
                  <a:gd name="T58" fmla="*/ 412 w 476"/>
                  <a:gd name="T59" fmla="*/ 43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499">
                    <a:moveTo>
                      <a:pt x="346" y="207"/>
                    </a:moveTo>
                    <a:cubicBezTo>
                      <a:pt x="356" y="189"/>
                      <a:pt x="362" y="168"/>
                      <a:pt x="362" y="147"/>
                    </a:cubicBezTo>
                    <a:cubicBezTo>
                      <a:pt x="362" y="124"/>
                      <a:pt x="362" y="124"/>
                      <a:pt x="362" y="124"/>
                    </a:cubicBezTo>
                    <a:cubicBezTo>
                      <a:pt x="362" y="55"/>
                      <a:pt x="306" y="0"/>
                      <a:pt x="238" y="0"/>
                    </a:cubicBezTo>
                    <a:cubicBezTo>
                      <a:pt x="170" y="0"/>
                      <a:pt x="114" y="55"/>
                      <a:pt x="114" y="124"/>
                    </a:cubicBezTo>
                    <a:cubicBezTo>
                      <a:pt x="114" y="147"/>
                      <a:pt x="114" y="147"/>
                      <a:pt x="114" y="147"/>
                    </a:cubicBezTo>
                    <a:cubicBezTo>
                      <a:pt x="114" y="168"/>
                      <a:pt x="120" y="189"/>
                      <a:pt x="130" y="207"/>
                    </a:cubicBezTo>
                    <a:cubicBezTo>
                      <a:pt x="57" y="215"/>
                      <a:pt x="0" y="277"/>
                      <a:pt x="0" y="353"/>
                    </a:cubicBezTo>
                    <a:cubicBezTo>
                      <a:pt x="0" y="467"/>
                      <a:pt x="0" y="467"/>
                      <a:pt x="0" y="467"/>
                    </a:cubicBezTo>
                    <a:cubicBezTo>
                      <a:pt x="0" y="485"/>
                      <a:pt x="14" y="499"/>
                      <a:pt x="32" y="499"/>
                    </a:cubicBezTo>
                    <a:cubicBezTo>
                      <a:pt x="444" y="499"/>
                      <a:pt x="444" y="499"/>
                      <a:pt x="444" y="499"/>
                    </a:cubicBezTo>
                    <a:cubicBezTo>
                      <a:pt x="462" y="499"/>
                      <a:pt x="476" y="485"/>
                      <a:pt x="476" y="467"/>
                    </a:cubicBezTo>
                    <a:cubicBezTo>
                      <a:pt x="476" y="353"/>
                      <a:pt x="476" y="353"/>
                      <a:pt x="476" y="353"/>
                    </a:cubicBezTo>
                    <a:cubicBezTo>
                      <a:pt x="476" y="277"/>
                      <a:pt x="419" y="215"/>
                      <a:pt x="346" y="207"/>
                    </a:cubicBezTo>
                    <a:close/>
                    <a:moveTo>
                      <a:pt x="238" y="64"/>
                    </a:moveTo>
                    <a:cubicBezTo>
                      <a:pt x="271" y="64"/>
                      <a:pt x="298" y="91"/>
                      <a:pt x="298" y="124"/>
                    </a:cubicBezTo>
                    <a:cubicBezTo>
                      <a:pt x="298" y="147"/>
                      <a:pt x="298" y="147"/>
                      <a:pt x="298" y="147"/>
                    </a:cubicBezTo>
                    <a:cubicBezTo>
                      <a:pt x="298" y="179"/>
                      <a:pt x="271" y="206"/>
                      <a:pt x="238" y="206"/>
                    </a:cubicBezTo>
                    <a:cubicBezTo>
                      <a:pt x="205" y="206"/>
                      <a:pt x="178" y="179"/>
                      <a:pt x="178" y="147"/>
                    </a:cubicBezTo>
                    <a:cubicBezTo>
                      <a:pt x="178" y="124"/>
                      <a:pt x="178" y="124"/>
                      <a:pt x="178" y="124"/>
                    </a:cubicBezTo>
                    <a:cubicBezTo>
                      <a:pt x="178" y="91"/>
                      <a:pt x="205" y="64"/>
                      <a:pt x="238" y="64"/>
                    </a:cubicBezTo>
                    <a:close/>
                    <a:moveTo>
                      <a:pt x="412" y="435"/>
                    </a:moveTo>
                    <a:cubicBezTo>
                      <a:pt x="64" y="435"/>
                      <a:pt x="64" y="435"/>
                      <a:pt x="64" y="435"/>
                    </a:cubicBezTo>
                    <a:cubicBezTo>
                      <a:pt x="64" y="353"/>
                      <a:pt x="64" y="353"/>
                      <a:pt x="64" y="353"/>
                    </a:cubicBezTo>
                    <a:cubicBezTo>
                      <a:pt x="64" y="307"/>
                      <a:pt x="101" y="270"/>
                      <a:pt x="146" y="270"/>
                    </a:cubicBezTo>
                    <a:cubicBezTo>
                      <a:pt x="330" y="270"/>
                      <a:pt x="330" y="270"/>
                      <a:pt x="330" y="270"/>
                    </a:cubicBezTo>
                    <a:cubicBezTo>
                      <a:pt x="375" y="270"/>
                      <a:pt x="412" y="307"/>
                      <a:pt x="412" y="353"/>
                    </a:cubicBezTo>
                    <a:lnTo>
                      <a:pt x="412" y="435"/>
                    </a:lnTo>
                    <a:close/>
                    <a:moveTo>
                      <a:pt x="412" y="435"/>
                    </a:moveTo>
                    <a:cubicBezTo>
                      <a:pt x="412" y="435"/>
                      <a:pt x="412" y="435"/>
                      <a:pt x="412" y="4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91"/>
              <p:cNvSpPr>
                <a:spLocks noEditPoints="1"/>
              </p:cNvSpPr>
              <p:nvPr/>
            </p:nvSpPr>
            <p:spPr bwMode="auto">
              <a:xfrm>
                <a:off x="2235" y="2974"/>
                <a:ext cx="901" cy="946"/>
              </a:xfrm>
              <a:custGeom>
                <a:avLst/>
                <a:gdLst>
                  <a:gd name="T0" fmla="*/ 346 w 476"/>
                  <a:gd name="T1" fmla="*/ 207 h 500"/>
                  <a:gd name="T2" fmla="*/ 362 w 476"/>
                  <a:gd name="T3" fmla="*/ 147 h 500"/>
                  <a:gd name="T4" fmla="*/ 362 w 476"/>
                  <a:gd name="T5" fmla="*/ 124 h 500"/>
                  <a:gd name="T6" fmla="*/ 238 w 476"/>
                  <a:gd name="T7" fmla="*/ 0 h 500"/>
                  <a:gd name="T8" fmla="*/ 114 w 476"/>
                  <a:gd name="T9" fmla="*/ 124 h 500"/>
                  <a:gd name="T10" fmla="*/ 114 w 476"/>
                  <a:gd name="T11" fmla="*/ 147 h 500"/>
                  <a:gd name="T12" fmla="*/ 130 w 476"/>
                  <a:gd name="T13" fmla="*/ 207 h 500"/>
                  <a:gd name="T14" fmla="*/ 0 w 476"/>
                  <a:gd name="T15" fmla="*/ 353 h 500"/>
                  <a:gd name="T16" fmla="*/ 0 w 476"/>
                  <a:gd name="T17" fmla="*/ 468 h 500"/>
                  <a:gd name="T18" fmla="*/ 32 w 476"/>
                  <a:gd name="T19" fmla="*/ 500 h 500"/>
                  <a:gd name="T20" fmla="*/ 444 w 476"/>
                  <a:gd name="T21" fmla="*/ 500 h 500"/>
                  <a:gd name="T22" fmla="*/ 476 w 476"/>
                  <a:gd name="T23" fmla="*/ 468 h 500"/>
                  <a:gd name="T24" fmla="*/ 476 w 476"/>
                  <a:gd name="T25" fmla="*/ 353 h 500"/>
                  <a:gd name="T26" fmla="*/ 346 w 476"/>
                  <a:gd name="T27" fmla="*/ 207 h 500"/>
                  <a:gd name="T28" fmla="*/ 238 w 476"/>
                  <a:gd name="T29" fmla="*/ 64 h 500"/>
                  <a:gd name="T30" fmla="*/ 298 w 476"/>
                  <a:gd name="T31" fmla="*/ 124 h 500"/>
                  <a:gd name="T32" fmla="*/ 298 w 476"/>
                  <a:gd name="T33" fmla="*/ 147 h 500"/>
                  <a:gd name="T34" fmla="*/ 238 w 476"/>
                  <a:gd name="T35" fmla="*/ 207 h 500"/>
                  <a:gd name="T36" fmla="*/ 178 w 476"/>
                  <a:gd name="T37" fmla="*/ 147 h 500"/>
                  <a:gd name="T38" fmla="*/ 178 w 476"/>
                  <a:gd name="T39" fmla="*/ 124 h 500"/>
                  <a:gd name="T40" fmla="*/ 238 w 476"/>
                  <a:gd name="T41" fmla="*/ 64 h 500"/>
                  <a:gd name="T42" fmla="*/ 412 w 476"/>
                  <a:gd name="T43" fmla="*/ 436 h 500"/>
                  <a:gd name="T44" fmla="*/ 64 w 476"/>
                  <a:gd name="T45" fmla="*/ 436 h 500"/>
                  <a:gd name="T46" fmla="*/ 64 w 476"/>
                  <a:gd name="T47" fmla="*/ 353 h 500"/>
                  <a:gd name="T48" fmla="*/ 146 w 476"/>
                  <a:gd name="T49" fmla="*/ 271 h 500"/>
                  <a:gd name="T50" fmla="*/ 330 w 476"/>
                  <a:gd name="T51" fmla="*/ 271 h 500"/>
                  <a:gd name="T52" fmla="*/ 412 w 476"/>
                  <a:gd name="T53" fmla="*/ 353 h 500"/>
                  <a:gd name="T54" fmla="*/ 412 w 476"/>
                  <a:gd name="T55" fmla="*/ 436 h 500"/>
                  <a:gd name="T56" fmla="*/ 412 w 476"/>
                  <a:gd name="T57" fmla="*/ 436 h 500"/>
                  <a:gd name="T58" fmla="*/ 412 w 476"/>
                  <a:gd name="T59" fmla="*/ 43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500">
                    <a:moveTo>
                      <a:pt x="346" y="207"/>
                    </a:moveTo>
                    <a:cubicBezTo>
                      <a:pt x="356" y="190"/>
                      <a:pt x="362" y="169"/>
                      <a:pt x="362" y="147"/>
                    </a:cubicBezTo>
                    <a:cubicBezTo>
                      <a:pt x="362" y="124"/>
                      <a:pt x="362" y="124"/>
                      <a:pt x="362" y="124"/>
                    </a:cubicBezTo>
                    <a:cubicBezTo>
                      <a:pt x="362" y="56"/>
                      <a:pt x="306" y="0"/>
                      <a:pt x="238" y="0"/>
                    </a:cubicBezTo>
                    <a:cubicBezTo>
                      <a:pt x="170" y="0"/>
                      <a:pt x="114" y="56"/>
                      <a:pt x="114" y="124"/>
                    </a:cubicBezTo>
                    <a:cubicBezTo>
                      <a:pt x="114" y="147"/>
                      <a:pt x="114" y="147"/>
                      <a:pt x="114" y="147"/>
                    </a:cubicBezTo>
                    <a:cubicBezTo>
                      <a:pt x="114" y="169"/>
                      <a:pt x="120" y="190"/>
                      <a:pt x="130" y="207"/>
                    </a:cubicBezTo>
                    <a:cubicBezTo>
                      <a:pt x="57" y="216"/>
                      <a:pt x="0" y="278"/>
                      <a:pt x="0" y="353"/>
                    </a:cubicBezTo>
                    <a:cubicBezTo>
                      <a:pt x="0" y="468"/>
                      <a:pt x="0" y="468"/>
                      <a:pt x="0" y="468"/>
                    </a:cubicBezTo>
                    <a:cubicBezTo>
                      <a:pt x="0" y="485"/>
                      <a:pt x="14" y="500"/>
                      <a:pt x="32" y="500"/>
                    </a:cubicBezTo>
                    <a:cubicBezTo>
                      <a:pt x="444" y="500"/>
                      <a:pt x="444" y="500"/>
                      <a:pt x="444" y="500"/>
                    </a:cubicBezTo>
                    <a:cubicBezTo>
                      <a:pt x="462" y="500"/>
                      <a:pt x="476" y="485"/>
                      <a:pt x="476" y="468"/>
                    </a:cubicBezTo>
                    <a:cubicBezTo>
                      <a:pt x="476" y="353"/>
                      <a:pt x="476" y="353"/>
                      <a:pt x="476" y="353"/>
                    </a:cubicBezTo>
                    <a:cubicBezTo>
                      <a:pt x="476" y="278"/>
                      <a:pt x="419" y="216"/>
                      <a:pt x="346" y="207"/>
                    </a:cubicBezTo>
                    <a:close/>
                    <a:moveTo>
                      <a:pt x="238" y="64"/>
                    </a:moveTo>
                    <a:cubicBezTo>
                      <a:pt x="271" y="64"/>
                      <a:pt x="298" y="91"/>
                      <a:pt x="298" y="124"/>
                    </a:cubicBezTo>
                    <a:cubicBezTo>
                      <a:pt x="298" y="147"/>
                      <a:pt x="298" y="147"/>
                      <a:pt x="298" y="147"/>
                    </a:cubicBezTo>
                    <a:cubicBezTo>
                      <a:pt x="298" y="180"/>
                      <a:pt x="271" y="207"/>
                      <a:pt x="238" y="207"/>
                    </a:cubicBezTo>
                    <a:cubicBezTo>
                      <a:pt x="205" y="207"/>
                      <a:pt x="178" y="180"/>
                      <a:pt x="178" y="147"/>
                    </a:cubicBezTo>
                    <a:cubicBezTo>
                      <a:pt x="178" y="124"/>
                      <a:pt x="178" y="124"/>
                      <a:pt x="178" y="124"/>
                    </a:cubicBezTo>
                    <a:cubicBezTo>
                      <a:pt x="178" y="91"/>
                      <a:pt x="205" y="64"/>
                      <a:pt x="238" y="64"/>
                    </a:cubicBezTo>
                    <a:close/>
                    <a:moveTo>
                      <a:pt x="412" y="436"/>
                    </a:moveTo>
                    <a:cubicBezTo>
                      <a:pt x="64" y="436"/>
                      <a:pt x="64" y="436"/>
                      <a:pt x="64" y="436"/>
                    </a:cubicBezTo>
                    <a:cubicBezTo>
                      <a:pt x="64" y="353"/>
                      <a:pt x="64" y="353"/>
                      <a:pt x="64" y="353"/>
                    </a:cubicBezTo>
                    <a:cubicBezTo>
                      <a:pt x="64" y="308"/>
                      <a:pt x="101" y="271"/>
                      <a:pt x="146" y="271"/>
                    </a:cubicBezTo>
                    <a:cubicBezTo>
                      <a:pt x="330" y="271"/>
                      <a:pt x="330" y="271"/>
                      <a:pt x="330" y="271"/>
                    </a:cubicBezTo>
                    <a:cubicBezTo>
                      <a:pt x="375" y="271"/>
                      <a:pt x="412" y="308"/>
                      <a:pt x="412" y="353"/>
                    </a:cubicBezTo>
                    <a:lnTo>
                      <a:pt x="412" y="436"/>
                    </a:lnTo>
                    <a:close/>
                    <a:moveTo>
                      <a:pt x="412" y="436"/>
                    </a:moveTo>
                    <a:cubicBezTo>
                      <a:pt x="412" y="436"/>
                      <a:pt x="412" y="436"/>
                      <a:pt x="412" y="4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92"/>
              <p:cNvSpPr>
                <a:spLocks noEditPoints="1"/>
              </p:cNvSpPr>
              <p:nvPr/>
            </p:nvSpPr>
            <p:spPr bwMode="auto">
              <a:xfrm>
                <a:off x="3314" y="2345"/>
                <a:ext cx="399" cy="121"/>
              </a:xfrm>
              <a:custGeom>
                <a:avLst/>
                <a:gdLst>
                  <a:gd name="T0" fmla="*/ 179 w 211"/>
                  <a:gd name="T1" fmla="*/ 0 h 64"/>
                  <a:gd name="T2" fmla="*/ 32 w 211"/>
                  <a:gd name="T3" fmla="*/ 0 h 64"/>
                  <a:gd name="T4" fmla="*/ 0 w 211"/>
                  <a:gd name="T5" fmla="*/ 32 h 64"/>
                  <a:gd name="T6" fmla="*/ 32 w 211"/>
                  <a:gd name="T7" fmla="*/ 64 h 64"/>
                  <a:gd name="T8" fmla="*/ 179 w 211"/>
                  <a:gd name="T9" fmla="*/ 64 h 64"/>
                  <a:gd name="T10" fmla="*/ 211 w 211"/>
                  <a:gd name="T11" fmla="*/ 32 h 64"/>
                  <a:gd name="T12" fmla="*/ 179 w 211"/>
                  <a:gd name="T13" fmla="*/ 0 h 64"/>
                  <a:gd name="T14" fmla="*/ 179 w 211"/>
                  <a:gd name="T15" fmla="*/ 0 h 64"/>
                  <a:gd name="T16" fmla="*/ 179 w 21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64">
                    <a:moveTo>
                      <a:pt x="179" y="0"/>
                    </a:moveTo>
                    <a:cubicBezTo>
                      <a:pt x="32" y="0"/>
                      <a:pt x="32" y="0"/>
                      <a:pt x="32" y="0"/>
                    </a:cubicBezTo>
                    <a:cubicBezTo>
                      <a:pt x="15" y="0"/>
                      <a:pt x="0" y="14"/>
                      <a:pt x="0" y="32"/>
                    </a:cubicBezTo>
                    <a:cubicBezTo>
                      <a:pt x="0" y="49"/>
                      <a:pt x="15" y="64"/>
                      <a:pt x="32" y="64"/>
                    </a:cubicBezTo>
                    <a:cubicBezTo>
                      <a:pt x="179" y="64"/>
                      <a:pt x="179" y="64"/>
                      <a:pt x="179" y="64"/>
                    </a:cubicBezTo>
                    <a:cubicBezTo>
                      <a:pt x="196" y="64"/>
                      <a:pt x="211" y="49"/>
                      <a:pt x="211" y="32"/>
                    </a:cubicBezTo>
                    <a:cubicBezTo>
                      <a:pt x="211" y="14"/>
                      <a:pt x="196" y="0"/>
                      <a:pt x="179" y="0"/>
                    </a:cubicBezTo>
                    <a:close/>
                    <a:moveTo>
                      <a:pt x="179" y="0"/>
                    </a:moveTo>
                    <a:cubicBezTo>
                      <a:pt x="179" y="0"/>
                      <a:pt x="179" y="0"/>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93"/>
              <p:cNvSpPr>
                <a:spLocks noEditPoints="1"/>
              </p:cNvSpPr>
              <p:nvPr/>
            </p:nvSpPr>
            <p:spPr bwMode="auto">
              <a:xfrm>
                <a:off x="3314" y="2635"/>
                <a:ext cx="399" cy="121"/>
              </a:xfrm>
              <a:custGeom>
                <a:avLst/>
                <a:gdLst>
                  <a:gd name="T0" fmla="*/ 179 w 211"/>
                  <a:gd name="T1" fmla="*/ 0 h 64"/>
                  <a:gd name="T2" fmla="*/ 32 w 211"/>
                  <a:gd name="T3" fmla="*/ 0 h 64"/>
                  <a:gd name="T4" fmla="*/ 0 w 211"/>
                  <a:gd name="T5" fmla="*/ 32 h 64"/>
                  <a:gd name="T6" fmla="*/ 32 w 211"/>
                  <a:gd name="T7" fmla="*/ 64 h 64"/>
                  <a:gd name="T8" fmla="*/ 179 w 211"/>
                  <a:gd name="T9" fmla="*/ 64 h 64"/>
                  <a:gd name="T10" fmla="*/ 211 w 211"/>
                  <a:gd name="T11" fmla="*/ 32 h 64"/>
                  <a:gd name="T12" fmla="*/ 179 w 211"/>
                  <a:gd name="T13" fmla="*/ 0 h 64"/>
                  <a:gd name="T14" fmla="*/ 179 w 211"/>
                  <a:gd name="T15" fmla="*/ 0 h 64"/>
                  <a:gd name="T16" fmla="*/ 179 w 21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64">
                    <a:moveTo>
                      <a:pt x="179" y="0"/>
                    </a:moveTo>
                    <a:cubicBezTo>
                      <a:pt x="32" y="0"/>
                      <a:pt x="32" y="0"/>
                      <a:pt x="32" y="0"/>
                    </a:cubicBezTo>
                    <a:cubicBezTo>
                      <a:pt x="15" y="0"/>
                      <a:pt x="0" y="15"/>
                      <a:pt x="0" y="32"/>
                    </a:cubicBezTo>
                    <a:cubicBezTo>
                      <a:pt x="0" y="50"/>
                      <a:pt x="15" y="64"/>
                      <a:pt x="32" y="64"/>
                    </a:cubicBezTo>
                    <a:cubicBezTo>
                      <a:pt x="179" y="64"/>
                      <a:pt x="179" y="64"/>
                      <a:pt x="179" y="64"/>
                    </a:cubicBezTo>
                    <a:cubicBezTo>
                      <a:pt x="196" y="64"/>
                      <a:pt x="211" y="50"/>
                      <a:pt x="211" y="32"/>
                    </a:cubicBezTo>
                    <a:cubicBezTo>
                      <a:pt x="211" y="15"/>
                      <a:pt x="196" y="0"/>
                      <a:pt x="179" y="0"/>
                    </a:cubicBezTo>
                    <a:close/>
                    <a:moveTo>
                      <a:pt x="179" y="0"/>
                    </a:moveTo>
                    <a:cubicBezTo>
                      <a:pt x="179" y="0"/>
                      <a:pt x="179" y="0"/>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94"/>
              <p:cNvSpPr>
                <a:spLocks noEditPoints="1"/>
              </p:cNvSpPr>
              <p:nvPr/>
            </p:nvSpPr>
            <p:spPr bwMode="auto">
              <a:xfrm>
                <a:off x="3314" y="2054"/>
                <a:ext cx="284" cy="121"/>
              </a:xfrm>
              <a:custGeom>
                <a:avLst/>
                <a:gdLst>
                  <a:gd name="T0" fmla="*/ 118 w 150"/>
                  <a:gd name="T1" fmla="*/ 0 h 64"/>
                  <a:gd name="T2" fmla="*/ 32 w 150"/>
                  <a:gd name="T3" fmla="*/ 0 h 64"/>
                  <a:gd name="T4" fmla="*/ 0 w 150"/>
                  <a:gd name="T5" fmla="*/ 32 h 64"/>
                  <a:gd name="T6" fmla="*/ 32 w 150"/>
                  <a:gd name="T7" fmla="*/ 64 h 64"/>
                  <a:gd name="T8" fmla="*/ 118 w 150"/>
                  <a:gd name="T9" fmla="*/ 64 h 64"/>
                  <a:gd name="T10" fmla="*/ 150 w 150"/>
                  <a:gd name="T11" fmla="*/ 32 h 64"/>
                  <a:gd name="T12" fmla="*/ 118 w 150"/>
                  <a:gd name="T13" fmla="*/ 0 h 64"/>
                  <a:gd name="T14" fmla="*/ 118 w 150"/>
                  <a:gd name="T15" fmla="*/ 0 h 64"/>
                  <a:gd name="T16" fmla="*/ 118 w 15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64">
                    <a:moveTo>
                      <a:pt x="118" y="0"/>
                    </a:moveTo>
                    <a:cubicBezTo>
                      <a:pt x="32" y="0"/>
                      <a:pt x="32" y="0"/>
                      <a:pt x="32" y="0"/>
                    </a:cubicBezTo>
                    <a:cubicBezTo>
                      <a:pt x="15" y="0"/>
                      <a:pt x="0" y="14"/>
                      <a:pt x="0" y="32"/>
                    </a:cubicBezTo>
                    <a:cubicBezTo>
                      <a:pt x="0" y="50"/>
                      <a:pt x="15" y="64"/>
                      <a:pt x="32" y="64"/>
                    </a:cubicBezTo>
                    <a:cubicBezTo>
                      <a:pt x="118" y="64"/>
                      <a:pt x="118" y="64"/>
                      <a:pt x="118" y="64"/>
                    </a:cubicBezTo>
                    <a:cubicBezTo>
                      <a:pt x="135" y="64"/>
                      <a:pt x="150" y="50"/>
                      <a:pt x="150" y="32"/>
                    </a:cubicBezTo>
                    <a:cubicBezTo>
                      <a:pt x="150" y="14"/>
                      <a:pt x="135" y="0"/>
                      <a:pt x="118" y="0"/>
                    </a:cubicBezTo>
                    <a:close/>
                    <a:moveTo>
                      <a:pt x="118" y="0"/>
                    </a:moveTo>
                    <a:cubicBezTo>
                      <a:pt x="118" y="0"/>
                      <a:pt x="118" y="0"/>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95"/>
              <p:cNvSpPr>
                <a:spLocks noEditPoints="1"/>
              </p:cNvSpPr>
              <p:nvPr/>
            </p:nvSpPr>
            <p:spPr bwMode="auto">
              <a:xfrm>
                <a:off x="3314" y="3508"/>
                <a:ext cx="719" cy="121"/>
              </a:xfrm>
              <a:custGeom>
                <a:avLst/>
                <a:gdLst>
                  <a:gd name="T0" fmla="*/ 348 w 380"/>
                  <a:gd name="T1" fmla="*/ 0 h 64"/>
                  <a:gd name="T2" fmla="*/ 32 w 380"/>
                  <a:gd name="T3" fmla="*/ 0 h 64"/>
                  <a:gd name="T4" fmla="*/ 0 w 380"/>
                  <a:gd name="T5" fmla="*/ 32 h 64"/>
                  <a:gd name="T6" fmla="*/ 32 w 380"/>
                  <a:gd name="T7" fmla="*/ 64 h 64"/>
                  <a:gd name="T8" fmla="*/ 348 w 380"/>
                  <a:gd name="T9" fmla="*/ 64 h 64"/>
                  <a:gd name="T10" fmla="*/ 380 w 380"/>
                  <a:gd name="T11" fmla="*/ 32 h 64"/>
                  <a:gd name="T12" fmla="*/ 348 w 380"/>
                  <a:gd name="T13" fmla="*/ 0 h 64"/>
                  <a:gd name="T14" fmla="*/ 348 w 380"/>
                  <a:gd name="T15" fmla="*/ 0 h 64"/>
                  <a:gd name="T16" fmla="*/ 348 w 38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64">
                    <a:moveTo>
                      <a:pt x="348" y="0"/>
                    </a:moveTo>
                    <a:cubicBezTo>
                      <a:pt x="32" y="0"/>
                      <a:pt x="32" y="0"/>
                      <a:pt x="32" y="0"/>
                    </a:cubicBezTo>
                    <a:cubicBezTo>
                      <a:pt x="15" y="0"/>
                      <a:pt x="0" y="14"/>
                      <a:pt x="0" y="32"/>
                    </a:cubicBezTo>
                    <a:cubicBezTo>
                      <a:pt x="0" y="50"/>
                      <a:pt x="15" y="64"/>
                      <a:pt x="32" y="64"/>
                    </a:cubicBezTo>
                    <a:cubicBezTo>
                      <a:pt x="348" y="64"/>
                      <a:pt x="348" y="64"/>
                      <a:pt x="348" y="64"/>
                    </a:cubicBezTo>
                    <a:cubicBezTo>
                      <a:pt x="366" y="64"/>
                      <a:pt x="380" y="50"/>
                      <a:pt x="380" y="32"/>
                    </a:cubicBezTo>
                    <a:cubicBezTo>
                      <a:pt x="380" y="14"/>
                      <a:pt x="366" y="0"/>
                      <a:pt x="348" y="0"/>
                    </a:cubicBezTo>
                    <a:close/>
                    <a:moveTo>
                      <a:pt x="348" y="0"/>
                    </a:moveTo>
                    <a:cubicBezTo>
                      <a:pt x="348" y="0"/>
                      <a:pt x="348" y="0"/>
                      <a:pt x="3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96"/>
              <p:cNvSpPr>
                <a:spLocks noEditPoints="1"/>
              </p:cNvSpPr>
              <p:nvPr/>
            </p:nvSpPr>
            <p:spPr bwMode="auto">
              <a:xfrm>
                <a:off x="3314" y="3799"/>
                <a:ext cx="719" cy="121"/>
              </a:xfrm>
              <a:custGeom>
                <a:avLst/>
                <a:gdLst>
                  <a:gd name="T0" fmla="*/ 348 w 380"/>
                  <a:gd name="T1" fmla="*/ 0 h 64"/>
                  <a:gd name="T2" fmla="*/ 32 w 380"/>
                  <a:gd name="T3" fmla="*/ 0 h 64"/>
                  <a:gd name="T4" fmla="*/ 0 w 380"/>
                  <a:gd name="T5" fmla="*/ 32 h 64"/>
                  <a:gd name="T6" fmla="*/ 32 w 380"/>
                  <a:gd name="T7" fmla="*/ 64 h 64"/>
                  <a:gd name="T8" fmla="*/ 348 w 380"/>
                  <a:gd name="T9" fmla="*/ 64 h 64"/>
                  <a:gd name="T10" fmla="*/ 380 w 380"/>
                  <a:gd name="T11" fmla="*/ 32 h 64"/>
                  <a:gd name="T12" fmla="*/ 348 w 380"/>
                  <a:gd name="T13" fmla="*/ 0 h 64"/>
                  <a:gd name="T14" fmla="*/ 348 w 380"/>
                  <a:gd name="T15" fmla="*/ 0 h 64"/>
                  <a:gd name="T16" fmla="*/ 348 w 38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64">
                    <a:moveTo>
                      <a:pt x="348" y="0"/>
                    </a:moveTo>
                    <a:cubicBezTo>
                      <a:pt x="32" y="0"/>
                      <a:pt x="32" y="0"/>
                      <a:pt x="32" y="0"/>
                    </a:cubicBezTo>
                    <a:cubicBezTo>
                      <a:pt x="15" y="0"/>
                      <a:pt x="0" y="14"/>
                      <a:pt x="0" y="32"/>
                    </a:cubicBezTo>
                    <a:cubicBezTo>
                      <a:pt x="0" y="49"/>
                      <a:pt x="15" y="64"/>
                      <a:pt x="32" y="64"/>
                    </a:cubicBezTo>
                    <a:cubicBezTo>
                      <a:pt x="348" y="64"/>
                      <a:pt x="348" y="64"/>
                      <a:pt x="348" y="64"/>
                    </a:cubicBezTo>
                    <a:cubicBezTo>
                      <a:pt x="366" y="64"/>
                      <a:pt x="380" y="49"/>
                      <a:pt x="380" y="32"/>
                    </a:cubicBezTo>
                    <a:cubicBezTo>
                      <a:pt x="380" y="14"/>
                      <a:pt x="366" y="0"/>
                      <a:pt x="348" y="0"/>
                    </a:cubicBezTo>
                    <a:close/>
                    <a:moveTo>
                      <a:pt x="348" y="0"/>
                    </a:moveTo>
                    <a:cubicBezTo>
                      <a:pt x="348" y="0"/>
                      <a:pt x="348" y="0"/>
                      <a:pt x="3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97"/>
              <p:cNvSpPr>
                <a:spLocks noEditPoints="1"/>
              </p:cNvSpPr>
              <p:nvPr/>
            </p:nvSpPr>
            <p:spPr bwMode="auto">
              <a:xfrm>
                <a:off x="3314" y="3216"/>
                <a:ext cx="475" cy="121"/>
              </a:xfrm>
              <a:custGeom>
                <a:avLst/>
                <a:gdLst>
                  <a:gd name="T0" fmla="*/ 219 w 251"/>
                  <a:gd name="T1" fmla="*/ 0 h 64"/>
                  <a:gd name="T2" fmla="*/ 32 w 251"/>
                  <a:gd name="T3" fmla="*/ 0 h 64"/>
                  <a:gd name="T4" fmla="*/ 0 w 251"/>
                  <a:gd name="T5" fmla="*/ 32 h 64"/>
                  <a:gd name="T6" fmla="*/ 32 w 251"/>
                  <a:gd name="T7" fmla="*/ 64 h 64"/>
                  <a:gd name="T8" fmla="*/ 219 w 251"/>
                  <a:gd name="T9" fmla="*/ 64 h 64"/>
                  <a:gd name="T10" fmla="*/ 251 w 251"/>
                  <a:gd name="T11" fmla="*/ 32 h 64"/>
                  <a:gd name="T12" fmla="*/ 219 w 251"/>
                  <a:gd name="T13" fmla="*/ 0 h 64"/>
                  <a:gd name="T14" fmla="*/ 219 w 251"/>
                  <a:gd name="T15" fmla="*/ 0 h 64"/>
                  <a:gd name="T16" fmla="*/ 219 w 251"/>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64">
                    <a:moveTo>
                      <a:pt x="219" y="0"/>
                    </a:moveTo>
                    <a:cubicBezTo>
                      <a:pt x="32" y="0"/>
                      <a:pt x="32" y="0"/>
                      <a:pt x="32" y="0"/>
                    </a:cubicBezTo>
                    <a:cubicBezTo>
                      <a:pt x="15" y="0"/>
                      <a:pt x="0" y="15"/>
                      <a:pt x="0" y="32"/>
                    </a:cubicBezTo>
                    <a:cubicBezTo>
                      <a:pt x="0" y="50"/>
                      <a:pt x="15" y="64"/>
                      <a:pt x="32" y="64"/>
                    </a:cubicBezTo>
                    <a:cubicBezTo>
                      <a:pt x="219" y="64"/>
                      <a:pt x="219" y="64"/>
                      <a:pt x="219" y="64"/>
                    </a:cubicBezTo>
                    <a:cubicBezTo>
                      <a:pt x="237" y="64"/>
                      <a:pt x="251" y="50"/>
                      <a:pt x="251" y="32"/>
                    </a:cubicBezTo>
                    <a:cubicBezTo>
                      <a:pt x="251" y="15"/>
                      <a:pt x="237" y="0"/>
                      <a:pt x="219" y="0"/>
                    </a:cubicBezTo>
                    <a:close/>
                    <a:moveTo>
                      <a:pt x="219" y="0"/>
                    </a:moveTo>
                    <a:cubicBezTo>
                      <a:pt x="219" y="0"/>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98"/>
              <p:cNvSpPr>
                <a:spLocks noEditPoints="1"/>
              </p:cNvSpPr>
              <p:nvPr/>
            </p:nvSpPr>
            <p:spPr bwMode="auto">
              <a:xfrm>
                <a:off x="3912" y="3216"/>
                <a:ext cx="121" cy="121"/>
              </a:xfrm>
              <a:custGeom>
                <a:avLst/>
                <a:gdLst>
                  <a:gd name="T0" fmla="*/ 55 w 64"/>
                  <a:gd name="T1" fmla="*/ 10 h 64"/>
                  <a:gd name="T2" fmla="*/ 32 w 64"/>
                  <a:gd name="T3" fmla="*/ 0 h 64"/>
                  <a:gd name="T4" fmla="*/ 10 w 64"/>
                  <a:gd name="T5" fmla="*/ 10 h 64"/>
                  <a:gd name="T6" fmla="*/ 0 w 64"/>
                  <a:gd name="T7" fmla="*/ 32 h 64"/>
                  <a:gd name="T8" fmla="*/ 10 w 64"/>
                  <a:gd name="T9" fmla="*/ 55 h 64"/>
                  <a:gd name="T10" fmla="*/ 32 w 64"/>
                  <a:gd name="T11" fmla="*/ 64 h 64"/>
                  <a:gd name="T12" fmla="*/ 55 w 64"/>
                  <a:gd name="T13" fmla="*/ 55 h 64"/>
                  <a:gd name="T14" fmla="*/ 64 w 64"/>
                  <a:gd name="T15" fmla="*/ 32 h 64"/>
                  <a:gd name="T16" fmla="*/ 55 w 64"/>
                  <a:gd name="T17" fmla="*/ 10 h 64"/>
                  <a:gd name="T18" fmla="*/ 55 w 64"/>
                  <a:gd name="T19" fmla="*/ 10 h 64"/>
                  <a:gd name="T20" fmla="*/ 55 w 64"/>
                  <a:gd name="T21"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10"/>
                    </a:moveTo>
                    <a:cubicBezTo>
                      <a:pt x="49" y="4"/>
                      <a:pt x="41" y="0"/>
                      <a:pt x="32" y="0"/>
                    </a:cubicBezTo>
                    <a:cubicBezTo>
                      <a:pt x="24" y="0"/>
                      <a:pt x="16" y="4"/>
                      <a:pt x="10" y="10"/>
                    </a:cubicBezTo>
                    <a:cubicBezTo>
                      <a:pt x="4" y="16"/>
                      <a:pt x="0" y="24"/>
                      <a:pt x="0" y="32"/>
                    </a:cubicBezTo>
                    <a:cubicBezTo>
                      <a:pt x="0" y="41"/>
                      <a:pt x="4" y="49"/>
                      <a:pt x="10" y="55"/>
                    </a:cubicBezTo>
                    <a:cubicBezTo>
                      <a:pt x="16" y="61"/>
                      <a:pt x="24" y="64"/>
                      <a:pt x="32" y="64"/>
                    </a:cubicBezTo>
                    <a:cubicBezTo>
                      <a:pt x="41" y="64"/>
                      <a:pt x="49" y="61"/>
                      <a:pt x="55" y="55"/>
                    </a:cubicBezTo>
                    <a:cubicBezTo>
                      <a:pt x="61" y="49"/>
                      <a:pt x="64" y="41"/>
                      <a:pt x="64" y="32"/>
                    </a:cubicBezTo>
                    <a:cubicBezTo>
                      <a:pt x="64" y="24"/>
                      <a:pt x="61" y="16"/>
                      <a:pt x="55" y="10"/>
                    </a:cubicBezTo>
                    <a:close/>
                    <a:moveTo>
                      <a:pt x="55" y="10"/>
                    </a:moveTo>
                    <a:cubicBezTo>
                      <a:pt x="55" y="10"/>
                      <a:pt x="55" y="10"/>
                      <a:pt x="55"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99"/>
              <p:cNvSpPr>
                <a:spLocks noEditPoints="1"/>
              </p:cNvSpPr>
              <p:nvPr/>
            </p:nvSpPr>
            <p:spPr bwMode="auto">
              <a:xfrm>
                <a:off x="3785" y="2005"/>
                <a:ext cx="1284" cy="2241"/>
              </a:xfrm>
              <a:custGeom>
                <a:avLst/>
                <a:gdLst>
                  <a:gd name="T0" fmla="*/ 339 w 678"/>
                  <a:gd name="T1" fmla="*/ 0 h 1184"/>
                  <a:gd name="T2" fmla="*/ 0 w 678"/>
                  <a:gd name="T3" fmla="*/ 339 h 1184"/>
                  <a:gd name="T4" fmla="*/ 240 w 678"/>
                  <a:gd name="T5" fmla="*/ 664 h 1184"/>
                  <a:gd name="T6" fmla="*/ 240 w 678"/>
                  <a:gd name="T7" fmla="*/ 1085 h 1184"/>
                  <a:gd name="T8" fmla="*/ 339 w 678"/>
                  <a:gd name="T9" fmla="*/ 1184 h 1184"/>
                  <a:gd name="T10" fmla="*/ 438 w 678"/>
                  <a:gd name="T11" fmla="*/ 1085 h 1184"/>
                  <a:gd name="T12" fmla="*/ 438 w 678"/>
                  <a:gd name="T13" fmla="*/ 664 h 1184"/>
                  <a:gd name="T14" fmla="*/ 678 w 678"/>
                  <a:gd name="T15" fmla="*/ 339 h 1184"/>
                  <a:gd name="T16" fmla="*/ 339 w 678"/>
                  <a:gd name="T17" fmla="*/ 0 h 1184"/>
                  <a:gd name="T18" fmla="*/ 371 w 678"/>
                  <a:gd name="T19" fmla="*/ 66 h 1184"/>
                  <a:gd name="T20" fmla="*/ 612 w 678"/>
                  <a:gd name="T21" fmla="*/ 307 h 1184"/>
                  <a:gd name="T22" fmla="*/ 371 w 678"/>
                  <a:gd name="T23" fmla="*/ 307 h 1184"/>
                  <a:gd name="T24" fmla="*/ 371 w 678"/>
                  <a:gd name="T25" fmla="*/ 66 h 1184"/>
                  <a:gd name="T26" fmla="*/ 307 w 678"/>
                  <a:gd name="T27" fmla="*/ 66 h 1184"/>
                  <a:gd name="T28" fmla="*/ 307 w 678"/>
                  <a:gd name="T29" fmla="*/ 279 h 1184"/>
                  <a:gd name="T30" fmla="*/ 131 w 678"/>
                  <a:gd name="T31" fmla="*/ 159 h 1184"/>
                  <a:gd name="T32" fmla="*/ 307 w 678"/>
                  <a:gd name="T33" fmla="*/ 66 h 1184"/>
                  <a:gd name="T34" fmla="*/ 374 w 678"/>
                  <a:gd name="T35" fmla="*/ 1085 h 1184"/>
                  <a:gd name="T36" fmla="*/ 339 w 678"/>
                  <a:gd name="T37" fmla="*/ 1120 h 1184"/>
                  <a:gd name="T38" fmla="*/ 304 w 678"/>
                  <a:gd name="T39" fmla="*/ 1085 h 1184"/>
                  <a:gd name="T40" fmla="*/ 304 w 678"/>
                  <a:gd name="T41" fmla="*/ 677 h 1184"/>
                  <a:gd name="T42" fmla="*/ 339 w 678"/>
                  <a:gd name="T43" fmla="*/ 678 h 1184"/>
                  <a:gd name="T44" fmla="*/ 374 w 678"/>
                  <a:gd name="T45" fmla="*/ 677 h 1184"/>
                  <a:gd name="T46" fmla="*/ 374 w 678"/>
                  <a:gd name="T47" fmla="*/ 1085 h 1184"/>
                  <a:gd name="T48" fmla="*/ 339 w 678"/>
                  <a:gd name="T49" fmla="*/ 614 h 1184"/>
                  <a:gd name="T50" fmla="*/ 64 w 678"/>
                  <a:gd name="T51" fmla="*/ 339 h 1184"/>
                  <a:gd name="T52" fmla="*/ 95 w 678"/>
                  <a:gd name="T53" fmla="*/ 212 h 1184"/>
                  <a:gd name="T54" fmla="*/ 321 w 678"/>
                  <a:gd name="T55" fmla="*/ 366 h 1184"/>
                  <a:gd name="T56" fmla="*/ 339 w 678"/>
                  <a:gd name="T57" fmla="*/ 371 h 1184"/>
                  <a:gd name="T58" fmla="*/ 612 w 678"/>
                  <a:gd name="T59" fmla="*/ 371 h 1184"/>
                  <a:gd name="T60" fmla="*/ 339 w 678"/>
                  <a:gd name="T61" fmla="*/ 614 h 1184"/>
                  <a:gd name="T62" fmla="*/ 339 w 678"/>
                  <a:gd name="T63" fmla="*/ 614 h 1184"/>
                  <a:gd name="T64" fmla="*/ 339 w 678"/>
                  <a:gd name="T65" fmla="*/ 61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8" h="1184">
                    <a:moveTo>
                      <a:pt x="339" y="0"/>
                    </a:moveTo>
                    <a:cubicBezTo>
                      <a:pt x="152" y="0"/>
                      <a:pt x="0" y="152"/>
                      <a:pt x="0" y="339"/>
                    </a:cubicBezTo>
                    <a:cubicBezTo>
                      <a:pt x="0" y="492"/>
                      <a:pt x="101" y="621"/>
                      <a:pt x="240" y="664"/>
                    </a:cubicBezTo>
                    <a:cubicBezTo>
                      <a:pt x="240" y="1085"/>
                      <a:pt x="240" y="1085"/>
                      <a:pt x="240" y="1085"/>
                    </a:cubicBezTo>
                    <a:cubicBezTo>
                      <a:pt x="240" y="1140"/>
                      <a:pt x="285" y="1184"/>
                      <a:pt x="339" y="1184"/>
                    </a:cubicBezTo>
                    <a:cubicBezTo>
                      <a:pt x="394" y="1184"/>
                      <a:pt x="438" y="1140"/>
                      <a:pt x="438" y="1085"/>
                    </a:cubicBezTo>
                    <a:cubicBezTo>
                      <a:pt x="438" y="664"/>
                      <a:pt x="438" y="664"/>
                      <a:pt x="438" y="664"/>
                    </a:cubicBezTo>
                    <a:cubicBezTo>
                      <a:pt x="577" y="621"/>
                      <a:pt x="678" y="492"/>
                      <a:pt x="678" y="339"/>
                    </a:cubicBezTo>
                    <a:cubicBezTo>
                      <a:pt x="678" y="152"/>
                      <a:pt x="526" y="0"/>
                      <a:pt x="339" y="0"/>
                    </a:cubicBezTo>
                    <a:close/>
                    <a:moveTo>
                      <a:pt x="371" y="66"/>
                    </a:moveTo>
                    <a:cubicBezTo>
                      <a:pt x="497" y="81"/>
                      <a:pt x="598" y="181"/>
                      <a:pt x="612" y="307"/>
                    </a:cubicBezTo>
                    <a:cubicBezTo>
                      <a:pt x="371" y="307"/>
                      <a:pt x="371" y="307"/>
                      <a:pt x="371" y="307"/>
                    </a:cubicBezTo>
                    <a:lnTo>
                      <a:pt x="371" y="66"/>
                    </a:lnTo>
                    <a:close/>
                    <a:moveTo>
                      <a:pt x="307" y="66"/>
                    </a:moveTo>
                    <a:cubicBezTo>
                      <a:pt x="307" y="279"/>
                      <a:pt x="307" y="279"/>
                      <a:pt x="307" y="279"/>
                    </a:cubicBezTo>
                    <a:cubicBezTo>
                      <a:pt x="131" y="159"/>
                      <a:pt x="131" y="159"/>
                      <a:pt x="131" y="159"/>
                    </a:cubicBezTo>
                    <a:cubicBezTo>
                      <a:pt x="175" y="109"/>
                      <a:pt x="237" y="74"/>
                      <a:pt x="307" y="66"/>
                    </a:cubicBezTo>
                    <a:close/>
                    <a:moveTo>
                      <a:pt x="374" y="1085"/>
                    </a:moveTo>
                    <a:cubicBezTo>
                      <a:pt x="374" y="1105"/>
                      <a:pt x="359" y="1120"/>
                      <a:pt x="339" y="1120"/>
                    </a:cubicBezTo>
                    <a:cubicBezTo>
                      <a:pt x="320" y="1120"/>
                      <a:pt x="304" y="1105"/>
                      <a:pt x="304" y="1085"/>
                    </a:cubicBezTo>
                    <a:cubicBezTo>
                      <a:pt x="304" y="677"/>
                      <a:pt x="304" y="677"/>
                      <a:pt x="304" y="677"/>
                    </a:cubicBezTo>
                    <a:cubicBezTo>
                      <a:pt x="316" y="678"/>
                      <a:pt x="327" y="678"/>
                      <a:pt x="339" y="678"/>
                    </a:cubicBezTo>
                    <a:cubicBezTo>
                      <a:pt x="351" y="678"/>
                      <a:pt x="363" y="678"/>
                      <a:pt x="374" y="677"/>
                    </a:cubicBezTo>
                    <a:lnTo>
                      <a:pt x="374" y="1085"/>
                    </a:lnTo>
                    <a:close/>
                    <a:moveTo>
                      <a:pt x="339" y="614"/>
                    </a:moveTo>
                    <a:cubicBezTo>
                      <a:pt x="187" y="614"/>
                      <a:pt x="64" y="491"/>
                      <a:pt x="64" y="339"/>
                    </a:cubicBezTo>
                    <a:cubicBezTo>
                      <a:pt x="64" y="293"/>
                      <a:pt x="75" y="250"/>
                      <a:pt x="95" y="212"/>
                    </a:cubicBezTo>
                    <a:cubicBezTo>
                      <a:pt x="321" y="366"/>
                      <a:pt x="321" y="366"/>
                      <a:pt x="321" y="366"/>
                    </a:cubicBezTo>
                    <a:cubicBezTo>
                      <a:pt x="326" y="369"/>
                      <a:pt x="333" y="371"/>
                      <a:pt x="339" y="371"/>
                    </a:cubicBezTo>
                    <a:cubicBezTo>
                      <a:pt x="612" y="371"/>
                      <a:pt x="612" y="371"/>
                      <a:pt x="612" y="371"/>
                    </a:cubicBezTo>
                    <a:cubicBezTo>
                      <a:pt x="597" y="508"/>
                      <a:pt x="480" y="614"/>
                      <a:pt x="339" y="614"/>
                    </a:cubicBezTo>
                    <a:close/>
                    <a:moveTo>
                      <a:pt x="339" y="614"/>
                    </a:moveTo>
                    <a:cubicBezTo>
                      <a:pt x="339" y="614"/>
                      <a:pt x="339" y="614"/>
                      <a:pt x="339" y="6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 8"/>
          <p:cNvGrpSpPr/>
          <p:nvPr/>
        </p:nvGrpSpPr>
        <p:grpSpPr>
          <a:xfrm>
            <a:off x="526864" y="3236259"/>
            <a:ext cx="1737360" cy="1737360"/>
            <a:chOff x="507402" y="3236259"/>
            <a:chExt cx="1737360" cy="1737360"/>
          </a:xfrm>
        </p:grpSpPr>
        <p:sp>
          <p:nvSpPr>
            <p:cNvPr id="6" name="Oval 5"/>
            <p:cNvSpPr>
              <a:spLocks noChangeAspect="1"/>
            </p:cNvSpPr>
            <p:nvPr/>
          </p:nvSpPr>
          <p:spPr>
            <a:xfrm>
              <a:off x="507402" y="3236259"/>
              <a:ext cx="1737360" cy="1737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2" name="Group 531"/>
            <p:cNvGrpSpPr>
              <a:grpSpLocks noChangeAspect="1"/>
            </p:cNvGrpSpPr>
            <p:nvPr/>
          </p:nvGrpSpPr>
          <p:grpSpPr bwMode="auto">
            <a:xfrm>
              <a:off x="1010322" y="3739179"/>
              <a:ext cx="731520" cy="731520"/>
              <a:chOff x="3058" y="844"/>
              <a:chExt cx="3101" cy="3101"/>
            </a:xfrm>
            <a:solidFill>
              <a:schemeClr val="bg1"/>
            </a:solidFill>
          </p:grpSpPr>
          <p:sp>
            <p:nvSpPr>
              <p:cNvPr id="73" name="Freeform 532"/>
              <p:cNvSpPr>
                <a:spLocks noEditPoints="1"/>
              </p:cNvSpPr>
              <p:nvPr/>
            </p:nvSpPr>
            <p:spPr bwMode="auto">
              <a:xfrm>
                <a:off x="3866" y="844"/>
                <a:ext cx="1485" cy="1611"/>
              </a:xfrm>
              <a:custGeom>
                <a:avLst/>
                <a:gdLst>
                  <a:gd name="T0" fmla="*/ 548 w 784"/>
                  <a:gd name="T1" fmla="*/ 422 h 851"/>
                  <a:gd name="T2" fmla="*/ 534 w 784"/>
                  <a:gd name="T3" fmla="*/ 422 h 851"/>
                  <a:gd name="T4" fmla="*/ 583 w 784"/>
                  <a:gd name="T5" fmla="*/ 296 h 851"/>
                  <a:gd name="T6" fmla="*/ 583 w 784"/>
                  <a:gd name="T7" fmla="*/ 191 h 851"/>
                  <a:gd name="T8" fmla="*/ 392 w 784"/>
                  <a:gd name="T9" fmla="*/ 0 h 851"/>
                  <a:gd name="T10" fmla="*/ 202 w 784"/>
                  <a:gd name="T11" fmla="*/ 191 h 851"/>
                  <a:gd name="T12" fmla="*/ 202 w 784"/>
                  <a:gd name="T13" fmla="*/ 296 h 851"/>
                  <a:gd name="T14" fmla="*/ 250 w 784"/>
                  <a:gd name="T15" fmla="*/ 422 h 851"/>
                  <a:gd name="T16" fmla="*/ 237 w 784"/>
                  <a:gd name="T17" fmla="*/ 422 h 851"/>
                  <a:gd name="T18" fmla="*/ 0 w 784"/>
                  <a:gd name="T19" fmla="*/ 659 h 851"/>
                  <a:gd name="T20" fmla="*/ 0 w 784"/>
                  <a:gd name="T21" fmla="*/ 819 h 851"/>
                  <a:gd name="T22" fmla="*/ 32 w 784"/>
                  <a:gd name="T23" fmla="*/ 851 h 851"/>
                  <a:gd name="T24" fmla="*/ 752 w 784"/>
                  <a:gd name="T25" fmla="*/ 851 h 851"/>
                  <a:gd name="T26" fmla="*/ 784 w 784"/>
                  <a:gd name="T27" fmla="*/ 819 h 851"/>
                  <a:gd name="T28" fmla="*/ 784 w 784"/>
                  <a:gd name="T29" fmla="*/ 659 h 851"/>
                  <a:gd name="T30" fmla="*/ 548 w 784"/>
                  <a:gd name="T31" fmla="*/ 422 h 851"/>
                  <a:gd name="T32" fmla="*/ 392 w 784"/>
                  <a:gd name="T33" fmla="*/ 64 h 851"/>
                  <a:gd name="T34" fmla="*/ 517 w 784"/>
                  <a:gd name="T35" fmla="*/ 172 h 851"/>
                  <a:gd name="T36" fmla="*/ 461 w 784"/>
                  <a:gd name="T37" fmla="*/ 139 h 851"/>
                  <a:gd name="T38" fmla="*/ 420 w 784"/>
                  <a:gd name="T39" fmla="*/ 146 h 851"/>
                  <a:gd name="T40" fmla="*/ 311 w 784"/>
                  <a:gd name="T41" fmla="*/ 197 h 851"/>
                  <a:gd name="T42" fmla="*/ 266 w 784"/>
                  <a:gd name="T43" fmla="*/ 197 h 851"/>
                  <a:gd name="T44" fmla="*/ 266 w 784"/>
                  <a:gd name="T45" fmla="*/ 191 h 851"/>
                  <a:gd name="T46" fmla="*/ 392 w 784"/>
                  <a:gd name="T47" fmla="*/ 64 h 851"/>
                  <a:gd name="T48" fmla="*/ 266 w 784"/>
                  <a:gd name="T49" fmla="*/ 261 h 851"/>
                  <a:gd name="T50" fmla="*/ 311 w 784"/>
                  <a:gd name="T51" fmla="*/ 261 h 851"/>
                  <a:gd name="T52" fmla="*/ 450 w 784"/>
                  <a:gd name="T53" fmla="*/ 207 h 851"/>
                  <a:gd name="T54" fmla="*/ 519 w 784"/>
                  <a:gd name="T55" fmla="*/ 247 h 851"/>
                  <a:gd name="T56" fmla="*/ 519 w 784"/>
                  <a:gd name="T57" fmla="*/ 296 h 851"/>
                  <a:gd name="T58" fmla="*/ 392 w 784"/>
                  <a:gd name="T59" fmla="*/ 422 h 851"/>
                  <a:gd name="T60" fmla="*/ 266 w 784"/>
                  <a:gd name="T61" fmla="*/ 296 h 851"/>
                  <a:gd name="T62" fmla="*/ 266 w 784"/>
                  <a:gd name="T63" fmla="*/ 261 h 851"/>
                  <a:gd name="T64" fmla="*/ 720 w 784"/>
                  <a:gd name="T65" fmla="*/ 787 h 851"/>
                  <a:gd name="T66" fmla="*/ 64 w 784"/>
                  <a:gd name="T67" fmla="*/ 787 h 851"/>
                  <a:gd name="T68" fmla="*/ 64 w 784"/>
                  <a:gd name="T69" fmla="*/ 659 h 851"/>
                  <a:gd name="T70" fmla="*/ 237 w 784"/>
                  <a:gd name="T71" fmla="*/ 486 h 851"/>
                  <a:gd name="T72" fmla="*/ 360 w 784"/>
                  <a:gd name="T73" fmla="*/ 486 h 851"/>
                  <a:gd name="T74" fmla="*/ 360 w 784"/>
                  <a:gd name="T75" fmla="*/ 550 h 851"/>
                  <a:gd name="T76" fmla="*/ 392 w 784"/>
                  <a:gd name="T77" fmla="*/ 582 h 851"/>
                  <a:gd name="T78" fmla="*/ 424 w 784"/>
                  <a:gd name="T79" fmla="*/ 550 h 851"/>
                  <a:gd name="T80" fmla="*/ 424 w 784"/>
                  <a:gd name="T81" fmla="*/ 486 h 851"/>
                  <a:gd name="T82" fmla="*/ 548 w 784"/>
                  <a:gd name="T83" fmla="*/ 486 h 851"/>
                  <a:gd name="T84" fmla="*/ 720 w 784"/>
                  <a:gd name="T85" fmla="*/ 659 h 851"/>
                  <a:gd name="T86" fmla="*/ 720 w 784"/>
                  <a:gd name="T87" fmla="*/ 787 h 851"/>
                  <a:gd name="T88" fmla="*/ 720 w 784"/>
                  <a:gd name="T89" fmla="*/ 787 h 851"/>
                  <a:gd name="T90" fmla="*/ 720 w 784"/>
                  <a:gd name="T91" fmla="*/ 787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4" h="851">
                    <a:moveTo>
                      <a:pt x="548" y="422"/>
                    </a:moveTo>
                    <a:cubicBezTo>
                      <a:pt x="534" y="422"/>
                      <a:pt x="534" y="422"/>
                      <a:pt x="534" y="422"/>
                    </a:cubicBezTo>
                    <a:cubicBezTo>
                      <a:pt x="564" y="389"/>
                      <a:pt x="583" y="345"/>
                      <a:pt x="583" y="296"/>
                    </a:cubicBezTo>
                    <a:cubicBezTo>
                      <a:pt x="583" y="191"/>
                      <a:pt x="583" y="191"/>
                      <a:pt x="583" y="191"/>
                    </a:cubicBezTo>
                    <a:cubicBezTo>
                      <a:pt x="583" y="85"/>
                      <a:pt x="497" y="0"/>
                      <a:pt x="392" y="0"/>
                    </a:cubicBezTo>
                    <a:cubicBezTo>
                      <a:pt x="287" y="0"/>
                      <a:pt x="202" y="85"/>
                      <a:pt x="202" y="191"/>
                    </a:cubicBezTo>
                    <a:cubicBezTo>
                      <a:pt x="202" y="296"/>
                      <a:pt x="202" y="296"/>
                      <a:pt x="202" y="296"/>
                    </a:cubicBezTo>
                    <a:cubicBezTo>
                      <a:pt x="202" y="344"/>
                      <a:pt x="220" y="389"/>
                      <a:pt x="250" y="422"/>
                    </a:cubicBezTo>
                    <a:cubicBezTo>
                      <a:pt x="237" y="422"/>
                      <a:pt x="237" y="422"/>
                      <a:pt x="237" y="422"/>
                    </a:cubicBezTo>
                    <a:cubicBezTo>
                      <a:pt x="106" y="422"/>
                      <a:pt x="0" y="529"/>
                      <a:pt x="0" y="659"/>
                    </a:cubicBezTo>
                    <a:cubicBezTo>
                      <a:pt x="0" y="819"/>
                      <a:pt x="0" y="819"/>
                      <a:pt x="0" y="819"/>
                    </a:cubicBezTo>
                    <a:cubicBezTo>
                      <a:pt x="0" y="837"/>
                      <a:pt x="14" y="851"/>
                      <a:pt x="32" y="851"/>
                    </a:cubicBezTo>
                    <a:cubicBezTo>
                      <a:pt x="752" y="851"/>
                      <a:pt x="752" y="851"/>
                      <a:pt x="752" y="851"/>
                    </a:cubicBezTo>
                    <a:cubicBezTo>
                      <a:pt x="770" y="851"/>
                      <a:pt x="784" y="837"/>
                      <a:pt x="784" y="819"/>
                    </a:cubicBezTo>
                    <a:cubicBezTo>
                      <a:pt x="784" y="659"/>
                      <a:pt x="784" y="659"/>
                      <a:pt x="784" y="659"/>
                    </a:cubicBezTo>
                    <a:cubicBezTo>
                      <a:pt x="784" y="529"/>
                      <a:pt x="678" y="422"/>
                      <a:pt x="548" y="422"/>
                    </a:cubicBezTo>
                    <a:close/>
                    <a:moveTo>
                      <a:pt x="392" y="64"/>
                    </a:moveTo>
                    <a:cubicBezTo>
                      <a:pt x="456" y="64"/>
                      <a:pt x="508" y="111"/>
                      <a:pt x="517" y="172"/>
                    </a:cubicBezTo>
                    <a:cubicBezTo>
                      <a:pt x="461" y="139"/>
                      <a:pt x="461" y="139"/>
                      <a:pt x="461" y="139"/>
                    </a:cubicBezTo>
                    <a:cubicBezTo>
                      <a:pt x="447" y="131"/>
                      <a:pt x="430" y="134"/>
                      <a:pt x="420" y="146"/>
                    </a:cubicBezTo>
                    <a:cubicBezTo>
                      <a:pt x="393" y="178"/>
                      <a:pt x="353" y="197"/>
                      <a:pt x="311" y="197"/>
                    </a:cubicBezTo>
                    <a:cubicBezTo>
                      <a:pt x="266" y="197"/>
                      <a:pt x="266" y="197"/>
                      <a:pt x="266" y="197"/>
                    </a:cubicBezTo>
                    <a:cubicBezTo>
                      <a:pt x="266" y="191"/>
                      <a:pt x="266" y="191"/>
                      <a:pt x="266" y="191"/>
                    </a:cubicBezTo>
                    <a:cubicBezTo>
                      <a:pt x="266" y="121"/>
                      <a:pt x="322" y="64"/>
                      <a:pt x="392" y="64"/>
                    </a:cubicBezTo>
                    <a:close/>
                    <a:moveTo>
                      <a:pt x="266" y="261"/>
                    </a:moveTo>
                    <a:cubicBezTo>
                      <a:pt x="311" y="261"/>
                      <a:pt x="311" y="261"/>
                      <a:pt x="311" y="261"/>
                    </a:cubicBezTo>
                    <a:cubicBezTo>
                      <a:pt x="363" y="261"/>
                      <a:pt x="412" y="241"/>
                      <a:pt x="450" y="207"/>
                    </a:cubicBezTo>
                    <a:cubicBezTo>
                      <a:pt x="519" y="247"/>
                      <a:pt x="519" y="247"/>
                      <a:pt x="519" y="247"/>
                    </a:cubicBezTo>
                    <a:cubicBezTo>
                      <a:pt x="519" y="296"/>
                      <a:pt x="519" y="296"/>
                      <a:pt x="519" y="296"/>
                    </a:cubicBezTo>
                    <a:cubicBezTo>
                      <a:pt x="519" y="366"/>
                      <a:pt x="462" y="422"/>
                      <a:pt x="392" y="422"/>
                    </a:cubicBezTo>
                    <a:cubicBezTo>
                      <a:pt x="322" y="422"/>
                      <a:pt x="266" y="366"/>
                      <a:pt x="266" y="296"/>
                    </a:cubicBezTo>
                    <a:lnTo>
                      <a:pt x="266" y="261"/>
                    </a:lnTo>
                    <a:close/>
                    <a:moveTo>
                      <a:pt x="720" y="787"/>
                    </a:moveTo>
                    <a:cubicBezTo>
                      <a:pt x="64" y="787"/>
                      <a:pt x="64" y="787"/>
                      <a:pt x="64" y="787"/>
                    </a:cubicBezTo>
                    <a:cubicBezTo>
                      <a:pt x="64" y="659"/>
                      <a:pt x="64" y="659"/>
                      <a:pt x="64" y="659"/>
                    </a:cubicBezTo>
                    <a:cubicBezTo>
                      <a:pt x="64" y="564"/>
                      <a:pt x="141" y="486"/>
                      <a:pt x="237" y="486"/>
                    </a:cubicBezTo>
                    <a:cubicBezTo>
                      <a:pt x="360" y="486"/>
                      <a:pt x="360" y="486"/>
                      <a:pt x="360" y="486"/>
                    </a:cubicBezTo>
                    <a:cubicBezTo>
                      <a:pt x="360" y="550"/>
                      <a:pt x="360" y="550"/>
                      <a:pt x="360" y="550"/>
                    </a:cubicBezTo>
                    <a:cubicBezTo>
                      <a:pt x="360" y="568"/>
                      <a:pt x="375" y="582"/>
                      <a:pt x="392" y="582"/>
                    </a:cubicBezTo>
                    <a:cubicBezTo>
                      <a:pt x="410" y="582"/>
                      <a:pt x="424" y="568"/>
                      <a:pt x="424" y="550"/>
                    </a:cubicBezTo>
                    <a:cubicBezTo>
                      <a:pt x="424" y="486"/>
                      <a:pt x="424" y="486"/>
                      <a:pt x="424" y="486"/>
                    </a:cubicBezTo>
                    <a:cubicBezTo>
                      <a:pt x="548" y="486"/>
                      <a:pt x="548" y="486"/>
                      <a:pt x="548" y="486"/>
                    </a:cubicBezTo>
                    <a:cubicBezTo>
                      <a:pt x="643" y="486"/>
                      <a:pt x="720" y="564"/>
                      <a:pt x="720" y="659"/>
                    </a:cubicBezTo>
                    <a:lnTo>
                      <a:pt x="720" y="787"/>
                    </a:lnTo>
                    <a:close/>
                    <a:moveTo>
                      <a:pt x="720" y="787"/>
                    </a:moveTo>
                    <a:cubicBezTo>
                      <a:pt x="720" y="787"/>
                      <a:pt x="720" y="787"/>
                      <a:pt x="720" y="7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4" name="Freeform 533"/>
              <p:cNvSpPr>
                <a:spLocks noEditPoints="1"/>
              </p:cNvSpPr>
              <p:nvPr/>
            </p:nvSpPr>
            <p:spPr bwMode="auto">
              <a:xfrm>
                <a:off x="3058" y="2762"/>
                <a:ext cx="1236" cy="1183"/>
              </a:xfrm>
              <a:custGeom>
                <a:avLst/>
                <a:gdLst>
                  <a:gd name="T0" fmla="*/ 493 w 653"/>
                  <a:gd name="T1" fmla="*/ 263 h 625"/>
                  <a:gd name="T2" fmla="*/ 449 w 653"/>
                  <a:gd name="T3" fmla="*/ 263 h 625"/>
                  <a:gd name="T4" fmla="*/ 475 w 653"/>
                  <a:gd name="T5" fmla="*/ 178 h 625"/>
                  <a:gd name="T6" fmla="*/ 475 w 653"/>
                  <a:gd name="T7" fmla="*/ 149 h 625"/>
                  <a:gd name="T8" fmla="*/ 326 w 653"/>
                  <a:gd name="T9" fmla="*/ 0 h 625"/>
                  <a:gd name="T10" fmla="*/ 177 w 653"/>
                  <a:gd name="T11" fmla="*/ 149 h 625"/>
                  <a:gd name="T12" fmla="*/ 177 w 653"/>
                  <a:gd name="T13" fmla="*/ 178 h 625"/>
                  <a:gd name="T14" fmla="*/ 204 w 653"/>
                  <a:gd name="T15" fmla="*/ 263 h 625"/>
                  <a:gd name="T16" fmla="*/ 160 w 653"/>
                  <a:gd name="T17" fmla="*/ 263 h 625"/>
                  <a:gd name="T18" fmla="*/ 0 w 653"/>
                  <a:gd name="T19" fmla="*/ 423 h 625"/>
                  <a:gd name="T20" fmla="*/ 0 w 653"/>
                  <a:gd name="T21" fmla="*/ 593 h 625"/>
                  <a:gd name="T22" fmla="*/ 32 w 653"/>
                  <a:gd name="T23" fmla="*/ 625 h 625"/>
                  <a:gd name="T24" fmla="*/ 621 w 653"/>
                  <a:gd name="T25" fmla="*/ 625 h 625"/>
                  <a:gd name="T26" fmla="*/ 653 w 653"/>
                  <a:gd name="T27" fmla="*/ 593 h 625"/>
                  <a:gd name="T28" fmla="*/ 653 w 653"/>
                  <a:gd name="T29" fmla="*/ 423 h 625"/>
                  <a:gd name="T30" fmla="*/ 493 w 653"/>
                  <a:gd name="T31" fmla="*/ 263 h 625"/>
                  <a:gd name="T32" fmla="*/ 241 w 653"/>
                  <a:gd name="T33" fmla="*/ 149 h 625"/>
                  <a:gd name="T34" fmla="*/ 326 w 653"/>
                  <a:gd name="T35" fmla="*/ 64 h 625"/>
                  <a:gd name="T36" fmla="*/ 411 w 653"/>
                  <a:gd name="T37" fmla="*/ 149 h 625"/>
                  <a:gd name="T38" fmla="*/ 411 w 653"/>
                  <a:gd name="T39" fmla="*/ 178 h 625"/>
                  <a:gd name="T40" fmla="*/ 326 w 653"/>
                  <a:gd name="T41" fmla="*/ 263 h 625"/>
                  <a:gd name="T42" fmla="*/ 241 w 653"/>
                  <a:gd name="T43" fmla="*/ 178 h 625"/>
                  <a:gd name="T44" fmla="*/ 241 w 653"/>
                  <a:gd name="T45" fmla="*/ 149 h 625"/>
                  <a:gd name="T46" fmla="*/ 589 w 653"/>
                  <a:gd name="T47" fmla="*/ 561 h 625"/>
                  <a:gd name="T48" fmla="*/ 64 w 653"/>
                  <a:gd name="T49" fmla="*/ 561 h 625"/>
                  <a:gd name="T50" fmla="*/ 64 w 653"/>
                  <a:gd name="T51" fmla="*/ 423 h 625"/>
                  <a:gd name="T52" fmla="*/ 160 w 653"/>
                  <a:gd name="T53" fmla="*/ 327 h 625"/>
                  <a:gd name="T54" fmla="*/ 294 w 653"/>
                  <a:gd name="T55" fmla="*/ 327 h 625"/>
                  <a:gd name="T56" fmla="*/ 294 w 653"/>
                  <a:gd name="T57" fmla="*/ 392 h 625"/>
                  <a:gd name="T58" fmla="*/ 326 w 653"/>
                  <a:gd name="T59" fmla="*/ 424 h 625"/>
                  <a:gd name="T60" fmla="*/ 358 w 653"/>
                  <a:gd name="T61" fmla="*/ 392 h 625"/>
                  <a:gd name="T62" fmla="*/ 358 w 653"/>
                  <a:gd name="T63" fmla="*/ 327 h 625"/>
                  <a:gd name="T64" fmla="*/ 493 w 653"/>
                  <a:gd name="T65" fmla="*/ 327 h 625"/>
                  <a:gd name="T66" fmla="*/ 589 w 653"/>
                  <a:gd name="T67" fmla="*/ 423 h 625"/>
                  <a:gd name="T68" fmla="*/ 589 w 653"/>
                  <a:gd name="T69" fmla="*/ 561 h 625"/>
                  <a:gd name="T70" fmla="*/ 589 w 653"/>
                  <a:gd name="T71" fmla="*/ 561 h 625"/>
                  <a:gd name="T72" fmla="*/ 589 w 653"/>
                  <a:gd name="T73" fmla="*/ 5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3" h="625">
                    <a:moveTo>
                      <a:pt x="493" y="263"/>
                    </a:moveTo>
                    <a:cubicBezTo>
                      <a:pt x="449" y="263"/>
                      <a:pt x="449" y="263"/>
                      <a:pt x="449" y="263"/>
                    </a:cubicBezTo>
                    <a:cubicBezTo>
                      <a:pt x="465" y="239"/>
                      <a:pt x="475" y="210"/>
                      <a:pt x="475" y="178"/>
                    </a:cubicBezTo>
                    <a:cubicBezTo>
                      <a:pt x="475" y="149"/>
                      <a:pt x="475" y="149"/>
                      <a:pt x="475" y="149"/>
                    </a:cubicBezTo>
                    <a:cubicBezTo>
                      <a:pt x="475" y="67"/>
                      <a:pt x="409" y="0"/>
                      <a:pt x="326" y="0"/>
                    </a:cubicBezTo>
                    <a:cubicBezTo>
                      <a:pt x="244" y="0"/>
                      <a:pt x="177" y="67"/>
                      <a:pt x="177" y="149"/>
                    </a:cubicBezTo>
                    <a:cubicBezTo>
                      <a:pt x="177" y="178"/>
                      <a:pt x="177" y="178"/>
                      <a:pt x="177" y="178"/>
                    </a:cubicBezTo>
                    <a:cubicBezTo>
                      <a:pt x="177" y="210"/>
                      <a:pt x="187" y="239"/>
                      <a:pt x="204" y="263"/>
                    </a:cubicBezTo>
                    <a:cubicBezTo>
                      <a:pt x="160" y="263"/>
                      <a:pt x="160" y="263"/>
                      <a:pt x="160" y="263"/>
                    </a:cubicBezTo>
                    <a:cubicBezTo>
                      <a:pt x="72" y="263"/>
                      <a:pt x="0" y="335"/>
                      <a:pt x="0" y="423"/>
                    </a:cubicBezTo>
                    <a:cubicBezTo>
                      <a:pt x="0" y="593"/>
                      <a:pt x="0" y="593"/>
                      <a:pt x="0" y="593"/>
                    </a:cubicBezTo>
                    <a:cubicBezTo>
                      <a:pt x="0" y="611"/>
                      <a:pt x="14" y="625"/>
                      <a:pt x="32" y="625"/>
                    </a:cubicBezTo>
                    <a:cubicBezTo>
                      <a:pt x="621" y="625"/>
                      <a:pt x="621" y="625"/>
                      <a:pt x="621" y="625"/>
                    </a:cubicBezTo>
                    <a:cubicBezTo>
                      <a:pt x="638" y="625"/>
                      <a:pt x="653" y="611"/>
                      <a:pt x="653" y="593"/>
                    </a:cubicBezTo>
                    <a:cubicBezTo>
                      <a:pt x="653" y="423"/>
                      <a:pt x="653" y="423"/>
                      <a:pt x="653" y="423"/>
                    </a:cubicBezTo>
                    <a:cubicBezTo>
                      <a:pt x="653" y="335"/>
                      <a:pt x="581" y="263"/>
                      <a:pt x="493" y="263"/>
                    </a:cubicBezTo>
                    <a:close/>
                    <a:moveTo>
                      <a:pt x="241" y="149"/>
                    </a:moveTo>
                    <a:cubicBezTo>
                      <a:pt x="241" y="102"/>
                      <a:pt x="280" y="64"/>
                      <a:pt x="326" y="64"/>
                    </a:cubicBezTo>
                    <a:cubicBezTo>
                      <a:pt x="373" y="64"/>
                      <a:pt x="411" y="102"/>
                      <a:pt x="411" y="149"/>
                    </a:cubicBezTo>
                    <a:cubicBezTo>
                      <a:pt x="411" y="178"/>
                      <a:pt x="411" y="178"/>
                      <a:pt x="411" y="178"/>
                    </a:cubicBezTo>
                    <a:cubicBezTo>
                      <a:pt x="411" y="225"/>
                      <a:pt x="373" y="263"/>
                      <a:pt x="326" y="263"/>
                    </a:cubicBezTo>
                    <a:cubicBezTo>
                      <a:pt x="280" y="263"/>
                      <a:pt x="241" y="225"/>
                      <a:pt x="241" y="178"/>
                    </a:cubicBezTo>
                    <a:lnTo>
                      <a:pt x="241" y="149"/>
                    </a:lnTo>
                    <a:close/>
                    <a:moveTo>
                      <a:pt x="589" y="561"/>
                    </a:moveTo>
                    <a:cubicBezTo>
                      <a:pt x="64" y="561"/>
                      <a:pt x="64" y="561"/>
                      <a:pt x="64" y="561"/>
                    </a:cubicBezTo>
                    <a:cubicBezTo>
                      <a:pt x="64" y="423"/>
                      <a:pt x="64" y="423"/>
                      <a:pt x="64" y="423"/>
                    </a:cubicBezTo>
                    <a:cubicBezTo>
                      <a:pt x="64" y="370"/>
                      <a:pt x="107" y="327"/>
                      <a:pt x="160" y="327"/>
                    </a:cubicBezTo>
                    <a:cubicBezTo>
                      <a:pt x="294" y="327"/>
                      <a:pt x="294" y="327"/>
                      <a:pt x="294" y="327"/>
                    </a:cubicBezTo>
                    <a:cubicBezTo>
                      <a:pt x="294" y="392"/>
                      <a:pt x="294" y="392"/>
                      <a:pt x="294" y="392"/>
                    </a:cubicBezTo>
                    <a:cubicBezTo>
                      <a:pt x="294" y="409"/>
                      <a:pt x="309" y="424"/>
                      <a:pt x="326" y="424"/>
                    </a:cubicBezTo>
                    <a:cubicBezTo>
                      <a:pt x="344" y="424"/>
                      <a:pt x="358" y="409"/>
                      <a:pt x="358" y="392"/>
                    </a:cubicBezTo>
                    <a:cubicBezTo>
                      <a:pt x="358" y="327"/>
                      <a:pt x="358" y="327"/>
                      <a:pt x="358" y="327"/>
                    </a:cubicBezTo>
                    <a:cubicBezTo>
                      <a:pt x="493" y="327"/>
                      <a:pt x="493" y="327"/>
                      <a:pt x="493" y="327"/>
                    </a:cubicBezTo>
                    <a:cubicBezTo>
                      <a:pt x="546" y="327"/>
                      <a:pt x="589" y="370"/>
                      <a:pt x="589" y="423"/>
                    </a:cubicBezTo>
                    <a:lnTo>
                      <a:pt x="589" y="561"/>
                    </a:lnTo>
                    <a:close/>
                    <a:moveTo>
                      <a:pt x="589" y="561"/>
                    </a:moveTo>
                    <a:cubicBezTo>
                      <a:pt x="589" y="561"/>
                      <a:pt x="589" y="561"/>
                      <a:pt x="589" y="5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5" name="Freeform 534"/>
              <p:cNvSpPr>
                <a:spLocks noEditPoints="1"/>
              </p:cNvSpPr>
              <p:nvPr/>
            </p:nvSpPr>
            <p:spPr bwMode="auto">
              <a:xfrm>
                <a:off x="4925" y="2762"/>
                <a:ext cx="1234" cy="1183"/>
              </a:xfrm>
              <a:custGeom>
                <a:avLst/>
                <a:gdLst>
                  <a:gd name="T0" fmla="*/ 492 w 652"/>
                  <a:gd name="T1" fmla="*/ 263 h 625"/>
                  <a:gd name="T2" fmla="*/ 448 w 652"/>
                  <a:gd name="T3" fmla="*/ 263 h 625"/>
                  <a:gd name="T4" fmla="*/ 475 w 652"/>
                  <a:gd name="T5" fmla="*/ 178 h 625"/>
                  <a:gd name="T6" fmla="*/ 475 w 652"/>
                  <a:gd name="T7" fmla="*/ 149 h 625"/>
                  <a:gd name="T8" fmla="*/ 326 w 652"/>
                  <a:gd name="T9" fmla="*/ 0 h 625"/>
                  <a:gd name="T10" fmla="*/ 177 w 652"/>
                  <a:gd name="T11" fmla="*/ 149 h 625"/>
                  <a:gd name="T12" fmla="*/ 177 w 652"/>
                  <a:gd name="T13" fmla="*/ 178 h 625"/>
                  <a:gd name="T14" fmla="*/ 204 w 652"/>
                  <a:gd name="T15" fmla="*/ 263 h 625"/>
                  <a:gd name="T16" fmla="*/ 160 w 652"/>
                  <a:gd name="T17" fmla="*/ 263 h 625"/>
                  <a:gd name="T18" fmla="*/ 0 w 652"/>
                  <a:gd name="T19" fmla="*/ 423 h 625"/>
                  <a:gd name="T20" fmla="*/ 0 w 652"/>
                  <a:gd name="T21" fmla="*/ 593 h 625"/>
                  <a:gd name="T22" fmla="*/ 32 w 652"/>
                  <a:gd name="T23" fmla="*/ 625 h 625"/>
                  <a:gd name="T24" fmla="*/ 620 w 652"/>
                  <a:gd name="T25" fmla="*/ 625 h 625"/>
                  <a:gd name="T26" fmla="*/ 652 w 652"/>
                  <a:gd name="T27" fmla="*/ 593 h 625"/>
                  <a:gd name="T28" fmla="*/ 652 w 652"/>
                  <a:gd name="T29" fmla="*/ 423 h 625"/>
                  <a:gd name="T30" fmla="*/ 492 w 652"/>
                  <a:gd name="T31" fmla="*/ 263 h 625"/>
                  <a:gd name="T32" fmla="*/ 241 w 652"/>
                  <a:gd name="T33" fmla="*/ 149 h 625"/>
                  <a:gd name="T34" fmla="*/ 326 w 652"/>
                  <a:gd name="T35" fmla="*/ 64 h 625"/>
                  <a:gd name="T36" fmla="*/ 411 w 652"/>
                  <a:gd name="T37" fmla="*/ 149 h 625"/>
                  <a:gd name="T38" fmla="*/ 411 w 652"/>
                  <a:gd name="T39" fmla="*/ 178 h 625"/>
                  <a:gd name="T40" fmla="*/ 326 w 652"/>
                  <a:gd name="T41" fmla="*/ 263 h 625"/>
                  <a:gd name="T42" fmla="*/ 241 w 652"/>
                  <a:gd name="T43" fmla="*/ 178 h 625"/>
                  <a:gd name="T44" fmla="*/ 241 w 652"/>
                  <a:gd name="T45" fmla="*/ 149 h 625"/>
                  <a:gd name="T46" fmla="*/ 588 w 652"/>
                  <a:gd name="T47" fmla="*/ 561 h 625"/>
                  <a:gd name="T48" fmla="*/ 64 w 652"/>
                  <a:gd name="T49" fmla="*/ 561 h 625"/>
                  <a:gd name="T50" fmla="*/ 64 w 652"/>
                  <a:gd name="T51" fmla="*/ 423 h 625"/>
                  <a:gd name="T52" fmla="*/ 160 w 652"/>
                  <a:gd name="T53" fmla="*/ 327 h 625"/>
                  <a:gd name="T54" fmla="*/ 294 w 652"/>
                  <a:gd name="T55" fmla="*/ 327 h 625"/>
                  <a:gd name="T56" fmla="*/ 294 w 652"/>
                  <a:gd name="T57" fmla="*/ 392 h 625"/>
                  <a:gd name="T58" fmla="*/ 326 w 652"/>
                  <a:gd name="T59" fmla="*/ 424 h 625"/>
                  <a:gd name="T60" fmla="*/ 358 w 652"/>
                  <a:gd name="T61" fmla="*/ 392 h 625"/>
                  <a:gd name="T62" fmla="*/ 358 w 652"/>
                  <a:gd name="T63" fmla="*/ 327 h 625"/>
                  <a:gd name="T64" fmla="*/ 492 w 652"/>
                  <a:gd name="T65" fmla="*/ 327 h 625"/>
                  <a:gd name="T66" fmla="*/ 588 w 652"/>
                  <a:gd name="T67" fmla="*/ 423 h 625"/>
                  <a:gd name="T68" fmla="*/ 588 w 652"/>
                  <a:gd name="T69" fmla="*/ 561 h 625"/>
                  <a:gd name="T70" fmla="*/ 588 w 652"/>
                  <a:gd name="T71" fmla="*/ 561 h 625"/>
                  <a:gd name="T72" fmla="*/ 588 w 652"/>
                  <a:gd name="T73" fmla="*/ 5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2" h="625">
                    <a:moveTo>
                      <a:pt x="492" y="263"/>
                    </a:moveTo>
                    <a:cubicBezTo>
                      <a:pt x="448" y="263"/>
                      <a:pt x="448" y="263"/>
                      <a:pt x="448" y="263"/>
                    </a:cubicBezTo>
                    <a:cubicBezTo>
                      <a:pt x="465" y="239"/>
                      <a:pt x="475" y="210"/>
                      <a:pt x="475" y="178"/>
                    </a:cubicBezTo>
                    <a:cubicBezTo>
                      <a:pt x="475" y="149"/>
                      <a:pt x="475" y="149"/>
                      <a:pt x="475" y="149"/>
                    </a:cubicBezTo>
                    <a:cubicBezTo>
                      <a:pt x="475" y="67"/>
                      <a:pt x="408" y="0"/>
                      <a:pt x="326" y="0"/>
                    </a:cubicBezTo>
                    <a:cubicBezTo>
                      <a:pt x="244" y="0"/>
                      <a:pt x="177" y="67"/>
                      <a:pt x="177" y="149"/>
                    </a:cubicBezTo>
                    <a:cubicBezTo>
                      <a:pt x="177" y="178"/>
                      <a:pt x="177" y="178"/>
                      <a:pt x="177" y="178"/>
                    </a:cubicBezTo>
                    <a:cubicBezTo>
                      <a:pt x="177" y="210"/>
                      <a:pt x="187" y="239"/>
                      <a:pt x="204" y="263"/>
                    </a:cubicBezTo>
                    <a:cubicBezTo>
                      <a:pt x="160" y="263"/>
                      <a:pt x="160" y="263"/>
                      <a:pt x="160" y="263"/>
                    </a:cubicBezTo>
                    <a:cubicBezTo>
                      <a:pt x="71" y="263"/>
                      <a:pt x="0" y="335"/>
                      <a:pt x="0" y="423"/>
                    </a:cubicBezTo>
                    <a:cubicBezTo>
                      <a:pt x="0" y="593"/>
                      <a:pt x="0" y="593"/>
                      <a:pt x="0" y="593"/>
                    </a:cubicBezTo>
                    <a:cubicBezTo>
                      <a:pt x="0" y="611"/>
                      <a:pt x="14" y="625"/>
                      <a:pt x="32" y="625"/>
                    </a:cubicBezTo>
                    <a:cubicBezTo>
                      <a:pt x="620" y="625"/>
                      <a:pt x="620" y="625"/>
                      <a:pt x="620" y="625"/>
                    </a:cubicBezTo>
                    <a:cubicBezTo>
                      <a:pt x="638" y="625"/>
                      <a:pt x="652" y="611"/>
                      <a:pt x="652" y="593"/>
                    </a:cubicBezTo>
                    <a:cubicBezTo>
                      <a:pt x="652" y="423"/>
                      <a:pt x="652" y="423"/>
                      <a:pt x="652" y="423"/>
                    </a:cubicBezTo>
                    <a:cubicBezTo>
                      <a:pt x="652" y="335"/>
                      <a:pt x="581" y="263"/>
                      <a:pt x="492" y="263"/>
                    </a:cubicBezTo>
                    <a:close/>
                    <a:moveTo>
                      <a:pt x="241" y="149"/>
                    </a:moveTo>
                    <a:cubicBezTo>
                      <a:pt x="241" y="102"/>
                      <a:pt x="279" y="64"/>
                      <a:pt x="326" y="64"/>
                    </a:cubicBezTo>
                    <a:cubicBezTo>
                      <a:pt x="373" y="64"/>
                      <a:pt x="411" y="102"/>
                      <a:pt x="411" y="149"/>
                    </a:cubicBezTo>
                    <a:cubicBezTo>
                      <a:pt x="411" y="178"/>
                      <a:pt x="411" y="178"/>
                      <a:pt x="411" y="178"/>
                    </a:cubicBezTo>
                    <a:cubicBezTo>
                      <a:pt x="411" y="225"/>
                      <a:pt x="373" y="263"/>
                      <a:pt x="326" y="263"/>
                    </a:cubicBezTo>
                    <a:cubicBezTo>
                      <a:pt x="279" y="263"/>
                      <a:pt x="241" y="225"/>
                      <a:pt x="241" y="178"/>
                    </a:cubicBezTo>
                    <a:lnTo>
                      <a:pt x="241" y="149"/>
                    </a:lnTo>
                    <a:close/>
                    <a:moveTo>
                      <a:pt x="588" y="561"/>
                    </a:moveTo>
                    <a:cubicBezTo>
                      <a:pt x="64" y="561"/>
                      <a:pt x="64" y="561"/>
                      <a:pt x="64" y="561"/>
                    </a:cubicBezTo>
                    <a:cubicBezTo>
                      <a:pt x="64" y="423"/>
                      <a:pt x="64" y="423"/>
                      <a:pt x="64" y="423"/>
                    </a:cubicBezTo>
                    <a:cubicBezTo>
                      <a:pt x="64" y="370"/>
                      <a:pt x="107" y="327"/>
                      <a:pt x="160" y="327"/>
                    </a:cubicBezTo>
                    <a:cubicBezTo>
                      <a:pt x="294" y="327"/>
                      <a:pt x="294" y="327"/>
                      <a:pt x="294" y="327"/>
                    </a:cubicBezTo>
                    <a:cubicBezTo>
                      <a:pt x="294" y="392"/>
                      <a:pt x="294" y="392"/>
                      <a:pt x="294" y="392"/>
                    </a:cubicBezTo>
                    <a:cubicBezTo>
                      <a:pt x="294" y="409"/>
                      <a:pt x="308" y="424"/>
                      <a:pt x="326" y="424"/>
                    </a:cubicBezTo>
                    <a:cubicBezTo>
                      <a:pt x="344" y="424"/>
                      <a:pt x="358" y="409"/>
                      <a:pt x="358" y="392"/>
                    </a:cubicBezTo>
                    <a:cubicBezTo>
                      <a:pt x="358" y="327"/>
                      <a:pt x="358" y="327"/>
                      <a:pt x="358" y="327"/>
                    </a:cubicBezTo>
                    <a:cubicBezTo>
                      <a:pt x="492" y="327"/>
                      <a:pt x="492" y="327"/>
                      <a:pt x="492" y="327"/>
                    </a:cubicBezTo>
                    <a:cubicBezTo>
                      <a:pt x="545" y="327"/>
                      <a:pt x="588" y="370"/>
                      <a:pt x="588" y="423"/>
                    </a:cubicBezTo>
                    <a:lnTo>
                      <a:pt x="588" y="561"/>
                    </a:lnTo>
                    <a:close/>
                    <a:moveTo>
                      <a:pt x="588" y="561"/>
                    </a:moveTo>
                    <a:cubicBezTo>
                      <a:pt x="588" y="561"/>
                      <a:pt x="588" y="561"/>
                      <a:pt x="588" y="5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6" name="Freeform 535"/>
              <p:cNvSpPr>
                <a:spLocks noEditPoints="1"/>
              </p:cNvSpPr>
              <p:nvPr/>
            </p:nvSpPr>
            <p:spPr bwMode="auto">
              <a:xfrm>
                <a:off x="4207" y="2574"/>
                <a:ext cx="803" cy="743"/>
              </a:xfrm>
              <a:custGeom>
                <a:avLst/>
                <a:gdLst>
                  <a:gd name="T0" fmla="*/ 412 w 424"/>
                  <a:gd name="T1" fmla="*/ 334 h 392"/>
                  <a:gd name="T2" fmla="*/ 244 w 424"/>
                  <a:gd name="T3" fmla="*/ 166 h 392"/>
                  <a:gd name="T4" fmla="*/ 244 w 424"/>
                  <a:gd name="T5" fmla="*/ 32 h 392"/>
                  <a:gd name="T6" fmla="*/ 212 w 424"/>
                  <a:gd name="T7" fmla="*/ 0 h 392"/>
                  <a:gd name="T8" fmla="*/ 180 w 424"/>
                  <a:gd name="T9" fmla="*/ 32 h 392"/>
                  <a:gd name="T10" fmla="*/ 180 w 424"/>
                  <a:gd name="T11" fmla="*/ 166 h 392"/>
                  <a:gd name="T12" fmla="*/ 13 w 424"/>
                  <a:gd name="T13" fmla="*/ 334 h 392"/>
                  <a:gd name="T14" fmla="*/ 13 w 424"/>
                  <a:gd name="T15" fmla="*/ 379 h 392"/>
                  <a:gd name="T16" fmla="*/ 58 w 424"/>
                  <a:gd name="T17" fmla="*/ 379 h 392"/>
                  <a:gd name="T18" fmla="*/ 212 w 424"/>
                  <a:gd name="T19" fmla="*/ 225 h 392"/>
                  <a:gd name="T20" fmla="*/ 367 w 424"/>
                  <a:gd name="T21" fmla="*/ 379 h 392"/>
                  <a:gd name="T22" fmla="*/ 389 w 424"/>
                  <a:gd name="T23" fmla="*/ 388 h 392"/>
                  <a:gd name="T24" fmla="*/ 412 w 424"/>
                  <a:gd name="T25" fmla="*/ 379 h 392"/>
                  <a:gd name="T26" fmla="*/ 412 w 424"/>
                  <a:gd name="T27" fmla="*/ 334 h 392"/>
                  <a:gd name="T28" fmla="*/ 412 w 424"/>
                  <a:gd name="T29" fmla="*/ 334 h 392"/>
                  <a:gd name="T30" fmla="*/ 412 w 424"/>
                  <a:gd name="T31" fmla="*/ 33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4" h="392">
                    <a:moveTo>
                      <a:pt x="412" y="334"/>
                    </a:moveTo>
                    <a:cubicBezTo>
                      <a:pt x="244" y="166"/>
                      <a:pt x="244" y="166"/>
                      <a:pt x="244" y="166"/>
                    </a:cubicBezTo>
                    <a:cubicBezTo>
                      <a:pt x="244" y="32"/>
                      <a:pt x="244" y="32"/>
                      <a:pt x="244" y="32"/>
                    </a:cubicBezTo>
                    <a:cubicBezTo>
                      <a:pt x="244" y="14"/>
                      <a:pt x="230" y="0"/>
                      <a:pt x="212" y="0"/>
                    </a:cubicBezTo>
                    <a:cubicBezTo>
                      <a:pt x="195" y="0"/>
                      <a:pt x="180" y="14"/>
                      <a:pt x="180" y="32"/>
                    </a:cubicBezTo>
                    <a:cubicBezTo>
                      <a:pt x="180" y="166"/>
                      <a:pt x="180" y="166"/>
                      <a:pt x="180" y="166"/>
                    </a:cubicBezTo>
                    <a:cubicBezTo>
                      <a:pt x="13" y="334"/>
                      <a:pt x="13" y="334"/>
                      <a:pt x="13" y="334"/>
                    </a:cubicBezTo>
                    <a:cubicBezTo>
                      <a:pt x="0" y="346"/>
                      <a:pt x="0" y="367"/>
                      <a:pt x="13" y="379"/>
                    </a:cubicBezTo>
                    <a:cubicBezTo>
                      <a:pt x="25" y="392"/>
                      <a:pt x="45" y="392"/>
                      <a:pt x="58" y="379"/>
                    </a:cubicBezTo>
                    <a:cubicBezTo>
                      <a:pt x="212" y="225"/>
                      <a:pt x="212" y="225"/>
                      <a:pt x="212" y="225"/>
                    </a:cubicBezTo>
                    <a:cubicBezTo>
                      <a:pt x="367" y="379"/>
                      <a:pt x="367" y="379"/>
                      <a:pt x="367" y="379"/>
                    </a:cubicBezTo>
                    <a:cubicBezTo>
                      <a:pt x="373" y="385"/>
                      <a:pt x="381" y="388"/>
                      <a:pt x="389" y="388"/>
                    </a:cubicBezTo>
                    <a:cubicBezTo>
                      <a:pt x="397" y="388"/>
                      <a:pt x="406" y="385"/>
                      <a:pt x="412" y="379"/>
                    </a:cubicBezTo>
                    <a:cubicBezTo>
                      <a:pt x="424" y="367"/>
                      <a:pt x="424" y="346"/>
                      <a:pt x="412" y="334"/>
                    </a:cubicBezTo>
                    <a:close/>
                    <a:moveTo>
                      <a:pt x="412" y="334"/>
                    </a:moveTo>
                    <a:cubicBezTo>
                      <a:pt x="412" y="334"/>
                      <a:pt x="412" y="334"/>
                      <a:pt x="412" y="3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7" name="Freeform 536"/>
              <p:cNvSpPr>
                <a:spLocks noEditPoints="1"/>
              </p:cNvSpPr>
              <p:nvPr/>
            </p:nvSpPr>
            <p:spPr bwMode="auto">
              <a:xfrm>
                <a:off x="4548" y="2059"/>
                <a:ext cx="121" cy="122"/>
              </a:xfrm>
              <a:custGeom>
                <a:avLst/>
                <a:gdLst>
                  <a:gd name="T0" fmla="*/ 55 w 64"/>
                  <a:gd name="T1" fmla="*/ 9 h 64"/>
                  <a:gd name="T2" fmla="*/ 32 w 64"/>
                  <a:gd name="T3" fmla="*/ 0 h 64"/>
                  <a:gd name="T4" fmla="*/ 10 w 64"/>
                  <a:gd name="T5" fmla="*/ 9 h 64"/>
                  <a:gd name="T6" fmla="*/ 0 w 64"/>
                  <a:gd name="T7" fmla="*/ 32 h 64"/>
                  <a:gd name="T8" fmla="*/ 10 w 64"/>
                  <a:gd name="T9" fmla="*/ 54 h 64"/>
                  <a:gd name="T10" fmla="*/ 32 w 64"/>
                  <a:gd name="T11" fmla="*/ 64 h 64"/>
                  <a:gd name="T12" fmla="*/ 55 w 64"/>
                  <a:gd name="T13" fmla="*/ 54 h 64"/>
                  <a:gd name="T14" fmla="*/ 64 w 64"/>
                  <a:gd name="T15" fmla="*/ 32 h 64"/>
                  <a:gd name="T16" fmla="*/ 55 w 64"/>
                  <a:gd name="T17" fmla="*/ 9 h 64"/>
                  <a:gd name="T18" fmla="*/ 55 w 64"/>
                  <a:gd name="T19" fmla="*/ 9 h 64"/>
                  <a:gd name="T20" fmla="*/ 55 w 64"/>
                  <a:gd name="T21"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5" y="9"/>
                    </a:moveTo>
                    <a:cubicBezTo>
                      <a:pt x="49" y="3"/>
                      <a:pt x="41" y="0"/>
                      <a:pt x="32" y="0"/>
                    </a:cubicBezTo>
                    <a:cubicBezTo>
                      <a:pt x="24" y="0"/>
                      <a:pt x="16" y="3"/>
                      <a:pt x="10" y="9"/>
                    </a:cubicBezTo>
                    <a:cubicBezTo>
                      <a:pt x="4" y="15"/>
                      <a:pt x="0" y="23"/>
                      <a:pt x="0" y="32"/>
                    </a:cubicBezTo>
                    <a:cubicBezTo>
                      <a:pt x="0" y="40"/>
                      <a:pt x="4" y="48"/>
                      <a:pt x="10" y="54"/>
                    </a:cubicBezTo>
                    <a:cubicBezTo>
                      <a:pt x="16" y="60"/>
                      <a:pt x="24" y="64"/>
                      <a:pt x="32" y="64"/>
                    </a:cubicBezTo>
                    <a:cubicBezTo>
                      <a:pt x="41" y="64"/>
                      <a:pt x="49" y="60"/>
                      <a:pt x="55" y="54"/>
                    </a:cubicBezTo>
                    <a:cubicBezTo>
                      <a:pt x="61" y="48"/>
                      <a:pt x="64" y="40"/>
                      <a:pt x="64" y="32"/>
                    </a:cubicBezTo>
                    <a:cubicBezTo>
                      <a:pt x="64" y="23"/>
                      <a:pt x="61" y="15"/>
                      <a:pt x="55" y="9"/>
                    </a:cubicBezTo>
                    <a:close/>
                    <a:moveTo>
                      <a:pt x="55" y="9"/>
                    </a:moveTo>
                    <a:cubicBezTo>
                      <a:pt x="55" y="9"/>
                      <a:pt x="55" y="9"/>
                      <a:pt x="5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sp>
        <p:nvSpPr>
          <p:cNvPr id="81" name="TextBox 80"/>
          <p:cNvSpPr txBox="1"/>
          <p:nvPr/>
        </p:nvSpPr>
        <p:spPr>
          <a:xfrm>
            <a:off x="109984" y="5071686"/>
            <a:ext cx="2532196" cy="1107996"/>
          </a:xfrm>
          <a:prstGeom prst="rect">
            <a:avLst/>
          </a:prstGeom>
          <a:noFill/>
        </p:spPr>
        <p:txBody>
          <a:bodyPr wrap="square" rtlCol="0">
            <a:spAutoFit/>
          </a:bodyPr>
          <a:lstStyle/>
          <a:p>
            <a:pPr algn="ctr"/>
            <a:r>
              <a:rPr lang="en-US" b="1" dirty="0">
                <a:solidFill>
                  <a:schemeClr val="accent1"/>
                </a:solidFill>
                <a:latin typeface="+mj-lt"/>
              </a:rPr>
              <a:t>Heading Goes Here</a:t>
            </a:r>
            <a:br>
              <a:rPr lang="en-US" sz="1050" dirty="0">
                <a:solidFill>
                  <a:schemeClr val="accent1"/>
                </a:solidFill>
                <a:latin typeface="+mj-lt"/>
              </a:rPr>
            </a:br>
            <a:r>
              <a:rPr lang="en-US" sz="1600" dirty="0">
                <a:latin typeface="+mj-lt"/>
              </a:rPr>
              <a:t>Lorem Ipsum dolor sit </a:t>
            </a:r>
            <a:r>
              <a:rPr lang="en-US" sz="1600" dirty="0" err="1">
                <a:latin typeface="+mj-lt"/>
              </a:rPr>
              <a:t>amer</a:t>
            </a:r>
            <a:r>
              <a:rPr lang="en-US" sz="1600" dirty="0">
                <a:latin typeface="+mj-lt"/>
              </a:rPr>
              <a:t>, </a:t>
            </a:r>
            <a:r>
              <a:rPr lang="en-US" sz="1600" dirty="0" err="1">
                <a:latin typeface="+mj-lt"/>
              </a:rPr>
              <a:t>consectetur</a:t>
            </a:r>
            <a:r>
              <a:rPr lang="en-US" sz="1600" dirty="0">
                <a:latin typeface="+mj-lt"/>
              </a:rPr>
              <a:t> </a:t>
            </a:r>
            <a:r>
              <a:rPr lang="en-US" sz="1600" dirty="0" err="1">
                <a:latin typeface="+mj-lt"/>
              </a:rPr>
              <a:t>adipiscing</a:t>
            </a:r>
            <a:r>
              <a:rPr lang="en-US" sz="1600" dirty="0">
                <a:latin typeface="+mj-lt"/>
              </a:rPr>
              <a:t> </a:t>
            </a:r>
            <a:r>
              <a:rPr lang="en-US" sz="1600" dirty="0" err="1">
                <a:latin typeface="+mj-lt"/>
              </a:rPr>
              <a:t>elit</a:t>
            </a:r>
            <a:r>
              <a:rPr lang="en-US" sz="1600" dirty="0">
                <a:latin typeface="+mj-lt"/>
              </a:rPr>
              <a:t>,     </a:t>
            </a:r>
            <a:r>
              <a:rPr lang="en-US" sz="1600" dirty="0" err="1">
                <a:latin typeface="+mj-lt"/>
              </a:rPr>
              <a:t>sed</a:t>
            </a:r>
            <a:r>
              <a:rPr lang="en-US" sz="1600" dirty="0">
                <a:latin typeface="+mj-lt"/>
              </a:rPr>
              <a:t> do</a:t>
            </a:r>
          </a:p>
        </p:txBody>
      </p:sp>
      <p:sp>
        <p:nvSpPr>
          <p:cNvPr id="82" name="TextBox 81"/>
          <p:cNvSpPr txBox="1"/>
          <p:nvPr/>
        </p:nvSpPr>
        <p:spPr>
          <a:xfrm>
            <a:off x="3320862" y="5071686"/>
            <a:ext cx="2532196" cy="1107996"/>
          </a:xfrm>
          <a:prstGeom prst="rect">
            <a:avLst/>
          </a:prstGeom>
          <a:noFill/>
        </p:spPr>
        <p:txBody>
          <a:bodyPr wrap="square" rtlCol="0">
            <a:spAutoFit/>
          </a:bodyPr>
          <a:lstStyle/>
          <a:p>
            <a:pPr algn="ctr"/>
            <a:r>
              <a:rPr lang="en-US" b="1" dirty="0">
                <a:solidFill>
                  <a:schemeClr val="accent1"/>
                </a:solidFill>
                <a:latin typeface="+mj-lt"/>
              </a:rPr>
              <a:t>Heading Goes Here</a:t>
            </a:r>
            <a:br>
              <a:rPr lang="en-US" sz="1050" dirty="0">
                <a:solidFill>
                  <a:schemeClr val="accent1"/>
                </a:solidFill>
                <a:latin typeface="+mj-lt"/>
              </a:rPr>
            </a:br>
            <a:r>
              <a:rPr lang="en-US" sz="1600" dirty="0">
                <a:latin typeface="+mj-lt"/>
              </a:rPr>
              <a:t>Lorem Ipsum dolor sit </a:t>
            </a:r>
            <a:r>
              <a:rPr lang="en-US" sz="1600" dirty="0" err="1">
                <a:latin typeface="+mj-lt"/>
              </a:rPr>
              <a:t>amer</a:t>
            </a:r>
            <a:r>
              <a:rPr lang="en-US" sz="1600" dirty="0">
                <a:latin typeface="+mj-lt"/>
              </a:rPr>
              <a:t>, </a:t>
            </a:r>
            <a:r>
              <a:rPr lang="en-US" sz="1600" dirty="0" err="1">
                <a:latin typeface="+mj-lt"/>
              </a:rPr>
              <a:t>consectetur</a:t>
            </a:r>
            <a:r>
              <a:rPr lang="en-US" sz="1600" dirty="0">
                <a:latin typeface="+mj-lt"/>
              </a:rPr>
              <a:t> </a:t>
            </a:r>
            <a:r>
              <a:rPr lang="en-US" sz="1600" dirty="0" err="1">
                <a:latin typeface="+mj-lt"/>
              </a:rPr>
              <a:t>adipiscing</a:t>
            </a:r>
            <a:r>
              <a:rPr lang="en-US" sz="1600" dirty="0">
                <a:latin typeface="+mj-lt"/>
              </a:rPr>
              <a:t> </a:t>
            </a:r>
            <a:r>
              <a:rPr lang="en-US" sz="1600" dirty="0" err="1">
                <a:latin typeface="+mj-lt"/>
              </a:rPr>
              <a:t>elit</a:t>
            </a:r>
            <a:r>
              <a:rPr lang="en-US" sz="1600" dirty="0">
                <a:latin typeface="+mj-lt"/>
              </a:rPr>
              <a:t>,     </a:t>
            </a:r>
            <a:r>
              <a:rPr lang="en-US" sz="1600" dirty="0" err="1">
                <a:latin typeface="+mj-lt"/>
              </a:rPr>
              <a:t>sed</a:t>
            </a:r>
            <a:r>
              <a:rPr lang="en-US" sz="1600" dirty="0">
                <a:latin typeface="+mj-lt"/>
              </a:rPr>
              <a:t> do</a:t>
            </a:r>
          </a:p>
        </p:txBody>
      </p:sp>
      <p:sp>
        <p:nvSpPr>
          <p:cNvPr id="83" name="TextBox 82"/>
          <p:cNvSpPr txBox="1"/>
          <p:nvPr/>
        </p:nvSpPr>
        <p:spPr>
          <a:xfrm>
            <a:off x="6512278" y="5071686"/>
            <a:ext cx="2532196" cy="861774"/>
          </a:xfrm>
          <a:prstGeom prst="rect">
            <a:avLst/>
          </a:prstGeom>
          <a:noFill/>
        </p:spPr>
        <p:txBody>
          <a:bodyPr wrap="square" rtlCol="0">
            <a:spAutoFit/>
          </a:bodyPr>
          <a:lstStyle/>
          <a:p>
            <a:pPr algn="ctr"/>
            <a:r>
              <a:rPr lang="en-US" b="1" dirty="0">
                <a:solidFill>
                  <a:schemeClr val="accent1"/>
                </a:solidFill>
                <a:latin typeface="+mj-lt"/>
              </a:rPr>
              <a:t>Heading Goes Here</a:t>
            </a:r>
            <a:br>
              <a:rPr lang="en-US" sz="1050" dirty="0">
                <a:solidFill>
                  <a:schemeClr val="accent1"/>
                </a:solidFill>
                <a:latin typeface="+mj-lt"/>
              </a:rPr>
            </a:br>
            <a:r>
              <a:rPr lang="en-US" sz="1600" dirty="0">
                <a:latin typeface="+mj-lt"/>
              </a:rPr>
              <a:t>Lorem Ipsum dolor sit </a:t>
            </a:r>
            <a:r>
              <a:rPr lang="en-US" sz="1600" dirty="0" err="1">
                <a:latin typeface="+mj-lt"/>
              </a:rPr>
              <a:t>amer</a:t>
            </a:r>
            <a:r>
              <a:rPr lang="en-US" sz="1600" dirty="0">
                <a:latin typeface="+mj-lt"/>
              </a:rPr>
              <a:t>, </a:t>
            </a:r>
            <a:r>
              <a:rPr lang="en-US" sz="1600" dirty="0" err="1">
                <a:latin typeface="+mj-lt"/>
              </a:rPr>
              <a:t>consectetur</a:t>
            </a:r>
            <a:endParaRPr lang="en-US" sz="1600" dirty="0">
              <a:latin typeface="+mj-lt"/>
            </a:endParaRPr>
          </a:p>
        </p:txBody>
      </p:sp>
      <p:sp>
        <p:nvSpPr>
          <p:cNvPr id="84" name="TextBox 83"/>
          <p:cNvSpPr txBox="1"/>
          <p:nvPr/>
        </p:nvSpPr>
        <p:spPr>
          <a:xfrm>
            <a:off x="9523190" y="5071686"/>
            <a:ext cx="2532196" cy="1107996"/>
          </a:xfrm>
          <a:prstGeom prst="rect">
            <a:avLst/>
          </a:prstGeom>
          <a:noFill/>
        </p:spPr>
        <p:txBody>
          <a:bodyPr wrap="square" rtlCol="0">
            <a:spAutoFit/>
          </a:bodyPr>
          <a:lstStyle/>
          <a:p>
            <a:pPr algn="ctr"/>
            <a:r>
              <a:rPr lang="en-US" b="1" dirty="0">
                <a:solidFill>
                  <a:schemeClr val="accent1"/>
                </a:solidFill>
                <a:latin typeface="+mj-lt"/>
              </a:rPr>
              <a:t>Heading Goes Here</a:t>
            </a:r>
            <a:br>
              <a:rPr lang="en-US" sz="1050" dirty="0">
                <a:solidFill>
                  <a:schemeClr val="accent1"/>
                </a:solidFill>
                <a:latin typeface="+mj-lt"/>
              </a:rPr>
            </a:br>
            <a:r>
              <a:rPr lang="en-US" sz="1600" dirty="0">
                <a:latin typeface="+mj-lt"/>
              </a:rPr>
              <a:t>Lorem Ipsum dolor sit </a:t>
            </a:r>
            <a:r>
              <a:rPr lang="en-US" sz="1600" dirty="0" err="1">
                <a:latin typeface="+mj-lt"/>
              </a:rPr>
              <a:t>amer</a:t>
            </a:r>
            <a:r>
              <a:rPr lang="en-US" sz="1600" dirty="0">
                <a:latin typeface="+mj-lt"/>
              </a:rPr>
              <a:t>, </a:t>
            </a:r>
            <a:r>
              <a:rPr lang="en-US" sz="1600" dirty="0" err="1">
                <a:latin typeface="+mj-lt"/>
              </a:rPr>
              <a:t>consectetur</a:t>
            </a:r>
            <a:r>
              <a:rPr lang="en-US" sz="1600" dirty="0">
                <a:latin typeface="+mj-lt"/>
              </a:rPr>
              <a:t> </a:t>
            </a:r>
            <a:r>
              <a:rPr lang="en-US" sz="1600" dirty="0" err="1">
                <a:latin typeface="+mj-lt"/>
              </a:rPr>
              <a:t>adipiscing</a:t>
            </a:r>
            <a:r>
              <a:rPr lang="en-US" sz="1600" dirty="0">
                <a:latin typeface="+mj-lt"/>
              </a:rPr>
              <a:t> </a:t>
            </a:r>
            <a:r>
              <a:rPr lang="en-US" sz="1600" dirty="0" err="1">
                <a:latin typeface="+mj-lt"/>
              </a:rPr>
              <a:t>elit</a:t>
            </a:r>
            <a:r>
              <a:rPr lang="en-US" sz="1600" dirty="0">
                <a:latin typeface="+mj-lt"/>
              </a:rPr>
              <a:t>,     </a:t>
            </a:r>
            <a:r>
              <a:rPr lang="en-US" sz="1600" dirty="0" err="1">
                <a:latin typeface="+mj-lt"/>
              </a:rPr>
              <a:t>sed</a:t>
            </a:r>
            <a:r>
              <a:rPr lang="en-US" sz="1600" dirty="0">
                <a:latin typeface="+mj-lt"/>
              </a:rPr>
              <a:t> do</a:t>
            </a:r>
          </a:p>
        </p:txBody>
      </p:sp>
    </p:spTree>
    <p:extLst>
      <p:ext uri="{BB962C8B-B14F-4D97-AF65-F5344CB8AC3E}">
        <p14:creationId xmlns:p14="http://schemas.microsoft.com/office/powerpoint/2010/main" val="6732211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p:pic>
      <p:sp>
        <p:nvSpPr>
          <p:cNvPr id="4" name="Rectangle 3"/>
          <p:cNvSpPr/>
          <p:nvPr/>
        </p:nvSpPr>
        <p:spPr>
          <a:xfrm>
            <a:off x="0" y="0"/>
            <a:ext cx="12192000" cy="6857999"/>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0" y="4044190"/>
            <a:ext cx="12192000" cy="830997"/>
          </a:xfrm>
          <a:prstGeom prst="rect">
            <a:avLst/>
          </a:prstGeom>
          <a:ln>
            <a:noFill/>
          </a:ln>
        </p:spPr>
        <p:txBody>
          <a:bodyPr wrap="square">
            <a:spAutoFit/>
          </a:bodyPr>
          <a:lstStyle/>
          <a:p>
            <a:pPr algn="ctr"/>
            <a:r>
              <a:rPr lang="en-US" sz="4800" dirty="0">
                <a:solidFill>
                  <a:schemeClr val="bg1"/>
                </a:solidFill>
                <a:latin typeface="+mj-lt"/>
              </a:rPr>
              <a:t>YOUR TITLE GOES HERE</a:t>
            </a:r>
            <a:endParaRPr lang="en-US" sz="4800" dirty="0">
              <a:solidFill>
                <a:schemeClr val="bg1"/>
              </a:solidFill>
              <a:latin typeface="+mj-lt"/>
              <a:ea typeface="Open Sans Condensed" panose="020B0806030504020204" pitchFamily="34" charset="0"/>
              <a:cs typeface="Open Sans Condensed" panose="020B0806030504020204" pitchFamily="34" charset="0"/>
            </a:endParaRPr>
          </a:p>
        </p:txBody>
      </p:sp>
      <p:sp>
        <p:nvSpPr>
          <p:cNvPr id="7" name="TextBox 6"/>
          <p:cNvSpPr txBox="1"/>
          <p:nvPr>
            <p:custDataLst>
              <p:tags r:id="rId1"/>
            </p:custDataLst>
          </p:nvPr>
        </p:nvSpPr>
        <p:spPr>
          <a:xfrm>
            <a:off x="2369276" y="4797347"/>
            <a:ext cx="7453448" cy="307777"/>
          </a:xfrm>
          <a:prstGeom prst="rect">
            <a:avLst/>
          </a:prstGeom>
          <a:noFill/>
          <a:ln>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buClr>
                <a:srgbClr val="002E6E"/>
              </a:buClr>
              <a:buNone/>
              <a:defRPr/>
            </a:pPr>
            <a:r>
              <a:rPr lang="en-US" sz="1400" b="1" dirty="0">
                <a:solidFill>
                  <a:schemeClr val="bg1"/>
                </a:solidFill>
                <a:latin typeface="+mj-lt"/>
                <a:cs typeface="Times New Roman" pitchFamily="18" charset="0"/>
              </a:rPr>
              <a:t>YOUR SUBTITLE GOES HERE</a:t>
            </a:r>
          </a:p>
        </p:txBody>
      </p:sp>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97209" y="2421244"/>
            <a:ext cx="4997582" cy="1246456"/>
          </a:xfrm>
          <a:prstGeom prst="rect">
            <a:avLst/>
          </a:prstGeom>
        </p:spPr>
      </p:pic>
    </p:spTree>
    <p:extLst>
      <p:ext uri="{BB962C8B-B14F-4D97-AF65-F5344CB8AC3E}">
        <p14:creationId xmlns:p14="http://schemas.microsoft.com/office/powerpoint/2010/main" val="3023111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9939867" y="1223198"/>
            <a:ext cx="2252133" cy="47397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p:cNvSpPr txBox="1">
            <a:spLocks noGrp="1"/>
          </p:cNvSpPr>
          <p:nvPr>
            <p:ph type="body" sz="quarter" idx="16"/>
          </p:nvPr>
        </p:nvSpPr>
        <p:spPr>
          <a:xfrm>
            <a:off x="277455" y="1223198"/>
            <a:ext cx="5829300" cy="4581525"/>
          </a:xfrm>
        </p:spPr>
        <p:txBody>
          <a:bodyPr/>
          <a:lstStyle/>
          <a:p>
            <a:pPr>
              <a:lnSpc>
                <a:spcPct val="114000"/>
              </a:lnSpc>
              <a:spcBef>
                <a:spcPts val="600"/>
              </a:spcBef>
              <a:spcAft>
                <a:spcPts val="600"/>
              </a:spcAft>
            </a:pPr>
            <a:r>
              <a:rPr lang="en-US" sz="2800" dirty="0">
                <a:solidFill>
                  <a:schemeClr val="tx1"/>
                </a:solidFill>
              </a:rPr>
              <a:t>1000+ Customers</a:t>
            </a:r>
          </a:p>
          <a:p>
            <a:pPr>
              <a:lnSpc>
                <a:spcPct val="114000"/>
              </a:lnSpc>
              <a:spcBef>
                <a:spcPts val="600"/>
              </a:spcBef>
              <a:spcAft>
                <a:spcPts val="600"/>
              </a:spcAft>
            </a:pPr>
            <a:r>
              <a:rPr lang="en-US" sz="2800" dirty="0">
                <a:solidFill>
                  <a:schemeClr val="tx1"/>
                </a:solidFill>
              </a:rPr>
              <a:t>50+ Countries</a:t>
            </a:r>
          </a:p>
          <a:p>
            <a:pPr>
              <a:lnSpc>
                <a:spcPct val="114000"/>
              </a:lnSpc>
              <a:spcBef>
                <a:spcPts val="600"/>
              </a:spcBef>
              <a:spcAft>
                <a:spcPts val="600"/>
              </a:spcAft>
            </a:pPr>
            <a:r>
              <a:rPr lang="en-US" sz="2800" dirty="0">
                <a:solidFill>
                  <a:schemeClr val="tx1"/>
                </a:solidFill>
              </a:rPr>
              <a:t>700+ Employees</a:t>
            </a:r>
          </a:p>
          <a:p>
            <a:pPr>
              <a:lnSpc>
                <a:spcPct val="114000"/>
              </a:lnSpc>
              <a:spcBef>
                <a:spcPts val="600"/>
              </a:spcBef>
              <a:spcAft>
                <a:spcPts val="600"/>
              </a:spcAft>
            </a:pPr>
            <a:r>
              <a:rPr lang="en-US" sz="2800" dirty="0">
                <a:solidFill>
                  <a:schemeClr val="tx1"/>
                </a:solidFill>
              </a:rPr>
              <a:t>Headquartered in Oakland, CA</a:t>
            </a:r>
          </a:p>
          <a:p>
            <a:pPr>
              <a:lnSpc>
                <a:spcPct val="114000"/>
              </a:lnSpc>
              <a:spcBef>
                <a:spcPts val="600"/>
              </a:spcBef>
              <a:spcAft>
                <a:spcPts val="600"/>
              </a:spcAft>
            </a:pPr>
            <a:r>
              <a:rPr lang="en-US" sz="2800" dirty="0">
                <a:solidFill>
                  <a:schemeClr val="tx1"/>
                </a:solidFill>
              </a:rPr>
              <a:t>NASDAQ: DZSI</a:t>
            </a:r>
          </a:p>
          <a:p>
            <a:pPr lvl="1">
              <a:lnSpc>
                <a:spcPct val="114000"/>
              </a:lnSpc>
              <a:spcBef>
                <a:spcPts val="600"/>
              </a:spcBef>
              <a:spcAft>
                <a:spcPts val="600"/>
              </a:spcAft>
            </a:pPr>
            <a:r>
              <a:rPr lang="en-US" sz="2400" dirty="0">
                <a:solidFill>
                  <a:schemeClr val="tx1"/>
                </a:solidFill>
              </a:rPr>
              <a:t>~$271M for TTM 6/30/2018</a:t>
            </a:r>
          </a:p>
          <a:p>
            <a:pPr lvl="1">
              <a:lnSpc>
                <a:spcPct val="114000"/>
              </a:lnSpc>
              <a:spcBef>
                <a:spcPts val="600"/>
              </a:spcBef>
              <a:spcAft>
                <a:spcPts val="600"/>
              </a:spcAft>
            </a:pPr>
            <a:r>
              <a:rPr lang="en-US" sz="2400" dirty="0">
                <a:solidFill>
                  <a:schemeClr val="tx1"/>
                </a:solidFill>
              </a:rPr>
              <a:t>~$280-285M for 2018 Guidance</a:t>
            </a:r>
          </a:p>
        </p:txBody>
      </p:sp>
      <p:sp>
        <p:nvSpPr>
          <p:cNvPr id="2" name="Text Placeholder 1"/>
          <p:cNvSpPr>
            <a:spLocks noGrp="1"/>
          </p:cNvSpPr>
          <p:nvPr>
            <p:ph type="body" sz="quarter" idx="13"/>
          </p:nvPr>
        </p:nvSpPr>
        <p:spPr/>
        <p:txBody>
          <a:bodyPr/>
          <a:lstStyle/>
          <a:p>
            <a:r>
              <a:rPr lang="en-US" dirty="0"/>
              <a:t>Bullets + Image</a:t>
            </a:r>
          </a:p>
        </p:txBody>
      </p:sp>
      <p:pic>
        <p:nvPicPr>
          <p:cNvPr id="9" name="Picture Placeholder 8">
            <a:extLst>
              <a:ext uri="{FF2B5EF4-FFF2-40B4-BE49-F238E27FC236}">
                <a16:creationId xmlns:a16="http://schemas.microsoft.com/office/drawing/2014/main" id="{D5DF29AC-6EC8-DE44-B283-551DEB33A986}"/>
              </a:ext>
            </a:extLst>
          </p:cNvPr>
          <p:cNvPicPr>
            <a:picLocks noGrp="1" noChangeAspect="1"/>
          </p:cNvPicPr>
          <p:nvPr>
            <p:ph type="pic" sz="quarter" idx="15"/>
          </p:nvPr>
        </p:nvPicPr>
        <p:blipFill>
          <a:blip r:embed="rId2" cstate="screen">
            <a:extLst>
              <a:ext uri="{28A0092B-C50C-407E-A947-70E740481C1C}">
                <a14:useLocalDpi xmlns:a14="http://schemas.microsoft.com/office/drawing/2010/main"/>
              </a:ext>
            </a:extLst>
          </a:blip>
          <a:srcRect/>
          <a:stretch>
            <a:fillRect/>
          </a:stretch>
        </p:blipFill>
        <p:spPr>
          <a:xfrm>
            <a:off x="6205757" y="1683307"/>
            <a:ext cx="5705475" cy="3819525"/>
          </a:xfrm>
        </p:spPr>
      </p:pic>
    </p:spTree>
    <p:extLst>
      <p:ext uri="{BB962C8B-B14F-4D97-AF65-F5344CB8AC3E}">
        <p14:creationId xmlns:p14="http://schemas.microsoft.com/office/powerpoint/2010/main" val="3330110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ext Placeholder 7"/>
          <p:cNvSpPr txBox="1">
            <a:spLocks noGrp="1"/>
          </p:cNvSpPr>
          <p:nvPr>
            <p:ph type="body" sz="quarter" idx="16"/>
          </p:nvPr>
        </p:nvSpPr>
        <p:spPr>
          <a:xfrm>
            <a:off x="266699" y="1344380"/>
            <a:ext cx="11674929" cy="4581525"/>
          </a:xfrm>
        </p:spPr>
        <p:txBody>
          <a:bodyPr/>
          <a:lstStyle/>
          <a:p>
            <a:r>
              <a:rPr lang="en-US" dirty="0"/>
              <a:t>Minimum font size @ top level = 20</a:t>
            </a:r>
          </a:p>
          <a:p>
            <a:pPr lvl="1"/>
            <a:r>
              <a:rPr lang="en-US" dirty="0"/>
              <a:t>Minimum font size @ 2</a:t>
            </a:r>
            <a:r>
              <a:rPr lang="en-US" baseline="30000" dirty="0"/>
              <a:t>nd</a:t>
            </a:r>
            <a:r>
              <a:rPr lang="en-US" dirty="0"/>
              <a:t> level = 16</a:t>
            </a:r>
          </a:p>
          <a:p>
            <a:pPr lvl="2"/>
            <a:r>
              <a:rPr lang="en-US" sz="1300" dirty="0"/>
              <a:t>While font can be 14 at 3</a:t>
            </a:r>
            <a:r>
              <a:rPr lang="en-US" sz="1300" baseline="30000" dirty="0"/>
              <a:t>rd</a:t>
            </a:r>
            <a:r>
              <a:rPr lang="en-US" sz="1300" dirty="0"/>
              <a:t> level, font set at 13 with hopes that it is used sparingly</a:t>
            </a:r>
          </a:p>
          <a:p>
            <a:pPr lvl="3"/>
            <a:r>
              <a:rPr lang="en-US" dirty="0"/>
              <a:t>4</a:t>
            </a:r>
            <a:r>
              <a:rPr lang="en-US" baseline="30000" dirty="0"/>
              <a:t>th</a:t>
            </a:r>
            <a:r>
              <a:rPr lang="en-US" dirty="0"/>
              <a:t> level font = 11, no smaller than this ever</a:t>
            </a:r>
          </a:p>
          <a:p>
            <a:endParaRPr lang="en-US" sz="1200" dirty="0"/>
          </a:p>
          <a:p>
            <a:r>
              <a:rPr lang="en-US" dirty="0"/>
              <a:t>Minimum line spacing no less then 0.9</a:t>
            </a:r>
          </a:p>
          <a:p>
            <a:pPr lvl="1"/>
            <a:r>
              <a:rPr lang="en-US" dirty="0"/>
              <a:t>Prefer 12pt blank line between separate ideas when multiple levels are involved</a:t>
            </a:r>
          </a:p>
          <a:p>
            <a:pPr lvl="1"/>
            <a:r>
              <a:rPr lang="en-US" dirty="0"/>
              <a:t>If density is not a concern based on content, then line spacing can be as high as 1.15</a:t>
            </a:r>
          </a:p>
          <a:p>
            <a:pPr lvl="1"/>
            <a:r>
              <a:rPr lang="en-US" dirty="0"/>
              <a:t>Ideally most copy go no deeper than 2</a:t>
            </a:r>
            <a:r>
              <a:rPr lang="en-US" baseline="30000" dirty="0"/>
              <a:t>nd</a:t>
            </a:r>
            <a:r>
              <a:rPr lang="en-US" dirty="0"/>
              <a:t> level</a:t>
            </a:r>
          </a:p>
          <a:p>
            <a:endParaRPr lang="en-US" sz="1200" dirty="0"/>
          </a:p>
          <a:p>
            <a:r>
              <a:rPr lang="en-US" dirty="0"/>
              <a:t>Use LATO font exclusively, if amount of text allows, all text size should be increased</a:t>
            </a:r>
          </a:p>
          <a:p>
            <a:endParaRPr lang="en-US" sz="1200" dirty="0"/>
          </a:p>
          <a:p>
            <a:r>
              <a:rPr lang="en-US" dirty="0"/>
              <a:t>Odds are most PPT review will flow thru marketing</a:t>
            </a:r>
          </a:p>
          <a:p>
            <a:pPr lvl="1"/>
            <a:r>
              <a:rPr lang="en-US" dirty="0"/>
              <a:t>The template just starts users off with parameters not to exceed</a:t>
            </a:r>
          </a:p>
          <a:p>
            <a:pPr lvl="2"/>
            <a:r>
              <a:rPr lang="en-US" sz="1300" dirty="0"/>
              <a:t>Hopefully there is no need to use 3</a:t>
            </a:r>
            <a:r>
              <a:rPr lang="en-US" sz="1300" baseline="30000" dirty="0"/>
              <a:t>rd</a:t>
            </a:r>
            <a:r>
              <a:rPr lang="en-US" sz="1300" dirty="0"/>
              <a:t> level extensively</a:t>
            </a:r>
          </a:p>
          <a:p>
            <a:pPr lvl="3"/>
            <a:r>
              <a:rPr lang="en-US" dirty="0"/>
              <a:t>4</a:t>
            </a:r>
            <a:r>
              <a:rPr lang="en-US" baseline="30000" dirty="0"/>
              <a:t>th</a:t>
            </a:r>
            <a:r>
              <a:rPr lang="en-US" dirty="0"/>
              <a:t> level is available, and also represents the minimum font size In any text box</a:t>
            </a:r>
          </a:p>
        </p:txBody>
      </p:sp>
      <p:sp>
        <p:nvSpPr>
          <p:cNvPr id="2" name="Text Placeholder 1"/>
          <p:cNvSpPr>
            <a:spLocks noGrp="1"/>
          </p:cNvSpPr>
          <p:nvPr>
            <p:ph type="body" sz="quarter" idx="13"/>
          </p:nvPr>
        </p:nvSpPr>
        <p:spPr/>
        <p:txBody>
          <a:bodyPr/>
          <a:lstStyle/>
          <a:p>
            <a:r>
              <a:rPr lang="en-US" dirty="0"/>
              <a:t>Bullets with Indentation</a:t>
            </a:r>
          </a:p>
        </p:txBody>
      </p:sp>
    </p:spTree>
    <p:extLst>
      <p:ext uri="{BB962C8B-B14F-4D97-AF65-F5344CB8AC3E}">
        <p14:creationId xmlns:p14="http://schemas.microsoft.com/office/powerpoint/2010/main" val="40793551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p:cNvPicPr>
            <a:picLocks noGrp="1" noChangeAspect="1"/>
          </p:cNvPicPr>
          <p:nvPr>
            <p:ph type="pic" sz="quarter" idx="12"/>
          </p:nvPr>
        </p:nvPicPr>
        <p:blipFill>
          <a:blip r:embed="rId7" cstate="screen">
            <a:extLst>
              <a:ext uri="{28A0092B-C50C-407E-A947-70E740481C1C}">
                <a14:useLocalDpi xmlns:a14="http://schemas.microsoft.com/office/drawing/2010/main"/>
              </a:ext>
            </a:extLst>
          </a:blip>
          <a:stretch>
            <a:fillRect/>
          </a:stretch>
        </p:blipFill>
        <p:spPr>
          <a:xfrm>
            <a:off x="536510" y="1826821"/>
            <a:ext cx="1239609" cy="1611493"/>
          </a:xfrm>
        </p:spPr>
      </p:pic>
      <p:pic>
        <p:nvPicPr>
          <p:cNvPr id="40" name="Picture Placeholder 39"/>
          <p:cNvPicPr>
            <a:picLocks noGrp="1" noChangeAspect="1"/>
          </p:cNvPicPr>
          <p:nvPr>
            <p:ph type="pic" sz="quarter" idx="17"/>
          </p:nvPr>
        </p:nvPicPr>
        <p:blipFill>
          <a:blip r:embed="rId8" cstate="screen">
            <a:extLst>
              <a:ext uri="{28A0092B-C50C-407E-A947-70E740481C1C}">
                <a14:useLocalDpi xmlns:a14="http://schemas.microsoft.com/office/drawing/2010/main"/>
              </a:ext>
            </a:extLst>
          </a:blip>
          <a:stretch>
            <a:fillRect/>
          </a:stretch>
        </p:blipFill>
        <p:spPr>
          <a:xfrm>
            <a:off x="3096901" y="1826821"/>
            <a:ext cx="1239609" cy="1611493"/>
          </a:xfrm>
        </p:spPr>
      </p:pic>
      <p:pic>
        <p:nvPicPr>
          <p:cNvPr id="41" name="Picture Placeholder 40"/>
          <p:cNvPicPr>
            <a:picLocks noGrp="1" noChangeAspect="1"/>
          </p:cNvPicPr>
          <p:nvPr>
            <p:ph type="pic" sz="quarter" idx="18"/>
          </p:nvPr>
        </p:nvPicPr>
        <p:blipFill>
          <a:blip r:embed="rId9" cstate="screen">
            <a:extLst>
              <a:ext uri="{28A0092B-C50C-407E-A947-70E740481C1C}">
                <a14:useLocalDpi xmlns:a14="http://schemas.microsoft.com/office/drawing/2010/main"/>
              </a:ext>
            </a:extLst>
          </a:blip>
          <a:stretch>
            <a:fillRect/>
          </a:stretch>
        </p:blipFill>
        <p:spPr>
          <a:xfrm>
            <a:off x="5598677" y="1826821"/>
            <a:ext cx="1239609" cy="1611493"/>
          </a:xfrm>
        </p:spPr>
      </p:pic>
      <p:pic>
        <p:nvPicPr>
          <p:cNvPr id="42" name="Picture Placeholder 41"/>
          <p:cNvPicPr>
            <a:picLocks noGrp="1" noChangeAspect="1"/>
          </p:cNvPicPr>
          <p:nvPr>
            <p:ph type="pic" sz="quarter" idx="19"/>
          </p:nvPr>
        </p:nvPicPr>
        <p:blipFill>
          <a:blip r:embed="rId10" cstate="screen">
            <a:extLst>
              <a:ext uri="{28A0092B-C50C-407E-A947-70E740481C1C}">
                <a14:useLocalDpi xmlns:a14="http://schemas.microsoft.com/office/drawing/2010/main"/>
              </a:ext>
            </a:extLst>
          </a:blip>
          <a:stretch>
            <a:fillRect/>
          </a:stretch>
        </p:blipFill>
        <p:spPr>
          <a:xfrm>
            <a:off x="8112176" y="1826821"/>
            <a:ext cx="1239609" cy="1611493"/>
          </a:xfrm>
        </p:spPr>
      </p:pic>
      <p:pic>
        <p:nvPicPr>
          <p:cNvPr id="43" name="Picture Placeholder 42"/>
          <p:cNvPicPr>
            <a:picLocks noGrp="1" noChangeAspect="1"/>
          </p:cNvPicPr>
          <p:nvPr>
            <p:ph type="pic" sz="quarter" idx="20"/>
          </p:nvPr>
        </p:nvPicPr>
        <p:blipFill>
          <a:blip r:embed="rId11" cstate="screen">
            <a:extLst>
              <a:ext uri="{28A0092B-C50C-407E-A947-70E740481C1C}">
                <a14:useLocalDpi xmlns:a14="http://schemas.microsoft.com/office/drawing/2010/main"/>
              </a:ext>
            </a:extLst>
          </a:blip>
          <a:stretch>
            <a:fillRect/>
          </a:stretch>
        </p:blipFill>
        <p:spPr>
          <a:xfrm>
            <a:off x="10602228" y="1826821"/>
            <a:ext cx="1239609" cy="1611493"/>
          </a:xfrm>
        </p:spPr>
      </p:pic>
      <p:sp>
        <p:nvSpPr>
          <p:cNvPr id="12" name="Text Placeholder 11"/>
          <p:cNvSpPr>
            <a:spLocks noGrp="1"/>
          </p:cNvSpPr>
          <p:nvPr>
            <p:ph type="body" sz="quarter" idx="13"/>
          </p:nvPr>
        </p:nvSpPr>
        <p:spPr>
          <a:xfrm>
            <a:off x="501650" y="287338"/>
            <a:ext cx="11690350" cy="498475"/>
          </a:xfrm>
        </p:spPr>
        <p:txBody>
          <a:bodyPr/>
          <a:lstStyle/>
          <a:p>
            <a:r>
              <a:rPr lang="en-US" dirty="0"/>
              <a:t>Leadership</a:t>
            </a:r>
          </a:p>
        </p:txBody>
      </p:sp>
      <p:sp>
        <p:nvSpPr>
          <p:cNvPr id="16" name="TextBox 15"/>
          <p:cNvSpPr txBox="1"/>
          <p:nvPr>
            <p:custDataLst>
              <p:tags r:id="rId1"/>
            </p:custDataLst>
          </p:nvPr>
        </p:nvSpPr>
        <p:spPr>
          <a:xfrm>
            <a:off x="205390" y="3621048"/>
            <a:ext cx="2115784" cy="2246769"/>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Yung Kim</a:t>
            </a: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CEO</a:t>
            </a:r>
          </a:p>
          <a:p>
            <a:pPr indent="0" algn="ctr" fontAlgn="ctr">
              <a:lnSpc>
                <a:spcPct val="100000"/>
              </a:lnSpc>
              <a:spcBef>
                <a:spcPts val="0"/>
              </a:spcBef>
              <a:spcAft>
                <a:spcPts val="0"/>
              </a:spcAft>
              <a:buClr>
                <a:srgbClr val="007CC2"/>
              </a:buClr>
              <a:buNone/>
              <a:defRPr/>
            </a:pPr>
            <a:endParaRPr lang="en-US" sz="800" dirty="0">
              <a:solidFill>
                <a:schemeClr val="accent1"/>
              </a:solidFill>
              <a:latin typeface="+mj-lt"/>
              <a:cs typeface="Times New Roman" pitchFamily="18" charset="0"/>
            </a:endParaRPr>
          </a:p>
          <a:p>
            <a:pPr indent="0" algn="ctr">
              <a:lnSpc>
                <a:spcPct val="100000"/>
              </a:lnSpc>
              <a:spcBef>
                <a:spcPts val="0"/>
              </a:spcBef>
              <a:spcAft>
                <a:spcPts val="0"/>
              </a:spcAft>
              <a:buClr>
                <a:schemeClr val="accent3"/>
              </a:buClr>
              <a:buNone/>
            </a:pPr>
            <a:r>
              <a:rPr lang="en-US" sz="1400" dirty="0">
                <a:solidFill>
                  <a:schemeClr val="accent1"/>
                </a:solidFill>
              </a:rPr>
              <a:t>5 years as President and Executive Board Member</a:t>
            </a:r>
          </a:p>
          <a:p>
            <a:pPr indent="0" algn="ctr">
              <a:lnSpc>
                <a:spcPct val="100000"/>
              </a:lnSpc>
              <a:spcBef>
                <a:spcPts val="0"/>
              </a:spcBef>
              <a:spcAft>
                <a:spcPts val="0"/>
              </a:spcAft>
              <a:buClr>
                <a:schemeClr val="accent3"/>
              </a:buClr>
              <a:buNone/>
            </a:pPr>
            <a:r>
              <a:rPr lang="en-US" sz="1400" dirty="0">
                <a:solidFill>
                  <a:schemeClr val="accent1"/>
                </a:solidFill>
              </a:rPr>
              <a:t>Chief Strategy Officer at Korea Telecom</a:t>
            </a:r>
          </a:p>
          <a:p>
            <a:pPr indent="0" algn="ctr">
              <a:lnSpc>
                <a:spcPct val="100000"/>
              </a:lnSpc>
              <a:spcBef>
                <a:spcPts val="0"/>
              </a:spcBef>
              <a:spcAft>
                <a:spcPts val="0"/>
              </a:spcAft>
              <a:buClr>
                <a:schemeClr val="accent3"/>
              </a:buClr>
              <a:buNone/>
            </a:pPr>
            <a:r>
              <a:rPr lang="en-US" altLang="en-US" sz="1400" dirty="0">
                <a:solidFill>
                  <a:srgbClr val="A7A7A7">
                    <a:lumMod val="50000"/>
                  </a:srgbClr>
                </a:solidFill>
                <a:cs typeface="Arial" panose="020B0604020202020204" pitchFamily="34" charset="0"/>
                <a:sym typeface="Arial" panose="020B0604020202020204" pitchFamily="34" charset="0"/>
              </a:rPr>
              <a:t>Various leadership roles over 28 years</a:t>
            </a:r>
          </a:p>
        </p:txBody>
      </p:sp>
      <p:sp>
        <p:nvSpPr>
          <p:cNvPr id="21" name="TextBox 20"/>
          <p:cNvSpPr txBox="1"/>
          <p:nvPr>
            <p:custDataLst>
              <p:tags r:id="rId2"/>
            </p:custDataLst>
          </p:nvPr>
        </p:nvSpPr>
        <p:spPr>
          <a:xfrm>
            <a:off x="2766651" y="3621048"/>
            <a:ext cx="2098430" cy="2739211"/>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Michael </a:t>
            </a:r>
            <a:r>
              <a:rPr lang="en-US" sz="1800" b="1" dirty="0" err="1">
                <a:solidFill>
                  <a:schemeClr val="accent1"/>
                </a:solidFill>
                <a:latin typeface="+mj-lt"/>
                <a:cs typeface="Times New Roman" pitchFamily="18" charset="0"/>
              </a:rPr>
              <a:t>Golomb</a:t>
            </a:r>
            <a:endParaRPr lang="en-US" sz="1800" b="1" dirty="0">
              <a:solidFill>
                <a:schemeClr val="accent1"/>
              </a:solidFill>
              <a:latin typeface="+mj-lt"/>
              <a:cs typeface="Times New Roman" pitchFamily="18" charset="0"/>
            </a:endParaRP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CFO</a:t>
            </a:r>
          </a:p>
          <a:p>
            <a:pPr indent="0" algn="ctr" fontAlgn="ctr">
              <a:lnSpc>
                <a:spcPct val="100000"/>
              </a:lnSpc>
              <a:spcBef>
                <a:spcPts val="0"/>
              </a:spcBef>
              <a:spcAft>
                <a:spcPts val="0"/>
              </a:spcAft>
              <a:buClr>
                <a:srgbClr val="007CC2"/>
              </a:buClr>
              <a:buNone/>
              <a:defRPr/>
            </a:pPr>
            <a:endParaRPr lang="en-US" sz="800" dirty="0">
              <a:solidFill>
                <a:schemeClr val="accent1"/>
              </a:solidFill>
              <a:latin typeface="+mj-lt"/>
              <a:cs typeface="Times New Roman" pitchFamily="18" charset="0"/>
            </a:endParaRP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20+ years global senior management experience</a:t>
            </a: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CFO at </a:t>
            </a:r>
            <a:r>
              <a:rPr lang="en-US" altLang="en-US" sz="1400" dirty="0" err="1">
                <a:solidFill>
                  <a:srgbClr val="A7A7A7">
                    <a:lumMod val="50000"/>
                  </a:srgbClr>
                </a:solidFill>
                <a:cs typeface="Arial" panose="020B0604020202020204" pitchFamily="34" charset="0"/>
                <a:sym typeface="Arial" panose="020B0604020202020204" pitchFamily="34" charset="0"/>
              </a:rPr>
              <a:t>BitFury</a:t>
            </a:r>
            <a:r>
              <a:rPr lang="en-US" altLang="en-US" sz="1400" dirty="0">
                <a:solidFill>
                  <a:srgbClr val="A7A7A7">
                    <a:lumMod val="50000"/>
                  </a:srgbClr>
                </a:solidFill>
                <a:cs typeface="Arial" panose="020B0604020202020204" pitchFamily="34" charset="0"/>
                <a:sym typeface="Arial" panose="020B0604020202020204" pitchFamily="34" charset="0"/>
              </a:rPr>
              <a:t> (</a:t>
            </a:r>
            <a:r>
              <a:rPr lang="en-US" altLang="en-US" sz="1400" dirty="0" err="1">
                <a:solidFill>
                  <a:srgbClr val="A7A7A7">
                    <a:lumMod val="50000"/>
                  </a:srgbClr>
                </a:solidFill>
                <a:cs typeface="Arial" panose="020B0604020202020204" pitchFamily="34" charset="0"/>
                <a:sym typeface="Arial" panose="020B0604020202020204" pitchFamily="34" charset="0"/>
              </a:rPr>
              <a:t>Blockchain</a:t>
            </a:r>
            <a:r>
              <a:rPr lang="en-US" altLang="en-US" sz="1400" dirty="0">
                <a:solidFill>
                  <a:srgbClr val="A7A7A7">
                    <a:lumMod val="50000"/>
                  </a:srgbClr>
                </a:solidFill>
                <a:cs typeface="Arial" panose="020B0604020202020204" pitchFamily="34" charset="0"/>
                <a:sym typeface="Arial" panose="020B0604020202020204" pitchFamily="34" charset="0"/>
              </a:rPr>
              <a:t>)</a:t>
            </a: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CFO at Sistema Hals (IPO on LSE), CFO </a:t>
            </a:r>
            <a:r>
              <a:rPr lang="en-US" altLang="en-US" sz="1400" dirty="0" err="1">
                <a:solidFill>
                  <a:srgbClr val="A7A7A7">
                    <a:lumMod val="50000"/>
                  </a:srgbClr>
                </a:solidFill>
                <a:cs typeface="Arial" panose="020B0604020202020204" pitchFamily="34" charset="0"/>
                <a:sym typeface="Arial" panose="020B0604020202020204" pitchFamily="34" charset="0"/>
              </a:rPr>
              <a:t>Breathometer</a:t>
            </a:r>
            <a:r>
              <a:rPr lang="en-US" altLang="en-US" sz="1400" dirty="0">
                <a:solidFill>
                  <a:srgbClr val="A7A7A7">
                    <a:lumMod val="50000"/>
                  </a:srgbClr>
                </a:solidFill>
                <a:cs typeface="Arial" panose="020B0604020202020204" pitchFamily="34" charset="0"/>
                <a:sym typeface="Arial" panose="020B0604020202020204" pitchFamily="34" charset="0"/>
              </a:rPr>
              <a:t>, PwC</a:t>
            </a:r>
          </a:p>
          <a:p>
            <a:pPr marL="85725" indent="-85725" defTabSz="1219200" eaLnBrk="0" fontAlgn="base" hangingPunct="0">
              <a:lnSpc>
                <a:spcPct val="100000"/>
              </a:lnSpc>
              <a:spcBef>
                <a:spcPct val="0"/>
              </a:spcBef>
              <a:spcAft>
                <a:spcPct val="0"/>
              </a:spcAft>
              <a:buFontTx/>
              <a:buChar char="•"/>
              <a:defRPr/>
            </a:pPr>
            <a:endParaRPr lang="en-US" altLang="en-US" sz="1600" dirty="0">
              <a:solidFill>
                <a:srgbClr val="A7A7A7">
                  <a:lumMod val="50000"/>
                </a:srgbClr>
              </a:solidFill>
              <a:cs typeface="Arial" panose="020B0604020202020204" pitchFamily="34" charset="0"/>
              <a:sym typeface="Arial" panose="020B0604020202020204" pitchFamily="34" charset="0"/>
            </a:endParaRPr>
          </a:p>
          <a:p>
            <a:pPr marL="85725" indent="-85725" defTabSz="1219200" eaLnBrk="0" fontAlgn="base" hangingPunct="0">
              <a:lnSpc>
                <a:spcPct val="100000"/>
              </a:lnSpc>
              <a:spcBef>
                <a:spcPct val="0"/>
              </a:spcBef>
              <a:spcAft>
                <a:spcPct val="0"/>
              </a:spcAft>
              <a:buFontTx/>
              <a:buChar char="•"/>
              <a:defRPr/>
            </a:pPr>
            <a:endParaRPr lang="en-US" altLang="en-US" sz="1600" dirty="0">
              <a:solidFill>
                <a:srgbClr val="A7A7A7">
                  <a:lumMod val="50000"/>
                </a:srgbClr>
              </a:solidFill>
              <a:cs typeface="Arial" panose="020B0604020202020204" pitchFamily="34" charset="0"/>
              <a:sym typeface="Arial" panose="020B0604020202020204" pitchFamily="34" charset="0"/>
            </a:endParaRPr>
          </a:p>
        </p:txBody>
      </p:sp>
      <p:sp>
        <p:nvSpPr>
          <p:cNvPr id="22" name="TextBox 21"/>
          <p:cNvSpPr txBox="1"/>
          <p:nvPr>
            <p:custDataLst>
              <p:tags r:id="rId3"/>
            </p:custDataLst>
          </p:nvPr>
        </p:nvSpPr>
        <p:spPr>
          <a:xfrm>
            <a:off x="5251942" y="3603340"/>
            <a:ext cx="2098430" cy="2508379"/>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Philip </a:t>
            </a:r>
            <a:r>
              <a:rPr lang="en-US" sz="1800" b="1" dirty="0" err="1">
                <a:solidFill>
                  <a:schemeClr val="accent1"/>
                </a:solidFill>
                <a:latin typeface="+mj-lt"/>
                <a:cs typeface="Times New Roman" pitchFamily="18" charset="0"/>
              </a:rPr>
              <a:t>Yim</a:t>
            </a:r>
            <a:endParaRPr lang="en-US" sz="1800" b="1" dirty="0">
              <a:solidFill>
                <a:schemeClr val="accent1"/>
              </a:solidFill>
              <a:latin typeface="+mj-lt"/>
              <a:cs typeface="Times New Roman" pitchFamily="18" charset="0"/>
            </a:endParaRP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COO</a:t>
            </a:r>
            <a:endParaRPr lang="en-US" sz="1400" dirty="0">
              <a:solidFill>
                <a:schemeClr val="accent1"/>
              </a:solidFill>
              <a:latin typeface="+mj-lt"/>
              <a:cs typeface="Times New Roman" pitchFamily="18" charset="0"/>
            </a:endParaRPr>
          </a:p>
          <a:p>
            <a:pPr indent="0" algn="ctr" defTabSz="1219200" eaLnBrk="0" fontAlgn="base" hangingPunct="0">
              <a:lnSpc>
                <a:spcPct val="100000"/>
              </a:lnSpc>
              <a:spcBef>
                <a:spcPct val="0"/>
              </a:spcBef>
              <a:spcAft>
                <a:spcPct val="0"/>
              </a:spcAft>
              <a:buNone/>
              <a:defRPr/>
            </a:pPr>
            <a:endParaRPr lang="en-US" altLang="en-US" sz="700" dirty="0">
              <a:solidFill>
                <a:srgbClr val="A7A7A7">
                  <a:lumMod val="50000"/>
                </a:srgbClr>
              </a:solidFill>
              <a:cs typeface="Arial" panose="020B0604020202020204" pitchFamily="34" charset="0"/>
              <a:sym typeface="Arial" panose="020B0604020202020204" pitchFamily="34" charset="0"/>
            </a:endParaRP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30+ years in industry</a:t>
            </a: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Founded Turin Networks, which was acquired by Dell</a:t>
            </a: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Over 2+ billion ports shipped</a:t>
            </a:r>
          </a:p>
          <a:p>
            <a:pPr marL="171450" indent="-171450" defTabSz="1219200" eaLnBrk="0" fontAlgn="base" hangingPunct="0">
              <a:lnSpc>
                <a:spcPct val="100000"/>
              </a:lnSpc>
              <a:spcBef>
                <a:spcPct val="0"/>
              </a:spcBef>
              <a:spcAft>
                <a:spcPct val="0"/>
              </a:spcAft>
              <a:buFontTx/>
              <a:buChar char="•"/>
              <a:defRPr/>
            </a:pPr>
            <a:endParaRPr lang="en-US" altLang="en-US" sz="1600" dirty="0">
              <a:solidFill>
                <a:srgbClr val="A7A7A7">
                  <a:lumMod val="50000"/>
                </a:srgbClr>
              </a:solidFill>
              <a:cs typeface="Arial" panose="020B0604020202020204" pitchFamily="34" charset="0"/>
              <a:sym typeface="Arial" panose="020B0604020202020204" pitchFamily="34" charset="0"/>
            </a:endParaRPr>
          </a:p>
          <a:p>
            <a:pPr marL="171450" indent="-171450" defTabSz="1219200" eaLnBrk="0" fontAlgn="base" hangingPunct="0">
              <a:lnSpc>
                <a:spcPct val="100000"/>
              </a:lnSpc>
              <a:spcBef>
                <a:spcPct val="0"/>
              </a:spcBef>
              <a:spcAft>
                <a:spcPct val="0"/>
              </a:spcAft>
              <a:buFontTx/>
              <a:buChar char="•"/>
              <a:defRPr/>
            </a:pPr>
            <a:endParaRPr lang="en-US" altLang="en-US" sz="1600" dirty="0">
              <a:solidFill>
                <a:srgbClr val="A7A7A7">
                  <a:lumMod val="50000"/>
                </a:srgbClr>
              </a:solidFill>
              <a:cs typeface="Arial" panose="020B0604020202020204" pitchFamily="34" charset="0"/>
              <a:sym typeface="Arial" panose="020B0604020202020204" pitchFamily="34" charset="0"/>
            </a:endParaRPr>
          </a:p>
        </p:txBody>
      </p:sp>
      <p:sp>
        <p:nvSpPr>
          <p:cNvPr id="23" name="TextBox 22"/>
          <p:cNvSpPr txBox="1"/>
          <p:nvPr>
            <p:custDataLst>
              <p:tags r:id="rId4"/>
            </p:custDataLst>
          </p:nvPr>
        </p:nvSpPr>
        <p:spPr>
          <a:xfrm>
            <a:off x="7784123" y="3621048"/>
            <a:ext cx="2098430" cy="2046714"/>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Dr. S.D. Lee</a:t>
            </a: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CTO</a:t>
            </a:r>
          </a:p>
          <a:p>
            <a:pPr indent="0" algn="ctr" defTabSz="1219200" eaLnBrk="0" fontAlgn="base" hangingPunct="0">
              <a:lnSpc>
                <a:spcPct val="100000"/>
              </a:lnSpc>
              <a:spcBef>
                <a:spcPct val="0"/>
              </a:spcBef>
              <a:spcAft>
                <a:spcPct val="0"/>
              </a:spcAft>
              <a:buNone/>
              <a:defRPr/>
            </a:pPr>
            <a:endParaRPr lang="en-US" altLang="en-US" sz="700" dirty="0">
              <a:solidFill>
                <a:srgbClr val="A7A7A7">
                  <a:lumMod val="50000"/>
                </a:srgbClr>
              </a:solidFill>
              <a:cs typeface="Arial" panose="020B0604020202020204" pitchFamily="34" charset="0"/>
              <a:sym typeface="Arial" panose="020B0604020202020204" pitchFamily="34" charset="0"/>
            </a:endParaRP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20+ years in industry</a:t>
            </a: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Various management roles in Engineering, Design, and Development </a:t>
            </a:r>
          </a:p>
          <a:p>
            <a:pPr indent="0" defTabSz="1219200" eaLnBrk="0" fontAlgn="base" hangingPunct="0">
              <a:lnSpc>
                <a:spcPct val="100000"/>
              </a:lnSpc>
              <a:spcBef>
                <a:spcPct val="0"/>
              </a:spcBef>
              <a:spcAft>
                <a:spcPct val="0"/>
              </a:spcAft>
              <a:buNone/>
              <a:defRPr/>
            </a:pPr>
            <a:endParaRPr lang="en-US" altLang="en-US" sz="1600" dirty="0">
              <a:solidFill>
                <a:srgbClr val="A7A7A7">
                  <a:lumMod val="50000"/>
                </a:srgbClr>
              </a:solidFill>
              <a:cs typeface="Arial" panose="020B0604020202020204" pitchFamily="34" charset="0"/>
              <a:sym typeface="Arial" panose="020B0604020202020204" pitchFamily="34" charset="0"/>
            </a:endParaRPr>
          </a:p>
        </p:txBody>
      </p:sp>
      <p:sp>
        <p:nvSpPr>
          <p:cNvPr id="24" name="TextBox 23"/>
          <p:cNvSpPr txBox="1"/>
          <p:nvPr>
            <p:custDataLst>
              <p:tags r:id="rId5"/>
            </p:custDataLst>
          </p:nvPr>
        </p:nvSpPr>
        <p:spPr>
          <a:xfrm>
            <a:off x="10210800" y="3603340"/>
            <a:ext cx="1981200" cy="2523768"/>
          </a:xfrm>
          <a:prstGeom prst="rect">
            <a:avLst/>
          </a:prstGeom>
          <a:noFill/>
          <a:ln w="3175">
            <a:noFill/>
          </a:ln>
        </p:spPr>
        <p:txBody>
          <a:bodyPr wrap="square">
            <a:spAutoFit/>
          </a:bodyPr>
          <a:lstStyle>
            <a:defPPr>
              <a:defRPr lang="ru-RU"/>
            </a:defPPr>
            <a:lvl1pPr indent="85725">
              <a:lnSpc>
                <a:spcPct val="125000"/>
              </a:lnSpc>
              <a:spcBef>
                <a:spcPts val="300"/>
              </a:spcBef>
              <a:spcAft>
                <a:spcPts val="300"/>
              </a:spcAft>
              <a:buFont typeface="Wingdings" pitchFamily="2" charset="2"/>
              <a:buChar char="§"/>
              <a:defRPr sz="1050" b="0"/>
            </a:lvl1pPr>
          </a:lstStyle>
          <a:p>
            <a:pPr indent="0" algn="ctr" fontAlgn="ctr">
              <a:lnSpc>
                <a:spcPct val="100000"/>
              </a:lnSpc>
              <a:spcBef>
                <a:spcPts val="0"/>
              </a:spcBef>
              <a:spcAft>
                <a:spcPts val="0"/>
              </a:spcAft>
              <a:buClr>
                <a:srgbClr val="007CC2"/>
              </a:buClr>
              <a:buNone/>
              <a:defRPr/>
            </a:pPr>
            <a:r>
              <a:rPr lang="en-US" sz="1800" b="1" dirty="0">
                <a:solidFill>
                  <a:schemeClr val="accent1"/>
                </a:solidFill>
                <a:latin typeface="+mj-lt"/>
                <a:cs typeface="Times New Roman" pitchFamily="18" charset="0"/>
              </a:rPr>
              <a:t>Jun </a:t>
            </a:r>
            <a:r>
              <a:rPr lang="en-US" sz="1800" b="1" dirty="0" err="1">
                <a:solidFill>
                  <a:schemeClr val="accent1"/>
                </a:solidFill>
                <a:latin typeface="+mj-lt"/>
                <a:cs typeface="Times New Roman" pitchFamily="18" charset="0"/>
              </a:rPr>
              <a:t>Bahk</a:t>
            </a:r>
            <a:endParaRPr lang="en-US" sz="1800" b="1" dirty="0">
              <a:solidFill>
                <a:schemeClr val="accent1"/>
              </a:solidFill>
              <a:latin typeface="+mj-lt"/>
              <a:cs typeface="Times New Roman" pitchFamily="18" charset="0"/>
            </a:endParaRPr>
          </a:p>
          <a:p>
            <a:pPr indent="0" algn="ctr" fontAlgn="ctr">
              <a:lnSpc>
                <a:spcPct val="100000"/>
              </a:lnSpc>
              <a:spcBef>
                <a:spcPts val="0"/>
              </a:spcBef>
              <a:spcAft>
                <a:spcPts val="0"/>
              </a:spcAft>
              <a:buClr>
                <a:srgbClr val="007CC2"/>
              </a:buClr>
              <a:buNone/>
              <a:defRPr/>
            </a:pPr>
            <a:r>
              <a:rPr lang="en-US" sz="1600" dirty="0">
                <a:solidFill>
                  <a:schemeClr val="accent1"/>
                </a:solidFill>
                <a:latin typeface="+mj-lt"/>
                <a:cs typeface="Times New Roman" pitchFamily="18" charset="0"/>
              </a:rPr>
              <a:t>SVP, Global Sales</a:t>
            </a:r>
          </a:p>
          <a:p>
            <a:pPr indent="0" algn="ctr" defTabSz="1219200" eaLnBrk="0" fontAlgn="base" hangingPunct="0">
              <a:lnSpc>
                <a:spcPct val="100000"/>
              </a:lnSpc>
              <a:spcBef>
                <a:spcPct val="0"/>
              </a:spcBef>
              <a:spcAft>
                <a:spcPct val="0"/>
              </a:spcAft>
              <a:buNone/>
              <a:defRPr/>
            </a:pPr>
            <a:endParaRPr lang="en-US" altLang="en-US" sz="800" dirty="0">
              <a:solidFill>
                <a:srgbClr val="A7A7A7">
                  <a:lumMod val="50000"/>
                </a:srgbClr>
              </a:solidFill>
              <a:cs typeface="Arial" panose="020B0604020202020204" pitchFamily="34" charset="0"/>
              <a:sym typeface="Arial" panose="020B0604020202020204" pitchFamily="34" charset="0"/>
            </a:endParaRP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SVP &amp; Head of Global Business at Korea Telecom</a:t>
            </a:r>
          </a:p>
          <a:p>
            <a:pPr indent="0" algn="ctr" defTabSz="1219200" eaLnBrk="0" fontAlgn="base" hangingPunct="0">
              <a:lnSpc>
                <a:spcPct val="100000"/>
              </a:lnSpc>
              <a:spcBef>
                <a:spcPct val="0"/>
              </a:spcBef>
              <a:spcAft>
                <a:spcPct val="0"/>
              </a:spcAft>
              <a:buNone/>
              <a:defRPr/>
            </a:pPr>
            <a:r>
              <a:rPr lang="en-US" altLang="en-US" sz="1400" dirty="0">
                <a:solidFill>
                  <a:srgbClr val="A7A7A7">
                    <a:lumMod val="50000"/>
                  </a:srgbClr>
                </a:solidFill>
                <a:cs typeface="Arial" panose="020B0604020202020204" pitchFamily="34" charset="0"/>
                <a:sym typeface="Arial" panose="020B0604020202020204" pitchFamily="34" charset="0"/>
              </a:rPr>
              <a:t>Various senior management positions at British Telecom</a:t>
            </a:r>
          </a:p>
          <a:p>
            <a:pPr marL="171450" indent="-171450" algn="ctr" defTabSz="1219200" eaLnBrk="0" fontAlgn="base" hangingPunct="0">
              <a:lnSpc>
                <a:spcPct val="100000"/>
              </a:lnSpc>
              <a:spcBef>
                <a:spcPct val="0"/>
              </a:spcBef>
              <a:spcAft>
                <a:spcPct val="0"/>
              </a:spcAft>
              <a:buFontTx/>
              <a:buChar char="•"/>
              <a:defRPr/>
            </a:pPr>
            <a:endParaRPr lang="en-US" altLang="en-US" sz="1600" dirty="0">
              <a:solidFill>
                <a:srgbClr val="A7A7A7">
                  <a:lumMod val="50000"/>
                </a:srgbClr>
              </a:solidFill>
              <a:cs typeface="Arial" panose="020B0604020202020204" pitchFamily="34" charset="0"/>
              <a:sym typeface="Arial" panose="020B0604020202020204" pitchFamily="34" charset="0"/>
            </a:endParaRPr>
          </a:p>
          <a:p>
            <a:pPr marL="171450" indent="-171450" algn="ctr" defTabSz="1219200" eaLnBrk="0" fontAlgn="base" hangingPunct="0">
              <a:lnSpc>
                <a:spcPct val="100000"/>
              </a:lnSpc>
              <a:spcBef>
                <a:spcPct val="0"/>
              </a:spcBef>
              <a:spcAft>
                <a:spcPct val="0"/>
              </a:spcAft>
              <a:buFontTx/>
              <a:buChar char="•"/>
              <a:defRPr/>
            </a:pPr>
            <a:endParaRPr lang="en-US" altLang="en-US" sz="1600" dirty="0">
              <a:solidFill>
                <a:srgbClr val="A7A7A7">
                  <a:lumMod val="50000"/>
                </a:srgbClr>
              </a:solidFill>
              <a:cs typeface="Arial" panose="020B0604020202020204" pitchFamily="34" charset="0"/>
              <a:sym typeface="Arial" panose="020B0604020202020204" pitchFamily="34" charset="0"/>
            </a:endParaRPr>
          </a:p>
        </p:txBody>
      </p:sp>
      <p:pic>
        <p:nvPicPr>
          <p:cNvPr id="13" name="Picture 7">
            <a:extLst>
              <a:ext uri="{FF2B5EF4-FFF2-40B4-BE49-F238E27FC236}">
                <a16:creationId xmlns:a16="http://schemas.microsoft.com/office/drawing/2014/main" id="{8E7F3371-C46F-4DFC-B8E2-A9822EEF55A2}"/>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94980" y="1502155"/>
            <a:ext cx="369888" cy="299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
            <a:extLst>
              <a:ext uri="{FF2B5EF4-FFF2-40B4-BE49-F238E27FC236}">
                <a16:creationId xmlns:a16="http://schemas.microsoft.com/office/drawing/2014/main" id="{23EB7E0C-AAA8-4711-A5B5-C2284EF79A49}"/>
              </a:ext>
            </a:extLst>
          </p:cNvPr>
          <p:cNvPicPr>
            <a:picLocks noChangeAspect="1"/>
          </p:cNvPicPr>
          <p:nvPr/>
        </p:nvPicPr>
        <p:blipFill>
          <a:blip r:embed="rId13" cstate="email">
            <a:extLst>
              <a:ext uri="{28A0092B-C50C-407E-A947-70E740481C1C}">
                <a14:useLocalDpi xmlns:a14="http://schemas.microsoft.com/office/drawing/2010/main"/>
              </a:ext>
            </a:extLst>
          </a:blip>
          <a:srcRect/>
          <a:stretch>
            <a:fillRect/>
          </a:stretch>
        </p:blipFill>
        <p:spPr bwMode="auto">
          <a:xfrm>
            <a:off x="960049" y="1477152"/>
            <a:ext cx="772319"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8" descr="Bitfury">
            <a:extLst>
              <a:ext uri="{FF2B5EF4-FFF2-40B4-BE49-F238E27FC236}">
                <a16:creationId xmlns:a16="http://schemas.microsoft.com/office/drawing/2014/main" id="{01352363-DB73-4F6A-97B8-29E64DA1F29D}"/>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191608" y="1587819"/>
            <a:ext cx="446088"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0" descr="Trimble Navigation">
            <a:extLst>
              <a:ext uri="{FF2B5EF4-FFF2-40B4-BE49-F238E27FC236}">
                <a16:creationId xmlns:a16="http://schemas.microsoft.com/office/drawing/2014/main" id="{4B4E03CE-1106-4404-B711-1FCB54C7951A}"/>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3733805" y="1550696"/>
            <a:ext cx="217488"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a:extLst>
              <a:ext uri="{FF2B5EF4-FFF2-40B4-BE49-F238E27FC236}">
                <a16:creationId xmlns:a16="http://schemas.microsoft.com/office/drawing/2014/main" id="{8DE4D0F0-D4FD-4D5B-94C2-F4DDB593BFEE}"/>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023947" y="1535218"/>
            <a:ext cx="344488" cy="248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
            <a:extLst>
              <a:ext uri="{FF2B5EF4-FFF2-40B4-BE49-F238E27FC236}">
                <a16:creationId xmlns:a16="http://schemas.microsoft.com/office/drawing/2014/main" id="{59F6C8CC-E142-46A2-9EB3-8A8367D3B92C}"/>
              </a:ext>
            </a:extLst>
          </p:cNvPr>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664234" y="1594735"/>
            <a:ext cx="376081" cy="188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3">
            <a:extLst>
              <a:ext uri="{FF2B5EF4-FFF2-40B4-BE49-F238E27FC236}">
                <a16:creationId xmlns:a16="http://schemas.microsoft.com/office/drawing/2014/main" id="{801307BD-A19D-4612-9587-3A6FEA9EFF3B}"/>
              </a:ext>
            </a:extLst>
          </p:cNvPr>
          <p:cNvPicPr>
            <a:picLocks noChangeAspect="1"/>
          </p:cNvPicPr>
          <p:nvPr/>
        </p:nvPicPr>
        <p:blipFill>
          <a:blip r:embed="rId18" cstate="screen">
            <a:extLst>
              <a:ext uri="{28A0092B-C50C-407E-A947-70E740481C1C}">
                <a14:useLocalDpi xmlns:a14="http://schemas.microsoft.com/office/drawing/2010/main"/>
              </a:ext>
            </a:extLst>
          </a:blip>
          <a:srcRect l="-2413"/>
          <a:stretch>
            <a:fillRect/>
          </a:stretch>
        </p:blipFill>
        <p:spPr bwMode="auto">
          <a:xfrm>
            <a:off x="6063765" y="1625886"/>
            <a:ext cx="603250" cy="116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
            <a:extLst>
              <a:ext uri="{FF2B5EF4-FFF2-40B4-BE49-F238E27FC236}">
                <a16:creationId xmlns:a16="http://schemas.microsoft.com/office/drawing/2014/main" id="{A2921DAF-39CA-4F07-8131-661EEAE597BF}"/>
              </a:ext>
            </a:extLst>
          </p:cNvPr>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692920" y="1525302"/>
            <a:ext cx="380281" cy="2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a:extLst>
              <a:ext uri="{FF2B5EF4-FFF2-40B4-BE49-F238E27FC236}">
                <a16:creationId xmlns:a16="http://schemas.microsoft.com/office/drawing/2014/main" id="{17982063-F7CF-4F91-AEEB-19852BC2F8F3}"/>
              </a:ext>
            </a:extLst>
          </p:cNvPr>
          <p:cNvPicPr>
            <a:picLocks noChangeAspect="1"/>
          </p:cNvPicPr>
          <p:nvPr/>
        </p:nvPicPr>
        <p:blipFill>
          <a:blip r:embed="rId20" cstate="email">
            <a:extLst>
              <a:ext uri="{28A0092B-C50C-407E-A947-70E740481C1C}">
                <a14:useLocalDpi xmlns:a14="http://schemas.microsoft.com/office/drawing/2010/main"/>
              </a:ext>
            </a:extLst>
          </a:blip>
          <a:srcRect/>
          <a:stretch>
            <a:fillRect/>
          </a:stretch>
        </p:blipFill>
        <p:spPr bwMode="auto">
          <a:xfrm>
            <a:off x="8455502" y="1576394"/>
            <a:ext cx="685334" cy="21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33">
            <a:extLst>
              <a:ext uri="{FF2B5EF4-FFF2-40B4-BE49-F238E27FC236}">
                <a16:creationId xmlns:a16="http://schemas.microsoft.com/office/drawing/2014/main" id="{C5DE2474-09FC-4E52-94D6-F0B1EADDDF2D}"/>
              </a:ext>
            </a:extLst>
          </p:cNvPr>
          <p:cNvPicPr>
            <a:picLocks noChangeAspect="1"/>
          </p:cNvPicPr>
          <p:nvPr/>
        </p:nvPicPr>
        <p:blipFill>
          <a:blip r:embed="rId21" cstate="email">
            <a:extLst>
              <a:ext uri="{28A0092B-C50C-407E-A947-70E740481C1C}">
                <a14:useLocalDpi xmlns:a14="http://schemas.microsoft.com/office/drawing/2010/main"/>
              </a:ext>
            </a:extLst>
          </a:blip>
          <a:srcRect/>
          <a:stretch>
            <a:fillRect/>
          </a:stretch>
        </p:blipFill>
        <p:spPr bwMode="auto">
          <a:xfrm>
            <a:off x="11148401" y="1475473"/>
            <a:ext cx="761207"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7">
            <a:extLst>
              <a:ext uri="{FF2B5EF4-FFF2-40B4-BE49-F238E27FC236}">
                <a16:creationId xmlns:a16="http://schemas.microsoft.com/office/drawing/2014/main" id="{8E7F3371-C46F-4DFC-B8E2-A9822EEF55A2}"/>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752687" y="1481029"/>
            <a:ext cx="369888" cy="299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7422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p:cNvPicPr>
            <a:picLocks noGrp="1" noChangeAspect="1"/>
          </p:cNvPicPr>
          <p:nvPr>
            <p:ph type="pic" sz="quarter" idx="29"/>
          </p:nvPr>
        </p:nvPicPr>
        <p:blipFill>
          <a:blip r:embed="rId3" cstate="screen">
            <a:extLst>
              <a:ext uri="{28A0092B-C50C-407E-A947-70E740481C1C}">
                <a14:useLocalDpi xmlns:a14="http://schemas.microsoft.com/office/drawing/2010/main"/>
              </a:ext>
            </a:extLst>
          </a:blip>
          <a:srcRect/>
          <a:stretch>
            <a:fillRect/>
          </a:stretch>
        </p:blipFill>
        <p:spPr>
          <a:xfrm>
            <a:off x="678179" y="1186812"/>
            <a:ext cx="2742981" cy="2049902"/>
          </a:xfrm>
        </p:spPr>
      </p:pic>
      <p:pic>
        <p:nvPicPr>
          <p:cNvPr id="16" name="Picture Placeholder 15"/>
          <p:cNvPicPr>
            <a:picLocks noGrp="1" noChangeAspect="1"/>
          </p:cNvPicPr>
          <p:nvPr>
            <p:ph type="pic" sz="quarter" idx="30"/>
          </p:nvPr>
        </p:nvPicPr>
        <p:blipFill>
          <a:blip r:embed="rId4" cstate="screen">
            <a:extLst>
              <a:ext uri="{28A0092B-C50C-407E-A947-70E740481C1C}">
                <a14:useLocalDpi xmlns:a14="http://schemas.microsoft.com/office/drawing/2010/main"/>
              </a:ext>
            </a:extLst>
          </a:blip>
          <a:srcRect/>
          <a:stretch>
            <a:fillRect/>
          </a:stretch>
        </p:blipFill>
        <p:spPr>
          <a:xfrm>
            <a:off x="4324841" y="1176818"/>
            <a:ext cx="2742981" cy="2049902"/>
          </a:xfrm>
        </p:spPr>
      </p:pic>
      <p:pic>
        <p:nvPicPr>
          <p:cNvPr id="22" name="Picture Placeholder 21"/>
          <p:cNvPicPr>
            <a:picLocks noGrp="1" noChangeAspect="1"/>
          </p:cNvPicPr>
          <p:nvPr>
            <p:ph type="pic" sz="quarter" idx="32"/>
          </p:nvPr>
        </p:nvPicPr>
        <p:blipFill>
          <a:blip r:embed="rId5" cstate="screen">
            <a:extLst>
              <a:ext uri="{28A0092B-C50C-407E-A947-70E740481C1C}">
                <a14:useLocalDpi xmlns:a14="http://schemas.microsoft.com/office/drawing/2010/main"/>
              </a:ext>
            </a:extLst>
          </a:blip>
          <a:srcRect/>
          <a:stretch>
            <a:fillRect/>
          </a:stretch>
        </p:blipFill>
        <p:spPr>
          <a:xfrm>
            <a:off x="8083899" y="1178481"/>
            <a:ext cx="2754129" cy="2058233"/>
          </a:xfrm>
        </p:spPr>
      </p:pic>
      <p:sp>
        <p:nvSpPr>
          <p:cNvPr id="4" name="Text Placeholder 3"/>
          <p:cNvSpPr>
            <a:spLocks noGrp="1"/>
          </p:cNvSpPr>
          <p:nvPr>
            <p:ph type="body" sz="quarter" idx="13"/>
          </p:nvPr>
        </p:nvSpPr>
        <p:spPr/>
        <p:txBody>
          <a:bodyPr/>
          <a:lstStyle/>
          <a:p>
            <a:r>
              <a:rPr lang="en-US" dirty="0"/>
              <a:t>Images + Icon combination</a:t>
            </a:r>
          </a:p>
        </p:txBody>
      </p:sp>
      <p:sp>
        <p:nvSpPr>
          <p:cNvPr id="18" name="Rectangle 17"/>
          <p:cNvSpPr/>
          <p:nvPr/>
        </p:nvSpPr>
        <p:spPr>
          <a:xfrm>
            <a:off x="678179" y="3259094"/>
            <a:ext cx="2746666" cy="2735455"/>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19" name="Rectangle 18"/>
          <p:cNvSpPr/>
          <p:nvPr/>
        </p:nvSpPr>
        <p:spPr>
          <a:xfrm>
            <a:off x="4321971" y="3236713"/>
            <a:ext cx="2745851" cy="2747842"/>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21" name="Rectangle 20"/>
          <p:cNvSpPr/>
          <p:nvPr/>
        </p:nvSpPr>
        <p:spPr>
          <a:xfrm>
            <a:off x="8083899" y="3236713"/>
            <a:ext cx="2754129" cy="275783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sp>
        <p:nvSpPr>
          <p:cNvPr id="32" name="TextBox 31"/>
          <p:cNvSpPr txBox="1"/>
          <p:nvPr/>
        </p:nvSpPr>
        <p:spPr>
          <a:xfrm>
            <a:off x="1375999" y="3370854"/>
            <a:ext cx="1343638" cy="400110"/>
          </a:xfrm>
          <a:prstGeom prst="rect">
            <a:avLst/>
          </a:prstGeom>
          <a:noFill/>
        </p:spPr>
        <p:txBody>
          <a:bodyPr wrap="none" rtlCol="0">
            <a:spAutoFit/>
          </a:bodyPr>
          <a:lstStyle/>
          <a:p>
            <a:pPr algn="ctr"/>
            <a:r>
              <a:rPr lang="en-US" sz="2000" b="1" spc="300" dirty="0">
                <a:solidFill>
                  <a:schemeClr val="accent1"/>
                </a:solidFill>
                <a:latin typeface="+mj-lt"/>
                <a:ea typeface="Montserrat Semi" charset="0"/>
                <a:cs typeface="Calibri" panose="020F0502020204030204" pitchFamily="34" charset="0"/>
              </a:rPr>
              <a:t>Mission</a:t>
            </a:r>
          </a:p>
        </p:txBody>
      </p:sp>
      <p:sp>
        <p:nvSpPr>
          <p:cNvPr id="33" name="TextBox 32"/>
          <p:cNvSpPr txBox="1"/>
          <p:nvPr/>
        </p:nvSpPr>
        <p:spPr>
          <a:xfrm>
            <a:off x="678178" y="3845493"/>
            <a:ext cx="2742982" cy="1595693"/>
          </a:xfrm>
          <a:prstGeom prst="rect">
            <a:avLst/>
          </a:prstGeom>
          <a:noFill/>
        </p:spPr>
        <p:txBody>
          <a:bodyPr wrap="square" rtlCol="0">
            <a:spAutoFit/>
          </a:bodyPr>
          <a:lstStyle/>
          <a:p>
            <a:pPr algn="ctr">
              <a:lnSpc>
                <a:spcPct val="140000"/>
              </a:lnSpc>
            </a:pPr>
            <a:r>
              <a:rPr lang="en-US" dirty="0">
                <a:latin typeface="+mj-lt"/>
                <a:ea typeface="Montserrat Light" charset="0"/>
                <a:cs typeface="Calibri" panose="020F0502020204030204" pitchFamily="34" charset="0"/>
              </a:rPr>
              <a:t>DZS empowers global advancement by shaping the Internet connection experience of the future</a:t>
            </a:r>
          </a:p>
        </p:txBody>
      </p:sp>
      <p:sp>
        <p:nvSpPr>
          <p:cNvPr id="34" name="TextBox 33"/>
          <p:cNvSpPr txBox="1"/>
          <p:nvPr/>
        </p:nvSpPr>
        <p:spPr>
          <a:xfrm>
            <a:off x="5131914" y="3366235"/>
            <a:ext cx="1128835" cy="400110"/>
          </a:xfrm>
          <a:prstGeom prst="rect">
            <a:avLst/>
          </a:prstGeom>
          <a:noFill/>
        </p:spPr>
        <p:txBody>
          <a:bodyPr wrap="none" rtlCol="0">
            <a:spAutoFit/>
          </a:bodyPr>
          <a:lstStyle/>
          <a:p>
            <a:pPr algn="ctr"/>
            <a:r>
              <a:rPr lang="en-US" sz="2000" b="1" spc="300" dirty="0">
                <a:solidFill>
                  <a:schemeClr val="accent1"/>
                </a:solidFill>
                <a:latin typeface="+mj-lt"/>
                <a:ea typeface="Montserrat Semi" charset="0"/>
                <a:cs typeface="Calibri" panose="020F0502020204030204" pitchFamily="34" charset="0"/>
              </a:rPr>
              <a:t>Vision</a:t>
            </a:r>
          </a:p>
        </p:txBody>
      </p:sp>
      <p:sp>
        <p:nvSpPr>
          <p:cNvPr id="35" name="TextBox 34"/>
          <p:cNvSpPr txBox="1"/>
          <p:nvPr/>
        </p:nvSpPr>
        <p:spPr>
          <a:xfrm>
            <a:off x="4321970" y="3840704"/>
            <a:ext cx="2745851" cy="1945725"/>
          </a:xfrm>
          <a:prstGeom prst="rect">
            <a:avLst/>
          </a:prstGeom>
          <a:noFill/>
        </p:spPr>
        <p:txBody>
          <a:bodyPr wrap="square" rtlCol="0">
            <a:spAutoFit/>
          </a:bodyPr>
          <a:lstStyle/>
          <a:p>
            <a:pPr algn="ctr">
              <a:lnSpc>
                <a:spcPct val="140000"/>
              </a:lnSpc>
            </a:pPr>
            <a:r>
              <a:rPr lang="en-US" dirty="0">
                <a:latin typeface="+mj-lt"/>
                <a:ea typeface="Montserrat Light" charset="0"/>
                <a:cs typeface="Calibri" panose="020F0502020204030204" pitchFamily="34" charset="0"/>
              </a:rPr>
              <a:t>DZS creates significant value for our customers </a:t>
            </a:r>
          </a:p>
          <a:p>
            <a:pPr algn="ctr">
              <a:lnSpc>
                <a:spcPct val="140000"/>
              </a:lnSpc>
            </a:pPr>
            <a:r>
              <a:rPr lang="en-US" dirty="0">
                <a:latin typeface="+mj-lt"/>
                <a:ea typeface="Montserrat Light" charset="0"/>
                <a:cs typeface="Calibri" panose="020F0502020204030204" pitchFamily="34" charset="0"/>
              </a:rPr>
              <a:t>by delivering innovative broadband solutions</a:t>
            </a:r>
          </a:p>
          <a:p>
            <a:pPr algn="ctr">
              <a:lnSpc>
                <a:spcPct val="140000"/>
              </a:lnSpc>
            </a:pPr>
            <a:endParaRPr lang="en-US" sz="1600" dirty="0">
              <a:latin typeface="+mj-lt"/>
              <a:ea typeface="Montserrat Light" charset="0"/>
              <a:cs typeface="Calibri" panose="020F0502020204030204" pitchFamily="34" charset="0"/>
            </a:endParaRPr>
          </a:p>
        </p:txBody>
      </p:sp>
      <p:sp>
        <p:nvSpPr>
          <p:cNvPr id="38" name="TextBox 37"/>
          <p:cNvSpPr txBox="1"/>
          <p:nvPr/>
        </p:nvSpPr>
        <p:spPr>
          <a:xfrm>
            <a:off x="8870898" y="3376227"/>
            <a:ext cx="1180131" cy="400110"/>
          </a:xfrm>
          <a:prstGeom prst="rect">
            <a:avLst/>
          </a:prstGeom>
          <a:noFill/>
        </p:spPr>
        <p:txBody>
          <a:bodyPr wrap="none" rtlCol="0">
            <a:spAutoFit/>
          </a:bodyPr>
          <a:lstStyle/>
          <a:p>
            <a:pPr algn="ctr"/>
            <a:r>
              <a:rPr lang="en-US" sz="2000" b="1" spc="300" dirty="0">
                <a:solidFill>
                  <a:schemeClr val="accent1"/>
                </a:solidFill>
                <a:latin typeface="+mj-lt"/>
                <a:ea typeface="Montserrat Semi" charset="0"/>
                <a:cs typeface="Calibri" panose="020F0502020204030204" pitchFamily="34" charset="0"/>
              </a:rPr>
              <a:t>Values</a:t>
            </a:r>
          </a:p>
        </p:txBody>
      </p:sp>
      <p:sp>
        <p:nvSpPr>
          <p:cNvPr id="39" name="TextBox 38"/>
          <p:cNvSpPr txBox="1"/>
          <p:nvPr/>
        </p:nvSpPr>
        <p:spPr>
          <a:xfrm>
            <a:off x="8229600" y="3840704"/>
            <a:ext cx="2608428" cy="1692771"/>
          </a:xfrm>
          <a:prstGeom prst="rect">
            <a:avLst/>
          </a:prstGeom>
          <a:noFill/>
        </p:spPr>
        <p:txBody>
          <a:bodyPr wrap="square" rtlCol="0">
            <a:spAutoFit/>
          </a:bodyPr>
          <a:lstStyle/>
          <a:p>
            <a:r>
              <a:rPr lang="en-US" sz="1600" b="1" dirty="0">
                <a:latin typeface="+mj-lt"/>
                <a:ea typeface="Montserrat Light" charset="0"/>
                <a:cs typeface="Calibri" panose="020F0502020204030204" pitchFamily="34" charset="0"/>
              </a:rPr>
              <a:t>Ethical</a:t>
            </a:r>
            <a:r>
              <a:rPr lang="en-US" sz="1600" dirty="0">
                <a:latin typeface="+mj-lt"/>
                <a:ea typeface="Montserrat Light" charset="0"/>
                <a:cs typeface="Calibri" panose="020F0502020204030204" pitchFamily="34" charset="0"/>
              </a:rPr>
              <a:t> = We always do the right thing</a:t>
            </a:r>
          </a:p>
          <a:p>
            <a:endParaRPr lang="en-US" sz="400" dirty="0">
              <a:latin typeface="+mj-lt"/>
              <a:ea typeface="Montserrat Light" charset="0"/>
              <a:cs typeface="Calibri" panose="020F0502020204030204" pitchFamily="34" charset="0"/>
            </a:endParaRPr>
          </a:p>
          <a:p>
            <a:r>
              <a:rPr lang="en-US" sz="1600" b="1" dirty="0">
                <a:latin typeface="+mj-lt"/>
                <a:ea typeface="Montserrat Light" charset="0"/>
                <a:cs typeface="Calibri" panose="020F0502020204030204" pitchFamily="34" charset="0"/>
              </a:rPr>
              <a:t>Customer Focused </a:t>
            </a:r>
            <a:r>
              <a:rPr lang="en-US" sz="1600" dirty="0">
                <a:latin typeface="+mj-lt"/>
                <a:ea typeface="Montserrat Light" charset="0"/>
                <a:cs typeface="Calibri" panose="020F0502020204030204" pitchFamily="34" charset="0"/>
              </a:rPr>
              <a:t>= They drive our business</a:t>
            </a:r>
          </a:p>
          <a:p>
            <a:endParaRPr lang="en-US" sz="400" dirty="0">
              <a:latin typeface="+mj-lt"/>
              <a:ea typeface="Montserrat Light" charset="0"/>
              <a:cs typeface="Calibri" panose="020F0502020204030204" pitchFamily="34" charset="0"/>
            </a:endParaRPr>
          </a:p>
          <a:p>
            <a:r>
              <a:rPr lang="en-US" sz="1600" b="1" dirty="0">
                <a:latin typeface="+mj-lt"/>
                <a:ea typeface="Montserrat Light" charset="0"/>
                <a:cs typeface="Calibri" panose="020F0502020204030204" pitchFamily="34" charset="0"/>
              </a:rPr>
              <a:t>Winning Culture </a:t>
            </a:r>
            <a:r>
              <a:rPr lang="en-US" sz="1600" dirty="0">
                <a:latin typeface="+mj-lt"/>
                <a:ea typeface="Montserrat Light" charset="0"/>
                <a:cs typeface="Calibri" panose="020F0502020204030204" pitchFamily="34" charset="0"/>
              </a:rPr>
              <a:t>= performance of our people</a:t>
            </a:r>
          </a:p>
        </p:txBody>
      </p:sp>
    </p:spTree>
    <p:extLst>
      <p:ext uri="{BB962C8B-B14F-4D97-AF65-F5344CB8AC3E}">
        <p14:creationId xmlns:p14="http://schemas.microsoft.com/office/powerpoint/2010/main" val="4110987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Quote Slide</a:t>
            </a:r>
          </a:p>
        </p:txBody>
      </p:sp>
      <p:sp>
        <p:nvSpPr>
          <p:cNvPr id="9" name="Rectangle 8"/>
          <p:cNvSpPr/>
          <p:nvPr/>
        </p:nvSpPr>
        <p:spPr>
          <a:xfrm>
            <a:off x="953636" y="2321958"/>
            <a:ext cx="4890936" cy="2431435"/>
          </a:xfrm>
          <a:prstGeom prst="rect">
            <a:avLst/>
          </a:prstGeom>
        </p:spPr>
        <p:txBody>
          <a:bodyPr wrap="square">
            <a:spAutoFit/>
          </a:bodyPr>
          <a:lstStyle/>
          <a:p>
            <a:r>
              <a:rPr lang="en-US" sz="2000" dirty="0">
                <a:solidFill>
                  <a:schemeClr val="accent1"/>
                </a:solidFill>
              </a:rPr>
              <a:t>With a packed stadium full of fans on their mobile devices, and back-of-house system requirements, uptime is critical to the overall experience. </a:t>
            </a:r>
          </a:p>
          <a:p>
            <a:endParaRPr lang="en-US" sz="1200" dirty="0">
              <a:solidFill>
                <a:schemeClr val="accent1"/>
              </a:solidFill>
            </a:endParaRPr>
          </a:p>
          <a:p>
            <a:r>
              <a:rPr lang="en-US" sz="2000" dirty="0">
                <a:solidFill>
                  <a:schemeClr val="accent1"/>
                </a:solidFill>
              </a:rPr>
              <a:t>We chose </a:t>
            </a:r>
            <a:r>
              <a:rPr lang="en-US" sz="2000" dirty="0" err="1">
                <a:solidFill>
                  <a:schemeClr val="accent1"/>
                </a:solidFill>
              </a:rPr>
              <a:t>FiberLAN</a:t>
            </a:r>
            <a:r>
              <a:rPr lang="en-US" sz="2000" dirty="0">
                <a:solidFill>
                  <a:schemeClr val="accent1"/>
                </a:solidFill>
              </a:rPr>
              <a:t> based on its future-proof architecture and high bandwidth capabilities</a:t>
            </a:r>
          </a:p>
        </p:txBody>
      </p:sp>
      <p:cxnSp>
        <p:nvCxnSpPr>
          <p:cNvPr id="12" name="Straight Connector 11"/>
          <p:cNvCxnSpPr/>
          <p:nvPr/>
        </p:nvCxnSpPr>
        <p:spPr>
          <a:xfrm>
            <a:off x="482145" y="4973733"/>
            <a:ext cx="1865125"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347270" y="4845398"/>
            <a:ext cx="3424383" cy="276999"/>
          </a:xfrm>
          <a:prstGeom prst="rect">
            <a:avLst/>
          </a:prstGeom>
          <a:noFill/>
        </p:spPr>
        <p:txBody>
          <a:bodyPr wrap="square" rtlCol="0">
            <a:spAutoFit/>
          </a:bodyPr>
          <a:lstStyle/>
          <a:p>
            <a:r>
              <a:rPr lang="en-US" sz="1200" i="1" dirty="0"/>
              <a:t>Christian Lau, Vice President of IT, LAFC</a:t>
            </a:r>
          </a:p>
        </p:txBody>
      </p:sp>
      <p:sp>
        <p:nvSpPr>
          <p:cNvPr id="21" name="Freeform 5"/>
          <p:cNvSpPr>
            <a:spLocks noEditPoints="1"/>
          </p:cNvSpPr>
          <p:nvPr/>
        </p:nvSpPr>
        <p:spPr bwMode="auto">
          <a:xfrm>
            <a:off x="482145" y="1929350"/>
            <a:ext cx="471491" cy="392608"/>
          </a:xfrm>
          <a:custGeom>
            <a:avLst/>
            <a:gdLst>
              <a:gd name="T0" fmla="*/ 161 w 2262"/>
              <a:gd name="T1" fmla="*/ 1620 h 1620"/>
              <a:gd name="T2" fmla="*/ 646 w 2262"/>
              <a:gd name="T3" fmla="*/ 1620 h 1620"/>
              <a:gd name="T4" fmla="*/ 970 w 2262"/>
              <a:gd name="T5" fmla="*/ 971 h 1620"/>
              <a:gd name="T6" fmla="*/ 970 w 2262"/>
              <a:gd name="T7" fmla="*/ 0 h 1620"/>
              <a:gd name="T8" fmla="*/ 0 w 2262"/>
              <a:gd name="T9" fmla="*/ 0 h 1620"/>
              <a:gd name="T10" fmla="*/ 0 w 2262"/>
              <a:gd name="T11" fmla="*/ 971 h 1620"/>
              <a:gd name="T12" fmla="*/ 485 w 2262"/>
              <a:gd name="T13" fmla="*/ 971 h 1620"/>
              <a:gd name="T14" fmla="*/ 161 w 2262"/>
              <a:gd name="T15" fmla="*/ 1620 h 1620"/>
              <a:gd name="T16" fmla="*/ 1455 w 2262"/>
              <a:gd name="T17" fmla="*/ 1620 h 1620"/>
              <a:gd name="T18" fmla="*/ 1940 w 2262"/>
              <a:gd name="T19" fmla="*/ 1620 h 1620"/>
              <a:gd name="T20" fmla="*/ 2262 w 2262"/>
              <a:gd name="T21" fmla="*/ 971 h 1620"/>
              <a:gd name="T22" fmla="*/ 2262 w 2262"/>
              <a:gd name="T23" fmla="*/ 0 h 1620"/>
              <a:gd name="T24" fmla="*/ 1292 w 2262"/>
              <a:gd name="T25" fmla="*/ 0 h 1620"/>
              <a:gd name="T26" fmla="*/ 1292 w 2262"/>
              <a:gd name="T27" fmla="*/ 971 h 1620"/>
              <a:gd name="T28" fmla="*/ 1777 w 2262"/>
              <a:gd name="T29" fmla="*/ 971 h 1620"/>
              <a:gd name="T30" fmla="*/ 1455 w 2262"/>
              <a:gd name="T31" fmla="*/ 1620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2" h="1620">
                <a:moveTo>
                  <a:pt x="161" y="1620"/>
                </a:moveTo>
                <a:lnTo>
                  <a:pt x="646" y="1620"/>
                </a:lnTo>
                <a:lnTo>
                  <a:pt x="970" y="971"/>
                </a:lnTo>
                <a:lnTo>
                  <a:pt x="970" y="0"/>
                </a:lnTo>
                <a:lnTo>
                  <a:pt x="0" y="0"/>
                </a:lnTo>
                <a:lnTo>
                  <a:pt x="0" y="971"/>
                </a:lnTo>
                <a:lnTo>
                  <a:pt x="485" y="971"/>
                </a:lnTo>
                <a:lnTo>
                  <a:pt x="161" y="1620"/>
                </a:lnTo>
                <a:close/>
                <a:moveTo>
                  <a:pt x="1455" y="1620"/>
                </a:moveTo>
                <a:lnTo>
                  <a:pt x="1940" y="1620"/>
                </a:lnTo>
                <a:lnTo>
                  <a:pt x="2262" y="971"/>
                </a:lnTo>
                <a:lnTo>
                  <a:pt x="2262" y="0"/>
                </a:lnTo>
                <a:lnTo>
                  <a:pt x="1292" y="0"/>
                </a:lnTo>
                <a:lnTo>
                  <a:pt x="1292" y="971"/>
                </a:lnTo>
                <a:lnTo>
                  <a:pt x="1777" y="971"/>
                </a:lnTo>
                <a:lnTo>
                  <a:pt x="1455" y="16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5">
            <a:extLst>
              <a:ext uri="{FF2B5EF4-FFF2-40B4-BE49-F238E27FC236}">
                <a16:creationId xmlns:a16="http://schemas.microsoft.com/office/drawing/2014/main" id="{C37309C2-8396-4948-8BEB-F606144D4BC7}"/>
              </a:ext>
            </a:extLst>
          </p:cNvPr>
          <p:cNvSpPr>
            <a:spLocks noEditPoints="1"/>
          </p:cNvSpPr>
          <p:nvPr/>
        </p:nvSpPr>
        <p:spPr bwMode="auto">
          <a:xfrm>
            <a:off x="5373081" y="4581125"/>
            <a:ext cx="471491" cy="392608"/>
          </a:xfrm>
          <a:custGeom>
            <a:avLst/>
            <a:gdLst>
              <a:gd name="T0" fmla="*/ 161 w 2262"/>
              <a:gd name="T1" fmla="*/ 1620 h 1620"/>
              <a:gd name="T2" fmla="*/ 646 w 2262"/>
              <a:gd name="T3" fmla="*/ 1620 h 1620"/>
              <a:gd name="T4" fmla="*/ 970 w 2262"/>
              <a:gd name="T5" fmla="*/ 971 h 1620"/>
              <a:gd name="T6" fmla="*/ 970 w 2262"/>
              <a:gd name="T7" fmla="*/ 0 h 1620"/>
              <a:gd name="T8" fmla="*/ 0 w 2262"/>
              <a:gd name="T9" fmla="*/ 0 h 1620"/>
              <a:gd name="T10" fmla="*/ 0 w 2262"/>
              <a:gd name="T11" fmla="*/ 971 h 1620"/>
              <a:gd name="T12" fmla="*/ 485 w 2262"/>
              <a:gd name="T13" fmla="*/ 971 h 1620"/>
              <a:gd name="T14" fmla="*/ 161 w 2262"/>
              <a:gd name="T15" fmla="*/ 1620 h 1620"/>
              <a:gd name="T16" fmla="*/ 1455 w 2262"/>
              <a:gd name="T17" fmla="*/ 1620 h 1620"/>
              <a:gd name="T18" fmla="*/ 1940 w 2262"/>
              <a:gd name="T19" fmla="*/ 1620 h 1620"/>
              <a:gd name="T20" fmla="*/ 2262 w 2262"/>
              <a:gd name="T21" fmla="*/ 971 h 1620"/>
              <a:gd name="T22" fmla="*/ 2262 w 2262"/>
              <a:gd name="T23" fmla="*/ 0 h 1620"/>
              <a:gd name="T24" fmla="*/ 1292 w 2262"/>
              <a:gd name="T25" fmla="*/ 0 h 1620"/>
              <a:gd name="T26" fmla="*/ 1292 w 2262"/>
              <a:gd name="T27" fmla="*/ 971 h 1620"/>
              <a:gd name="T28" fmla="*/ 1777 w 2262"/>
              <a:gd name="T29" fmla="*/ 971 h 1620"/>
              <a:gd name="T30" fmla="*/ 1455 w 2262"/>
              <a:gd name="T31" fmla="*/ 1620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2" h="1620">
                <a:moveTo>
                  <a:pt x="161" y="1620"/>
                </a:moveTo>
                <a:lnTo>
                  <a:pt x="646" y="1620"/>
                </a:lnTo>
                <a:lnTo>
                  <a:pt x="970" y="971"/>
                </a:lnTo>
                <a:lnTo>
                  <a:pt x="970" y="0"/>
                </a:lnTo>
                <a:lnTo>
                  <a:pt x="0" y="0"/>
                </a:lnTo>
                <a:lnTo>
                  <a:pt x="0" y="971"/>
                </a:lnTo>
                <a:lnTo>
                  <a:pt x="485" y="971"/>
                </a:lnTo>
                <a:lnTo>
                  <a:pt x="161" y="1620"/>
                </a:lnTo>
                <a:close/>
                <a:moveTo>
                  <a:pt x="1455" y="1620"/>
                </a:moveTo>
                <a:lnTo>
                  <a:pt x="1940" y="1620"/>
                </a:lnTo>
                <a:lnTo>
                  <a:pt x="2262" y="971"/>
                </a:lnTo>
                <a:lnTo>
                  <a:pt x="2262" y="0"/>
                </a:lnTo>
                <a:lnTo>
                  <a:pt x="1292" y="0"/>
                </a:lnTo>
                <a:lnTo>
                  <a:pt x="1292" y="971"/>
                </a:lnTo>
                <a:lnTo>
                  <a:pt x="1777" y="971"/>
                </a:lnTo>
                <a:lnTo>
                  <a:pt x="1455" y="16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6" name="Picture Placeholder 5">
            <a:extLst>
              <a:ext uri="{FF2B5EF4-FFF2-40B4-BE49-F238E27FC236}">
                <a16:creationId xmlns:a16="http://schemas.microsoft.com/office/drawing/2014/main" id="{E03CDD89-C767-8B4C-AD46-46D38A176E93}"/>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219825" y="0"/>
            <a:ext cx="5972175" cy="6858000"/>
          </a:xfrm>
        </p:spPr>
      </p:pic>
    </p:spTree>
    <p:extLst>
      <p:ext uri="{BB962C8B-B14F-4D97-AF65-F5344CB8AC3E}">
        <p14:creationId xmlns:p14="http://schemas.microsoft.com/office/powerpoint/2010/main" val="3947613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Placeholder 84"/>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p:pic>
      <p:pic>
        <p:nvPicPr>
          <p:cNvPr id="87" name="Picture Placeholder 86"/>
          <p:cNvPicPr>
            <a:picLocks noGrp="1" noChangeAspect="1"/>
          </p:cNvPicPr>
          <p:nvPr>
            <p:ph type="pic" sz="quarter" idx="20"/>
          </p:nvPr>
        </p:nvPicPr>
        <p:blipFill rotWithShape="1">
          <a:blip r:embed="rId4" cstate="screen">
            <a:extLst>
              <a:ext uri="{28A0092B-C50C-407E-A947-70E740481C1C}">
                <a14:useLocalDpi xmlns:a14="http://schemas.microsoft.com/office/drawing/2010/main"/>
              </a:ext>
            </a:extLst>
          </a:blip>
          <a:srcRect/>
          <a:stretch/>
        </p:blipFill>
        <p:spPr/>
      </p:pic>
      <p:pic>
        <p:nvPicPr>
          <p:cNvPr id="88" name="Picture Placeholder 87"/>
          <p:cNvPicPr>
            <a:picLocks noGrp="1" noChangeAspect="1"/>
          </p:cNvPicPr>
          <p:nvPr>
            <p:ph type="pic" sz="quarter" idx="21"/>
          </p:nvPr>
        </p:nvPicPr>
        <p:blipFill rotWithShape="1">
          <a:blip r:embed="rId5" cstate="screen">
            <a:extLst>
              <a:ext uri="{28A0092B-C50C-407E-A947-70E740481C1C}">
                <a14:useLocalDpi xmlns:a14="http://schemas.microsoft.com/office/drawing/2010/main"/>
              </a:ext>
            </a:extLst>
          </a:blip>
          <a:srcRect/>
          <a:stretch/>
        </p:blipFill>
        <p:spPr/>
      </p:pic>
      <p:pic>
        <p:nvPicPr>
          <p:cNvPr id="86" name="Picture Placeholder 85"/>
          <p:cNvPicPr>
            <a:picLocks noGrp="1" noChangeAspect="1"/>
          </p:cNvPicPr>
          <p:nvPr>
            <p:ph type="pic" sz="quarter" idx="22"/>
          </p:nvPr>
        </p:nvPicPr>
        <p:blipFill>
          <a:blip r:embed="rId6" cstate="screen">
            <a:extLst>
              <a:ext uri="{28A0092B-C50C-407E-A947-70E740481C1C}">
                <a14:useLocalDpi xmlns:a14="http://schemas.microsoft.com/office/drawing/2010/main"/>
              </a:ext>
            </a:extLst>
          </a:blip>
          <a:srcRect/>
          <a:stretch>
            <a:fillRect/>
          </a:stretch>
        </p:blipFill>
        <p:spPr/>
      </p:pic>
      <p:sp>
        <p:nvSpPr>
          <p:cNvPr id="16" name="Text Placeholder 15"/>
          <p:cNvSpPr>
            <a:spLocks noGrp="1"/>
          </p:cNvSpPr>
          <p:nvPr>
            <p:ph type="body" sz="half" idx="13"/>
          </p:nvPr>
        </p:nvSpPr>
        <p:spPr>
          <a:xfrm>
            <a:off x="501650" y="287338"/>
            <a:ext cx="11690350" cy="498475"/>
          </a:xfrm>
        </p:spPr>
        <p:txBody>
          <a:bodyPr/>
          <a:lstStyle/>
          <a:p>
            <a:r>
              <a:rPr lang="en-US" dirty="0"/>
              <a:t>Solutions / Categories</a:t>
            </a:r>
          </a:p>
        </p:txBody>
      </p:sp>
      <p:grpSp>
        <p:nvGrpSpPr>
          <p:cNvPr id="20" name="Group 19"/>
          <p:cNvGrpSpPr/>
          <p:nvPr/>
        </p:nvGrpSpPr>
        <p:grpSpPr>
          <a:xfrm>
            <a:off x="2922208" y="2284235"/>
            <a:ext cx="3028648" cy="882321"/>
            <a:chOff x="2148114" y="1446894"/>
            <a:chExt cx="2271486" cy="661741"/>
          </a:xfrm>
        </p:grpSpPr>
        <p:sp>
          <p:nvSpPr>
            <p:cNvPr id="21" name="Rectangle 20"/>
            <p:cNvSpPr/>
            <p:nvPr/>
          </p:nvSpPr>
          <p:spPr>
            <a:xfrm>
              <a:off x="2148114" y="1670054"/>
              <a:ext cx="2271486" cy="438581"/>
            </a:xfrm>
            <a:prstGeom prst="rect">
              <a:avLst/>
            </a:prstGeom>
          </p:spPr>
          <p:txBody>
            <a:bodyPr wrap="square">
              <a:spAutoFit/>
            </a:bodyPr>
            <a:lstStyle/>
            <a:p>
              <a:r>
                <a:rPr lang="en-US" sz="1600" dirty="0">
                  <a:solidFill>
                    <a:schemeClr val="bg1"/>
                  </a:solidFill>
                  <a:latin typeface="+mj-lt"/>
                  <a:ea typeface="Roboto" panose="02000000000000000000" pitchFamily="2" charset="0"/>
                </a:rPr>
                <a:t>Fiber &amp; Copper, Multi-Gigabit</a:t>
              </a:r>
            </a:p>
            <a:p>
              <a:r>
                <a:rPr lang="en-US" sz="1600" dirty="0">
                  <a:solidFill>
                    <a:schemeClr val="bg1"/>
                  </a:solidFill>
                  <a:latin typeface="+mj-lt"/>
                  <a:ea typeface="Roboto" panose="02000000000000000000" pitchFamily="2" charset="0"/>
                </a:rPr>
                <a:t>Triple Play Service</a:t>
              </a:r>
            </a:p>
          </p:txBody>
        </p:sp>
        <p:sp>
          <p:nvSpPr>
            <p:cNvPr id="22" name="Footer Text"/>
            <p:cNvSpPr txBox="1"/>
            <p:nvPr/>
          </p:nvSpPr>
          <p:spPr>
            <a:xfrm flipH="1">
              <a:off x="2244271" y="1446894"/>
              <a:ext cx="2042886" cy="184666"/>
            </a:xfrm>
            <a:prstGeom prst="rect">
              <a:avLst/>
            </a:prstGeom>
            <a:noFill/>
          </p:spPr>
          <p:txBody>
            <a:bodyPr wrap="square" lIns="0" tIns="0" rIns="0" bIns="0" rtlCol="0">
              <a:spAutoFit/>
            </a:bodyPr>
            <a:lstStyle/>
            <a:p>
              <a:r>
                <a:rPr lang="en-GB" sz="1600" b="1" dirty="0">
                  <a:solidFill>
                    <a:schemeClr val="bg1"/>
                  </a:solidFill>
                  <a:latin typeface="+mj-lt"/>
                  <a:ea typeface="Roboto" panose="02000000000000000000" pitchFamily="2" charset="0"/>
                </a:rPr>
                <a:t>Broadband Access</a:t>
              </a:r>
            </a:p>
          </p:txBody>
        </p:sp>
      </p:grpSp>
      <p:grpSp>
        <p:nvGrpSpPr>
          <p:cNvPr id="11" name="Group 4"/>
          <p:cNvGrpSpPr>
            <a:grpSpLocks noChangeAspect="1"/>
          </p:cNvGrpSpPr>
          <p:nvPr/>
        </p:nvGrpSpPr>
        <p:grpSpPr bwMode="auto">
          <a:xfrm>
            <a:off x="6437720" y="3978718"/>
            <a:ext cx="457082" cy="457200"/>
            <a:chOff x="-2843" y="-488"/>
            <a:chExt cx="3875" cy="3876"/>
          </a:xfrm>
          <a:solidFill>
            <a:schemeClr val="bg1"/>
          </a:solidFill>
        </p:grpSpPr>
        <p:sp>
          <p:nvSpPr>
            <p:cNvPr id="13" name="Freeform 5"/>
            <p:cNvSpPr>
              <a:spLocks noEditPoints="1"/>
            </p:cNvSpPr>
            <p:nvPr/>
          </p:nvSpPr>
          <p:spPr bwMode="auto">
            <a:xfrm>
              <a:off x="-2343" y="12"/>
              <a:ext cx="2876" cy="2876"/>
            </a:xfrm>
            <a:custGeom>
              <a:avLst/>
              <a:gdLst>
                <a:gd name="T0" fmla="*/ 0 w 1520"/>
                <a:gd name="T1" fmla="*/ 760 h 1520"/>
                <a:gd name="T2" fmla="*/ 1520 w 1520"/>
                <a:gd name="T3" fmla="*/ 760 h 1520"/>
                <a:gd name="T4" fmla="*/ 1265 w 1520"/>
                <a:gd name="T5" fmla="*/ 305 h 1520"/>
                <a:gd name="T6" fmla="*/ 1093 w 1520"/>
                <a:gd name="T7" fmla="*/ 167 h 1520"/>
                <a:gd name="T8" fmla="*/ 1439 w 1520"/>
                <a:gd name="T9" fmla="*/ 720 h 1520"/>
                <a:gd name="T10" fmla="*/ 1176 w 1520"/>
                <a:gd name="T11" fmla="*/ 420 h 1520"/>
                <a:gd name="T12" fmla="*/ 1439 w 1520"/>
                <a:gd name="T13" fmla="*/ 720 h 1520"/>
                <a:gd name="T14" fmla="*/ 1176 w 1520"/>
                <a:gd name="T15" fmla="*/ 1100 h 1520"/>
                <a:gd name="T16" fmla="*/ 1439 w 1520"/>
                <a:gd name="T17" fmla="*/ 800 h 1520"/>
                <a:gd name="T18" fmla="*/ 204 w 1520"/>
                <a:gd name="T19" fmla="*/ 1151 h 1520"/>
                <a:gd name="T20" fmla="*/ 344 w 1520"/>
                <a:gd name="T21" fmla="*/ 800 h 1520"/>
                <a:gd name="T22" fmla="*/ 204 w 1520"/>
                <a:gd name="T23" fmla="*/ 1151 h 1520"/>
                <a:gd name="T24" fmla="*/ 344 w 1520"/>
                <a:gd name="T25" fmla="*/ 420 h 1520"/>
                <a:gd name="T26" fmla="*/ 81 w 1520"/>
                <a:gd name="T27" fmla="*/ 720 h 1520"/>
                <a:gd name="T28" fmla="*/ 800 w 1520"/>
                <a:gd name="T29" fmla="*/ 1093 h 1520"/>
                <a:gd name="T30" fmla="*/ 1096 w 1520"/>
                <a:gd name="T31" fmla="*/ 800 h 1520"/>
                <a:gd name="T32" fmla="*/ 800 w 1520"/>
                <a:gd name="T33" fmla="*/ 1093 h 1520"/>
                <a:gd name="T34" fmla="*/ 720 w 1520"/>
                <a:gd name="T35" fmla="*/ 720 h 1520"/>
                <a:gd name="T36" fmla="*/ 424 w 1520"/>
                <a:gd name="T37" fmla="*/ 427 h 1520"/>
                <a:gd name="T38" fmla="*/ 720 w 1520"/>
                <a:gd name="T39" fmla="*/ 800 h 1520"/>
                <a:gd name="T40" fmla="*/ 424 w 1520"/>
                <a:gd name="T41" fmla="*/ 1093 h 1520"/>
                <a:gd name="T42" fmla="*/ 720 w 1520"/>
                <a:gd name="T43" fmla="*/ 800 h 1520"/>
                <a:gd name="T44" fmla="*/ 800 w 1520"/>
                <a:gd name="T45" fmla="*/ 427 h 1520"/>
                <a:gd name="T46" fmla="*/ 1096 w 1520"/>
                <a:gd name="T47" fmla="*/ 720 h 1520"/>
                <a:gd name="T48" fmla="*/ 800 w 1520"/>
                <a:gd name="T49" fmla="*/ 347 h 1520"/>
                <a:gd name="T50" fmla="*/ 1089 w 1520"/>
                <a:gd name="T51" fmla="*/ 347 h 1520"/>
                <a:gd name="T52" fmla="*/ 720 w 1520"/>
                <a:gd name="T53" fmla="*/ 83 h 1520"/>
                <a:gd name="T54" fmla="*/ 431 w 1520"/>
                <a:gd name="T55" fmla="*/ 347 h 1520"/>
                <a:gd name="T56" fmla="*/ 720 w 1520"/>
                <a:gd name="T57" fmla="*/ 1173 h 1520"/>
                <a:gd name="T58" fmla="*/ 431 w 1520"/>
                <a:gd name="T59" fmla="*/ 1173 h 1520"/>
                <a:gd name="T60" fmla="*/ 800 w 1520"/>
                <a:gd name="T61" fmla="*/ 1437 h 1520"/>
                <a:gd name="T62" fmla="*/ 1089 w 1520"/>
                <a:gd name="T63" fmla="*/ 1173 h 1520"/>
                <a:gd name="T64" fmla="*/ 427 w 1520"/>
                <a:gd name="T65" fmla="*/ 167 h 1520"/>
                <a:gd name="T66" fmla="*/ 255 w 1520"/>
                <a:gd name="T67" fmla="*/ 305 h 1520"/>
                <a:gd name="T68" fmla="*/ 255 w 1520"/>
                <a:gd name="T69" fmla="*/ 1215 h 1520"/>
                <a:gd name="T70" fmla="*/ 427 w 1520"/>
                <a:gd name="T71" fmla="*/ 1353 h 1520"/>
                <a:gd name="T72" fmla="*/ 1093 w 1520"/>
                <a:gd name="T73" fmla="*/ 1353 h 1520"/>
                <a:gd name="T74" fmla="*/ 1265 w 1520"/>
                <a:gd name="T75" fmla="*/ 1215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0" h="1520">
                  <a:moveTo>
                    <a:pt x="760" y="0"/>
                  </a:moveTo>
                  <a:cubicBezTo>
                    <a:pt x="341" y="0"/>
                    <a:pt x="0" y="341"/>
                    <a:pt x="0" y="760"/>
                  </a:cubicBezTo>
                  <a:cubicBezTo>
                    <a:pt x="0" y="1179"/>
                    <a:pt x="341" y="1520"/>
                    <a:pt x="760" y="1520"/>
                  </a:cubicBezTo>
                  <a:cubicBezTo>
                    <a:pt x="1179" y="1520"/>
                    <a:pt x="1520" y="1179"/>
                    <a:pt x="1520" y="760"/>
                  </a:cubicBezTo>
                  <a:cubicBezTo>
                    <a:pt x="1520" y="341"/>
                    <a:pt x="1179" y="0"/>
                    <a:pt x="760" y="0"/>
                  </a:cubicBezTo>
                  <a:close/>
                  <a:moveTo>
                    <a:pt x="1265" y="305"/>
                  </a:moveTo>
                  <a:cubicBezTo>
                    <a:pt x="1235" y="322"/>
                    <a:pt x="1203" y="334"/>
                    <a:pt x="1169" y="340"/>
                  </a:cubicBezTo>
                  <a:cubicBezTo>
                    <a:pt x="1157" y="276"/>
                    <a:pt x="1131" y="218"/>
                    <a:pt x="1093" y="167"/>
                  </a:cubicBezTo>
                  <a:cubicBezTo>
                    <a:pt x="1158" y="204"/>
                    <a:pt x="1216" y="251"/>
                    <a:pt x="1265" y="305"/>
                  </a:cubicBezTo>
                  <a:close/>
                  <a:moveTo>
                    <a:pt x="1439" y="720"/>
                  </a:moveTo>
                  <a:cubicBezTo>
                    <a:pt x="1176" y="720"/>
                    <a:pt x="1176" y="720"/>
                    <a:pt x="1176" y="720"/>
                  </a:cubicBezTo>
                  <a:cubicBezTo>
                    <a:pt x="1176" y="420"/>
                    <a:pt x="1176" y="420"/>
                    <a:pt x="1176" y="420"/>
                  </a:cubicBezTo>
                  <a:cubicBezTo>
                    <a:pt x="1225" y="412"/>
                    <a:pt x="1273" y="394"/>
                    <a:pt x="1316" y="369"/>
                  </a:cubicBezTo>
                  <a:cubicBezTo>
                    <a:pt x="1387" y="469"/>
                    <a:pt x="1431" y="590"/>
                    <a:pt x="1439" y="720"/>
                  </a:cubicBezTo>
                  <a:close/>
                  <a:moveTo>
                    <a:pt x="1316" y="1151"/>
                  </a:moveTo>
                  <a:cubicBezTo>
                    <a:pt x="1273" y="1126"/>
                    <a:pt x="1225" y="1108"/>
                    <a:pt x="1176" y="1100"/>
                  </a:cubicBezTo>
                  <a:cubicBezTo>
                    <a:pt x="1176" y="800"/>
                    <a:pt x="1176" y="800"/>
                    <a:pt x="1176" y="800"/>
                  </a:cubicBezTo>
                  <a:cubicBezTo>
                    <a:pt x="1439" y="800"/>
                    <a:pt x="1439" y="800"/>
                    <a:pt x="1439" y="800"/>
                  </a:cubicBezTo>
                  <a:cubicBezTo>
                    <a:pt x="1431" y="930"/>
                    <a:pt x="1387" y="1051"/>
                    <a:pt x="1316" y="1151"/>
                  </a:cubicBezTo>
                  <a:close/>
                  <a:moveTo>
                    <a:pt x="204" y="1151"/>
                  </a:moveTo>
                  <a:cubicBezTo>
                    <a:pt x="133" y="1051"/>
                    <a:pt x="89" y="930"/>
                    <a:pt x="81" y="800"/>
                  </a:cubicBezTo>
                  <a:cubicBezTo>
                    <a:pt x="344" y="800"/>
                    <a:pt x="344" y="800"/>
                    <a:pt x="344" y="800"/>
                  </a:cubicBezTo>
                  <a:cubicBezTo>
                    <a:pt x="344" y="1100"/>
                    <a:pt x="344" y="1100"/>
                    <a:pt x="344" y="1100"/>
                  </a:cubicBezTo>
                  <a:cubicBezTo>
                    <a:pt x="295" y="1108"/>
                    <a:pt x="247" y="1126"/>
                    <a:pt x="204" y="1151"/>
                  </a:cubicBezTo>
                  <a:close/>
                  <a:moveTo>
                    <a:pt x="204" y="369"/>
                  </a:moveTo>
                  <a:cubicBezTo>
                    <a:pt x="247" y="394"/>
                    <a:pt x="295" y="412"/>
                    <a:pt x="344" y="420"/>
                  </a:cubicBezTo>
                  <a:cubicBezTo>
                    <a:pt x="344" y="720"/>
                    <a:pt x="344" y="720"/>
                    <a:pt x="344" y="720"/>
                  </a:cubicBezTo>
                  <a:cubicBezTo>
                    <a:pt x="81" y="720"/>
                    <a:pt x="81" y="720"/>
                    <a:pt x="81" y="720"/>
                  </a:cubicBezTo>
                  <a:cubicBezTo>
                    <a:pt x="89" y="590"/>
                    <a:pt x="133" y="469"/>
                    <a:pt x="204" y="369"/>
                  </a:cubicBezTo>
                  <a:close/>
                  <a:moveTo>
                    <a:pt x="800" y="1093"/>
                  </a:moveTo>
                  <a:cubicBezTo>
                    <a:pt x="800" y="800"/>
                    <a:pt x="800" y="800"/>
                    <a:pt x="800" y="800"/>
                  </a:cubicBezTo>
                  <a:cubicBezTo>
                    <a:pt x="1096" y="800"/>
                    <a:pt x="1096" y="800"/>
                    <a:pt x="1096" y="800"/>
                  </a:cubicBezTo>
                  <a:cubicBezTo>
                    <a:pt x="1096" y="1093"/>
                    <a:pt x="1096" y="1093"/>
                    <a:pt x="1096" y="1093"/>
                  </a:cubicBezTo>
                  <a:cubicBezTo>
                    <a:pt x="800" y="1093"/>
                    <a:pt x="800" y="1093"/>
                    <a:pt x="800" y="1093"/>
                  </a:cubicBezTo>
                  <a:close/>
                  <a:moveTo>
                    <a:pt x="720" y="427"/>
                  </a:moveTo>
                  <a:cubicBezTo>
                    <a:pt x="720" y="720"/>
                    <a:pt x="720" y="720"/>
                    <a:pt x="720" y="720"/>
                  </a:cubicBezTo>
                  <a:cubicBezTo>
                    <a:pt x="424" y="720"/>
                    <a:pt x="424" y="720"/>
                    <a:pt x="424" y="720"/>
                  </a:cubicBezTo>
                  <a:cubicBezTo>
                    <a:pt x="424" y="427"/>
                    <a:pt x="424" y="427"/>
                    <a:pt x="424" y="427"/>
                  </a:cubicBezTo>
                  <a:lnTo>
                    <a:pt x="720" y="427"/>
                  </a:lnTo>
                  <a:close/>
                  <a:moveTo>
                    <a:pt x="720" y="800"/>
                  </a:moveTo>
                  <a:cubicBezTo>
                    <a:pt x="720" y="1093"/>
                    <a:pt x="720" y="1093"/>
                    <a:pt x="720" y="1093"/>
                  </a:cubicBezTo>
                  <a:cubicBezTo>
                    <a:pt x="424" y="1093"/>
                    <a:pt x="424" y="1093"/>
                    <a:pt x="424" y="1093"/>
                  </a:cubicBezTo>
                  <a:cubicBezTo>
                    <a:pt x="424" y="800"/>
                    <a:pt x="424" y="800"/>
                    <a:pt x="424" y="800"/>
                  </a:cubicBezTo>
                  <a:lnTo>
                    <a:pt x="720" y="800"/>
                  </a:lnTo>
                  <a:close/>
                  <a:moveTo>
                    <a:pt x="800" y="720"/>
                  </a:moveTo>
                  <a:cubicBezTo>
                    <a:pt x="800" y="427"/>
                    <a:pt x="800" y="427"/>
                    <a:pt x="800" y="427"/>
                  </a:cubicBezTo>
                  <a:cubicBezTo>
                    <a:pt x="1096" y="427"/>
                    <a:pt x="1096" y="427"/>
                    <a:pt x="1096" y="427"/>
                  </a:cubicBezTo>
                  <a:cubicBezTo>
                    <a:pt x="1096" y="720"/>
                    <a:pt x="1096" y="720"/>
                    <a:pt x="1096" y="720"/>
                  </a:cubicBezTo>
                  <a:lnTo>
                    <a:pt x="800" y="720"/>
                  </a:lnTo>
                  <a:close/>
                  <a:moveTo>
                    <a:pt x="800" y="347"/>
                  </a:moveTo>
                  <a:cubicBezTo>
                    <a:pt x="800" y="83"/>
                    <a:pt x="800" y="83"/>
                    <a:pt x="800" y="83"/>
                  </a:cubicBezTo>
                  <a:cubicBezTo>
                    <a:pt x="943" y="100"/>
                    <a:pt x="1059" y="207"/>
                    <a:pt x="1089" y="347"/>
                  </a:cubicBezTo>
                  <a:cubicBezTo>
                    <a:pt x="800" y="347"/>
                    <a:pt x="800" y="347"/>
                    <a:pt x="800" y="347"/>
                  </a:cubicBezTo>
                  <a:close/>
                  <a:moveTo>
                    <a:pt x="720" y="83"/>
                  </a:moveTo>
                  <a:cubicBezTo>
                    <a:pt x="720" y="347"/>
                    <a:pt x="720" y="347"/>
                    <a:pt x="720" y="347"/>
                  </a:cubicBezTo>
                  <a:cubicBezTo>
                    <a:pt x="431" y="347"/>
                    <a:pt x="431" y="347"/>
                    <a:pt x="431" y="347"/>
                  </a:cubicBezTo>
                  <a:cubicBezTo>
                    <a:pt x="461" y="207"/>
                    <a:pt x="577" y="100"/>
                    <a:pt x="720" y="83"/>
                  </a:cubicBezTo>
                  <a:close/>
                  <a:moveTo>
                    <a:pt x="720" y="1173"/>
                  </a:moveTo>
                  <a:cubicBezTo>
                    <a:pt x="720" y="1437"/>
                    <a:pt x="720" y="1437"/>
                    <a:pt x="720" y="1437"/>
                  </a:cubicBezTo>
                  <a:cubicBezTo>
                    <a:pt x="577" y="1420"/>
                    <a:pt x="461" y="1313"/>
                    <a:pt x="431" y="1173"/>
                  </a:cubicBezTo>
                  <a:lnTo>
                    <a:pt x="720" y="1173"/>
                  </a:lnTo>
                  <a:close/>
                  <a:moveTo>
                    <a:pt x="800" y="1437"/>
                  </a:moveTo>
                  <a:cubicBezTo>
                    <a:pt x="800" y="1173"/>
                    <a:pt x="800" y="1173"/>
                    <a:pt x="800" y="1173"/>
                  </a:cubicBezTo>
                  <a:cubicBezTo>
                    <a:pt x="1089" y="1173"/>
                    <a:pt x="1089" y="1173"/>
                    <a:pt x="1089" y="1173"/>
                  </a:cubicBezTo>
                  <a:cubicBezTo>
                    <a:pt x="1059" y="1313"/>
                    <a:pt x="943" y="1420"/>
                    <a:pt x="800" y="1437"/>
                  </a:cubicBezTo>
                  <a:close/>
                  <a:moveTo>
                    <a:pt x="427" y="167"/>
                  </a:moveTo>
                  <a:cubicBezTo>
                    <a:pt x="389" y="218"/>
                    <a:pt x="363" y="276"/>
                    <a:pt x="351" y="340"/>
                  </a:cubicBezTo>
                  <a:cubicBezTo>
                    <a:pt x="317" y="334"/>
                    <a:pt x="285" y="322"/>
                    <a:pt x="255" y="305"/>
                  </a:cubicBezTo>
                  <a:cubicBezTo>
                    <a:pt x="304" y="251"/>
                    <a:pt x="362" y="204"/>
                    <a:pt x="427" y="167"/>
                  </a:cubicBezTo>
                  <a:close/>
                  <a:moveTo>
                    <a:pt x="255" y="1215"/>
                  </a:moveTo>
                  <a:cubicBezTo>
                    <a:pt x="285" y="1198"/>
                    <a:pt x="317" y="1186"/>
                    <a:pt x="351" y="1180"/>
                  </a:cubicBezTo>
                  <a:cubicBezTo>
                    <a:pt x="363" y="1244"/>
                    <a:pt x="389" y="1302"/>
                    <a:pt x="427" y="1353"/>
                  </a:cubicBezTo>
                  <a:cubicBezTo>
                    <a:pt x="362" y="1316"/>
                    <a:pt x="304" y="1269"/>
                    <a:pt x="255" y="1215"/>
                  </a:cubicBezTo>
                  <a:close/>
                  <a:moveTo>
                    <a:pt x="1093" y="1353"/>
                  </a:moveTo>
                  <a:cubicBezTo>
                    <a:pt x="1131" y="1302"/>
                    <a:pt x="1157" y="1244"/>
                    <a:pt x="1169" y="1180"/>
                  </a:cubicBezTo>
                  <a:cubicBezTo>
                    <a:pt x="1203" y="1186"/>
                    <a:pt x="1235" y="1198"/>
                    <a:pt x="1265" y="1215"/>
                  </a:cubicBezTo>
                  <a:cubicBezTo>
                    <a:pt x="1216" y="1269"/>
                    <a:pt x="1158" y="1316"/>
                    <a:pt x="1093" y="13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p:cNvSpPr>
            <p:nvPr/>
          </p:nvSpPr>
          <p:spPr bwMode="auto">
            <a:xfrm>
              <a:off x="-1615" y="2886"/>
              <a:ext cx="1869" cy="502"/>
            </a:xfrm>
            <a:custGeom>
              <a:avLst/>
              <a:gdLst>
                <a:gd name="T0" fmla="*/ 919 w 988"/>
                <a:gd name="T1" fmla="*/ 12 h 265"/>
                <a:gd name="T2" fmla="*/ 375 w 988"/>
                <a:gd name="T3" fmla="*/ 185 h 265"/>
                <a:gd name="T4" fmla="*/ 59 w 988"/>
                <a:gd name="T5" fmla="*/ 131 h 265"/>
                <a:gd name="T6" fmla="*/ 7 w 988"/>
                <a:gd name="T7" fmla="*/ 155 h 265"/>
                <a:gd name="T8" fmla="*/ 32 w 988"/>
                <a:gd name="T9" fmla="*/ 206 h 265"/>
                <a:gd name="T10" fmla="*/ 375 w 988"/>
                <a:gd name="T11" fmla="*/ 265 h 265"/>
                <a:gd name="T12" fmla="*/ 965 w 988"/>
                <a:gd name="T13" fmla="*/ 78 h 265"/>
                <a:gd name="T14" fmla="*/ 975 w 988"/>
                <a:gd name="T15" fmla="*/ 22 h 265"/>
                <a:gd name="T16" fmla="*/ 919 w 988"/>
                <a:gd name="T17"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8" h="265">
                  <a:moveTo>
                    <a:pt x="919" y="12"/>
                  </a:moveTo>
                  <a:cubicBezTo>
                    <a:pt x="759" y="125"/>
                    <a:pt x="571" y="185"/>
                    <a:pt x="375" y="185"/>
                  </a:cubicBezTo>
                  <a:cubicBezTo>
                    <a:pt x="266" y="185"/>
                    <a:pt x="160" y="167"/>
                    <a:pt x="59" y="131"/>
                  </a:cubicBezTo>
                  <a:cubicBezTo>
                    <a:pt x="38" y="123"/>
                    <a:pt x="15" y="134"/>
                    <a:pt x="7" y="155"/>
                  </a:cubicBezTo>
                  <a:cubicBezTo>
                    <a:pt x="0" y="176"/>
                    <a:pt x="11" y="199"/>
                    <a:pt x="32" y="206"/>
                  </a:cubicBezTo>
                  <a:cubicBezTo>
                    <a:pt x="142" y="245"/>
                    <a:pt x="257" y="265"/>
                    <a:pt x="375" y="265"/>
                  </a:cubicBezTo>
                  <a:cubicBezTo>
                    <a:pt x="588" y="265"/>
                    <a:pt x="792" y="200"/>
                    <a:pt x="965" y="78"/>
                  </a:cubicBezTo>
                  <a:cubicBezTo>
                    <a:pt x="983" y="65"/>
                    <a:pt x="988" y="40"/>
                    <a:pt x="975" y="22"/>
                  </a:cubicBezTo>
                  <a:cubicBezTo>
                    <a:pt x="962" y="4"/>
                    <a:pt x="937" y="0"/>
                    <a:pt x="91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p:nvSpPr>
          <p:spPr bwMode="auto">
            <a:xfrm>
              <a:off x="-2088" y="-488"/>
              <a:ext cx="1966" cy="509"/>
            </a:xfrm>
            <a:custGeom>
              <a:avLst/>
              <a:gdLst>
                <a:gd name="T0" fmla="*/ 46 w 1039"/>
                <a:gd name="T1" fmla="*/ 269 h 269"/>
                <a:gd name="T2" fmla="*/ 69 w 1039"/>
                <a:gd name="T3" fmla="*/ 261 h 269"/>
                <a:gd name="T4" fmla="*/ 625 w 1039"/>
                <a:gd name="T5" fmla="*/ 80 h 269"/>
                <a:gd name="T6" fmla="*/ 978 w 1039"/>
                <a:gd name="T7" fmla="*/ 148 h 269"/>
                <a:gd name="T8" fmla="*/ 1030 w 1039"/>
                <a:gd name="T9" fmla="*/ 126 h 269"/>
                <a:gd name="T10" fmla="*/ 1008 w 1039"/>
                <a:gd name="T11" fmla="*/ 74 h 269"/>
                <a:gd name="T12" fmla="*/ 625 w 1039"/>
                <a:gd name="T13" fmla="*/ 0 h 269"/>
                <a:gd name="T14" fmla="*/ 22 w 1039"/>
                <a:gd name="T15" fmla="*/ 196 h 269"/>
                <a:gd name="T16" fmla="*/ 13 w 1039"/>
                <a:gd name="T17" fmla="*/ 252 h 269"/>
                <a:gd name="T18" fmla="*/ 46 w 1039"/>
                <a:gd name="T19"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9" h="269">
                  <a:moveTo>
                    <a:pt x="46" y="269"/>
                  </a:moveTo>
                  <a:cubicBezTo>
                    <a:pt x="54" y="269"/>
                    <a:pt x="62" y="266"/>
                    <a:pt x="69" y="261"/>
                  </a:cubicBezTo>
                  <a:cubicBezTo>
                    <a:pt x="232" y="143"/>
                    <a:pt x="424" y="80"/>
                    <a:pt x="625" y="80"/>
                  </a:cubicBezTo>
                  <a:cubicBezTo>
                    <a:pt x="747" y="80"/>
                    <a:pt x="866" y="103"/>
                    <a:pt x="978" y="148"/>
                  </a:cubicBezTo>
                  <a:cubicBezTo>
                    <a:pt x="999" y="157"/>
                    <a:pt x="1022" y="147"/>
                    <a:pt x="1030" y="126"/>
                  </a:cubicBezTo>
                  <a:cubicBezTo>
                    <a:pt x="1039" y="106"/>
                    <a:pt x="1029" y="82"/>
                    <a:pt x="1008" y="74"/>
                  </a:cubicBezTo>
                  <a:cubicBezTo>
                    <a:pt x="886" y="25"/>
                    <a:pt x="757" y="0"/>
                    <a:pt x="625" y="0"/>
                  </a:cubicBezTo>
                  <a:cubicBezTo>
                    <a:pt x="407" y="0"/>
                    <a:pt x="198" y="68"/>
                    <a:pt x="22" y="196"/>
                  </a:cubicBezTo>
                  <a:cubicBezTo>
                    <a:pt x="4" y="209"/>
                    <a:pt x="0" y="234"/>
                    <a:pt x="13" y="252"/>
                  </a:cubicBezTo>
                  <a:cubicBezTo>
                    <a:pt x="21" y="263"/>
                    <a:pt x="33" y="269"/>
                    <a:pt x="46"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noEditPoints="1"/>
            </p:cNvSpPr>
            <p:nvPr/>
          </p:nvSpPr>
          <p:spPr bwMode="auto">
            <a:xfrm>
              <a:off x="124" y="-155"/>
              <a:ext cx="908" cy="2381"/>
            </a:xfrm>
            <a:custGeom>
              <a:avLst/>
              <a:gdLst>
                <a:gd name="T0" fmla="*/ 278 w 480"/>
                <a:gd name="T1" fmla="*/ 237 h 1258"/>
                <a:gd name="T2" fmla="*/ 304 w 480"/>
                <a:gd name="T3" fmla="*/ 152 h 1258"/>
                <a:gd name="T4" fmla="*/ 259 w 480"/>
                <a:gd name="T5" fmla="*/ 45 h 1258"/>
                <a:gd name="T6" fmla="*/ 152 w 480"/>
                <a:gd name="T7" fmla="*/ 0 h 1258"/>
                <a:gd name="T8" fmla="*/ 44 w 480"/>
                <a:gd name="T9" fmla="*/ 45 h 1258"/>
                <a:gd name="T10" fmla="*/ 0 w 480"/>
                <a:gd name="T11" fmla="*/ 152 h 1258"/>
                <a:gd name="T12" fmla="*/ 44 w 480"/>
                <a:gd name="T13" fmla="*/ 260 h 1258"/>
                <a:gd name="T14" fmla="*/ 152 w 480"/>
                <a:gd name="T15" fmla="*/ 304 h 1258"/>
                <a:gd name="T16" fmla="*/ 217 w 480"/>
                <a:gd name="T17" fmla="*/ 290 h 1258"/>
                <a:gd name="T18" fmla="*/ 400 w 480"/>
                <a:gd name="T19" fmla="*/ 848 h 1258"/>
                <a:gd name="T20" fmla="*/ 331 w 480"/>
                <a:gd name="T21" fmla="*/ 1203 h 1258"/>
                <a:gd name="T22" fmla="*/ 353 w 480"/>
                <a:gd name="T23" fmla="*/ 1255 h 1258"/>
                <a:gd name="T24" fmla="*/ 368 w 480"/>
                <a:gd name="T25" fmla="*/ 1258 h 1258"/>
                <a:gd name="T26" fmla="*/ 405 w 480"/>
                <a:gd name="T27" fmla="*/ 1233 h 1258"/>
                <a:gd name="T28" fmla="*/ 480 w 480"/>
                <a:gd name="T29" fmla="*/ 848 h 1258"/>
                <a:gd name="T30" fmla="*/ 278 w 480"/>
                <a:gd name="T31" fmla="*/ 237 h 1258"/>
                <a:gd name="T32" fmla="*/ 101 w 480"/>
                <a:gd name="T33" fmla="*/ 203 h 1258"/>
                <a:gd name="T34" fmla="*/ 80 w 480"/>
                <a:gd name="T35" fmla="*/ 152 h 1258"/>
                <a:gd name="T36" fmla="*/ 101 w 480"/>
                <a:gd name="T37" fmla="*/ 101 h 1258"/>
                <a:gd name="T38" fmla="*/ 152 w 480"/>
                <a:gd name="T39" fmla="*/ 80 h 1258"/>
                <a:gd name="T40" fmla="*/ 203 w 480"/>
                <a:gd name="T41" fmla="*/ 101 h 1258"/>
                <a:gd name="T42" fmla="*/ 224 w 480"/>
                <a:gd name="T43" fmla="*/ 152 h 1258"/>
                <a:gd name="T44" fmla="*/ 203 w 480"/>
                <a:gd name="T45" fmla="*/ 203 h 1258"/>
                <a:gd name="T46" fmla="*/ 203 w 480"/>
                <a:gd name="T47" fmla="*/ 203 h 1258"/>
                <a:gd name="T48" fmla="*/ 152 w 480"/>
                <a:gd name="T49" fmla="*/ 224 h 1258"/>
                <a:gd name="T50" fmla="*/ 101 w 480"/>
                <a:gd name="T51" fmla="*/ 20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0" h="1258">
                  <a:moveTo>
                    <a:pt x="278" y="237"/>
                  </a:moveTo>
                  <a:cubicBezTo>
                    <a:pt x="295" y="212"/>
                    <a:pt x="304" y="183"/>
                    <a:pt x="304" y="152"/>
                  </a:cubicBezTo>
                  <a:cubicBezTo>
                    <a:pt x="304" y="112"/>
                    <a:pt x="288" y="73"/>
                    <a:pt x="259" y="45"/>
                  </a:cubicBezTo>
                  <a:cubicBezTo>
                    <a:pt x="231" y="16"/>
                    <a:pt x="192" y="0"/>
                    <a:pt x="152" y="0"/>
                  </a:cubicBezTo>
                  <a:cubicBezTo>
                    <a:pt x="111" y="0"/>
                    <a:pt x="73" y="16"/>
                    <a:pt x="44" y="45"/>
                  </a:cubicBezTo>
                  <a:cubicBezTo>
                    <a:pt x="16" y="73"/>
                    <a:pt x="0" y="112"/>
                    <a:pt x="0" y="152"/>
                  </a:cubicBezTo>
                  <a:cubicBezTo>
                    <a:pt x="0" y="193"/>
                    <a:pt x="16" y="231"/>
                    <a:pt x="44" y="260"/>
                  </a:cubicBezTo>
                  <a:cubicBezTo>
                    <a:pt x="73" y="288"/>
                    <a:pt x="111" y="304"/>
                    <a:pt x="152" y="304"/>
                  </a:cubicBezTo>
                  <a:cubicBezTo>
                    <a:pt x="175" y="304"/>
                    <a:pt x="197" y="299"/>
                    <a:pt x="217" y="290"/>
                  </a:cubicBezTo>
                  <a:cubicBezTo>
                    <a:pt x="337" y="452"/>
                    <a:pt x="400" y="644"/>
                    <a:pt x="400" y="848"/>
                  </a:cubicBezTo>
                  <a:cubicBezTo>
                    <a:pt x="400" y="971"/>
                    <a:pt x="377" y="1090"/>
                    <a:pt x="331" y="1203"/>
                  </a:cubicBezTo>
                  <a:cubicBezTo>
                    <a:pt x="323" y="1224"/>
                    <a:pt x="332" y="1247"/>
                    <a:pt x="353" y="1255"/>
                  </a:cubicBezTo>
                  <a:cubicBezTo>
                    <a:pt x="358" y="1257"/>
                    <a:pt x="363" y="1258"/>
                    <a:pt x="368" y="1258"/>
                  </a:cubicBezTo>
                  <a:cubicBezTo>
                    <a:pt x="384" y="1258"/>
                    <a:pt x="399" y="1249"/>
                    <a:pt x="405" y="1233"/>
                  </a:cubicBezTo>
                  <a:cubicBezTo>
                    <a:pt x="455" y="1111"/>
                    <a:pt x="480" y="981"/>
                    <a:pt x="480" y="848"/>
                  </a:cubicBezTo>
                  <a:cubicBezTo>
                    <a:pt x="480" y="625"/>
                    <a:pt x="410" y="415"/>
                    <a:pt x="278" y="237"/>
                  </a:cubicBezTo>
                  <a:close/>
                  <a:moveTo>
                    <a:pt x="101" y="203"/>
                  </a:moveTo>
                  <a:cubicBezTo>
                    <a:pt x="87" y="190"/>
                    <a:pt x="80" y="171"/>
                    <a:pt x="80" y="152"/>
                  </a:cubicBezTo>
                  <a:cubicBezTo>
                    <a:pt x="80" y="133"/>
                    <a:pt x="87" y="115"/>
                    <a:pt x="101" y="101"/>
                  </a:cubicBezTo>
                  <a:cubicBezTo>
                    <a:pt x="114" y="88"/>
                    <a:pt x="133" y="80"/>
                    <a:pt x="152" y="80"/>
                  </a:cubicBezTo>
                  <a:cubicBezTo>
                    <a:pt x="171" y="80"/>
                    <a:pt x="189" y="88"/>
                    <a:pt x="203" y="101"/>
                  </a:cubicBezTo>
                  <a:cubicBezTo>
                    <a:pt x="216" y="115"/>
                    <a:pt x="224" y="133"/>
                    <a:pt x="224" y="152"/>
                  </a:cubicBezTo>
                  <a:cubicBezTo>
                    <a:pt x="224" y="171"/>
                    <a:pt x="216" y="190"/>
                    <a:pt x="203" y="203"/>
                  </a:cubicBezTo>
                  <a:cubicBezTo>
                    <a:pt x="203" y="203"/>
                    <a:pt x="203" y="203"/>
                    <a:pt x="203" y="203"/>
                  </a:cubicBezTo>
                  <a:cubicBezTo>
                    <a:pt x="189" y="217"/>
                    <a:pt x="171" y="224"/>
                    <a:pt x="152" y="224"/>
                  </a:cubicBezTo>
                  <a:cubicBezTo>
                    <a:pt x="133" y="224"/>
                    <a:pt x="114" y="217"/>
                    <a:pt x="101"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p:nvSpPr>
          <p:spPr bwMode="auto">
            <a:xfrm>
              <a:off x="-2843" y="788"/>
              <a:ext cx="870" cy="2206"/>
            </a:xfrm>
            <a:custGeom>
              <a:avLst/>
              <a:gdLst>
                <a:gd name="T0" fmla="*/ 283 w 460"/>
                <a:gd name="T1" fmla="*/ 935 h 1166"/>
                <a:gd name="T2" fmla="*/ 80 w 460"/>
                <a:gd name="T3" fmla="*/ 350 h 1166"/>
                <a:gd name="T4" fmla="*/ 126 w 460"/>
                <a:gd name="T5" fmla="*/ 57 h 1166"/>
                <a:gd name="T6" fmla="*/ 101 w 460"/>
                <a:gd name="T7" fmla="*/ 6 h 1166"/>
                <a:gd name="T8" fmla="*/ 50 w 460"/>
                <a:gd name="T9" fmla="*/ 32 h 1166"/>
                <a:gd name="T10" fmla="*/ 0 w 460"/>
                <a:gd name="T11" fmla="*/ 350 h 1166"/>
                <a:gd name="T12" fmla="*/ 222 w 460"/>
                <a:gd name="T13" fmla="*/ 987 h 1166"/>
                <a:gd name="T14" fmla="*/ 223 w 460"/>
                <a:gd name="T15" fmla="*/ 988 h 1166"/>
                <a:gd name="T16" fmla="*/ 243 w 460"/>
                <a:gd name="T17" fmla="*/ 1131 h 1166"/>
                <a:gd name="T18" fmla="*/ 328 w 460"/>
                <a:gd name="T19" fmla="*/ 1166 h 1166"/>
                <a:gd name="T20" fmla="*/ 413 w 460"/>
                <a:gd name="T21" fmla="*/ 1131 h 1166"/>
                <a:gd name="T22" fmla="*/ 413 w 460"/>
                <a:gd name="T23" fmla="*/ 961 h 1166"/>
                <a:gd name="T24" fmla="*/ 283 w 460"/>
                <a:gd name="T25" fmla="*/ 935 h 1166"/>
                <a:gd name="T26" fmla="*/ 356 w 460"/>
                <a:gd name="T27" fmla="*/ 1074 h 1166"/>
                <a:gd name="T28" fmla="*/ 328 w 460"/>
                <a:gd name="T29" fmla="*/ 1086 h 1166"/>
                <a:gd name="T30" fmla="*/ 300 w 460"/>
                <a:gd name="T31" fmla="*/ 1074 h 1166"/>
                <a:gd name="T32" fmla="*/ 288 w 460"/>
                <a:gd name="T33" fmla="*/ 1046 h 1166"/>
                <a:gd name="T34" fmla="*/ 300 w 460"/>
                <a:gd name="T35" fmla="*/ 1018 h 1166"/>
                <a:gd name="T36" fmla="*/ 328 w 460"/>
                <a:gd name="T37" fmla="*/ 1006 h 1166"/>
                <a:gd name="T38" fmla="*/ 356 w 460"/>
                <a:gd name="T39" fmla="*/ 1018 h 1166"/>
                <a:gd name="T40" fmla="*/ 368 w 460"/>
                <a:gd name="T41" fmla="*/ 1046 h 1166"/>
                <a:gd name="T42" fmla="*/ 356 w 460"/>
                <a:gd name="T43" fmla="*/ 1074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0" h="1166">
                  <a:moveTo>
                    <a:pt x="283" y="935"/>
                  </a:moveTo>
                  <a:cubicBezTo>
                    <a:pt x="150" y="767"/>
                    <a:pt x="80" y="565"/>
                    <a:pt x="80" y="350"/>
                  </a:cubicBezTo>
                  <a:cubicBezTo>
                    <a:pt x="80" y="250"/>
                    <a:pt x="96" y="151"/>
                    <a:pt x="126" y="57"/>
                  </a:cubicBezTo>
                  <a:cubicBezTo>
                    <a:pt x="133" y="36"/>
                    <a:pt x="122" y="13"/>
                    <a:pt x="101" y="6"/>
                  </a:cubicBezTo>
                  <a:cubicBezTo>
                    <a:pt x="80" y="0"/>
                    <a:pt x="57" y="11"/>
                    <a:pt x="50" y="32"/>
                  </a:cubicBezTo>
                  <a:cubicBezTo>
                    <a:pt x="17" y="134"/>
                    <a:pt x="0" y="241"/>
                    <a:pt x="0" y="350"/>
                  </a:cubicBezTo>
                  <a:cubicBezTo>
                    <a:pt x="0" y="584"/>
                    <a:pt x="77" y="804"/>
                    <a:pt x="222" y="987"/>
                  </a:cubicBezTo>
                  <a:cubicBezTo>
                    <a:pt x="223" y="987"/>
                    <a:pt x="223" y="988"/>
                    <a:pt x="223" y="988"/>
                  </a:cubicBezTo>
                  <a:cubicBezTo>
                    <a:pt x="198" y="1034"/>
                    <a:pt x="205" y="1092"/>
                    <a:pt x="243" y="1131"/>
                  </a:cubicBezTo>
                  <a:cubicBezTo>
                    <a:pt x="267" y="1154"/>
                    <a:pt x="297" y="1166"/>
                    <a:pt x="328" y="1166"/>
                  </a:cubicBezTo>
                  <a:cubicBezTo>
                    <a:pt x="359" y="1166"/>
                    <a:pt x="390" y="1154"/>
                    <a:pt x="413" y="1131"/>
                  </a:cubicBezTo>
                  <a:cubicBezTo>
                    <a:pt x="460" y="1084"/>
                    <a:pt x="460" y="1008"/>
                    <a:pt x="413" y="961"/>
                  </a:cubicBezTo>
                  <a:cubicBezTo>
                    <a:pt x="378" y="926"/>
                    <a:pt x="326" y="917"/>
                    <a:pt x="283" y="935"/>
                  </a:cubicBezTo>
                  <a:close/>
                  <a:moveTo>
                    <a:pt x="356" y="1074"/>
                  </a:moveTo>
                  <a:cubicBezTo>
                    <a:pt x="349" y="1082"/>
                    <a:pt x="339" y="1086"/>
                    <a:pt x="328" y="1086"/>
                  </a:cubicBezTo>
                  <a:cubicBezTo>
                    <a:pt x="318" y="1086"/>
                    <a:pt x="307" y="1082"/>
                    <a:pt x="300" y="1074"/>
                  </a:cubicBezTo>
                  <a:cubicBezTo>
                    <a:pt x="292" y="1067"/>
                    <a:pt x="288" y="1056"/>
                    <a:pt x="288" y="1046"/>
                  </a:cubicBezTo>
                  <a:cubicBezTo>
                    <a:pt x="288" y="1035"/>
                    <a:pt x="292" y="1025"/>
                    <a:pt x="300" y="1018"/>
                  </a:cubicBezTo>
                  <a:cubicBezTo>
                    <a:pt x="307" y="1010"/>
                    <a:pt x="318" y="1006"/>
                    <a:pt x="328" y="1006"/>
                  </a:cubicBezTo>
                  <a:cubicBezTo>
                    <a:pt x="339" y="1006"/>
                    <a:pt x="349" y="1010"/>
                    <a:pt x="356" y="1018"/>
                  </a:cubicBezTo>
                  <a:cubicBezTo>
                    <a:pt x="364" y="1025"/>
                    <a:pt x="368" y="1035"/>
                    <a:pt x="368" y="1046"/>
                  </a:cubicBezTo>
                  <a:cubicBezTo>
                    <a:pt x="368" y="1056"/>
                    <a:pt x="364" y="1067"/>
                    <a:pt x="356" y="10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p:cNvSpPr>
            <p:nvPr/>
          </p:nvSpPr>
          <p:spPr bwMode="auto">
            <a:xfrm>
              <a:off x="-2298" y="57"/>
              <a:ext cx="151" cy="151"/>
            </a:xfrm>
            <a:custGeom>
              <a:avLst/>
              <a:gdLst>
                <a:gd name="T0" fmla="*/ 40 w 80"/>
                <a:gd name="T1" fmla="*/ 80 h 80"/>
                <a:gd name="T2" fmla="*/ 68 w 80"/>
                <a:gd name="T3" fmla="*/ 68 h 80"/>
                <a:gd name="T4" fmla="*/ 80 w 80"/>
                <a:gd name="T5" fmla="*/ 40 h 80"/>
                <a:gd name="T6" fmla="*/ 68 w 80"/>
                <a:gd name="T7" fmla="*/ 12 h 80"/>
                <a:gd name="T8" fmla="*/ 40 w 80"/>
                <a:gd name="T9" fmla="*/ 0 h 80"/>
                <a:gd name="T10" fmla="*/ 12 w 80"/>
                <a:gd name="T11" fmla="*/ 12 h 80"/>
                <a:gd name="T12" fmla="*/ 0 w 80"/>
                <a:gd name="T13" fmla="*/ 40 h 80"/>
                <a:gd name="T14" fmla="*/ 12 w 80"/>
                <a:gd name="T15" fmla="*/ 68 h 80"/>
                <a:gd name="T16" fmla="*/ 40 w 8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80"/>
                  </a:moveTo>
                  <a:cubicBezTo>
                    <a:pt x="51" y="80"/>
                    <a:pt x="61" y="76"/>
                    <a:pt x="68" y="68"/>
                  </a:cubicBezTo>
                  <a:cubicBezTo>
                    <a:pt x="76" y="61"/>
                    <a:pt x="80" y="51"/>
                    <a:pt x="80" y="40"/>
                  </a:cubicBezTo>
                  <a:cubicBezTo>
                    <a:pt x="80" y="30"/>
                    <a:pt x="76" y="19"/>
                    <a:pt x="68" y="12"/>
                  </a:cubicBezTo>
                  <a:cubicBezTo>
                    <a:pt x="61" y="4"/>
                    <a:pt x="51" y="0"/>
                    <a:pt x="40" y="0"/>
                  </a:cubicBezTo>
                  <a:cubicBezTo>
                    <a:pt x="30" y="0"/>
                    <a:pt x="19" y="4"/>
                    <a:pt x="12" y="12"/>
                  </a:cubicBezTo>
                  <a:cubicBezTo>
                    <a:pt x="4" y="19"/>
                    <a:pt x="0" y="30"/>
                    <a:pt x="0" y="40"/>
                  </a:cubicBezTo>
                  <a:cubicBezTo>
                    <a:pt x="0" y="51"/>
                    <a:pt x="4" y="61"/>
                    <a:pt x="12" y="68"/>
                  </a:cubicBezTo>
                  <a:cubicBezTo>
                    <a:pt x="19" y="76"/>
                    <a:pt x="30"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1"/>
            <p:cNvSpPr>
              <a:spLocks/>
            </p:cNvSpPr>
            <p:nvPr/>
          </p:nvSpPr>
          <p:spPr bwMode="auto">
            <a:xfrm>
              <a:off x="336" y="2692"/>
              <a:ext cx="151" cy="151"/>
            </a:xfrm>
            <a:custGeom>
              <a:avLst/>
              <a:gdLst>
                <a:gd name="T0" fmla="*/ 40 w 80"/>
                <a:gd name="T1" fmla="*/ 0 h 80"/>
                <a:gd name="T2" fmla="*/ 12 w 80"/>
                <a:gd name="T3" fmla="*/ 12 h 80"/>
                <a:gd name="T4" fmla="*/ 0 w 80"/>
                <a:gd name="T5" fmla="*/ 40 h 80"/>
                <a:gd name="T6" fmla="*/ 12 w 80"/>
                <a:gd name="T7" fmla="*/ 68 h 80"/>
                <a:gd name="T8" fmla="*/ 40 w 80"/>
                <a:gd name="T9" fmla="*/ 80 h 80"/>
                <a:gd name="T10" fmla="*/ 68 w 80"/>
                <a:gd name="T11" fmla="*/ 68 h 80"/>
                <a:gd name="T12" fmla="*/ 80 w 80"/>
                <a:gd name="T13" fmla="*/ 40 h 80"/>
                <a:gd name="T14" fmla="*/ 68 w 80"/>
                <a:gd name="T15" fmla="*/ 12 h 80"/>
                <a:gd name="T16" fmla="*/ 40 w 8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0"/>
                  </a:moveTo>
                  <a:cubicBezTo>
                    <a:pt x="29" y="0"/>
                    <a:pt x="19" y="4"/>
                    <a:pt x="12" y="12"/>
                  </a:cubicBezTo>
                  <a:cubicBezTo>
                    <a:pt x="4" y="19"/>
                    <a:pt x="0" y="29"/>
                    <a:pt x="0" y="40"/>
                  </a:cubicBezTo>
                  <a:cubicBezTo>
                    <a:pt x="0" y="50"/>
                    <a:pt x="4" y="61"/>
                    <a:pt x="12" y="68"/>
                  </a:cubicBezTo>
                  <a:cubicBezTo>
                    <a:pt x="19" y="76"/>
                    <a:pt x="29" y="80"/>
                    <a:pt x="40" y="80"/>
                  </a:cubicBezTo>
                  <a:cubicBezTo>
                    <a:pt x="50" y="80"/>
                    <a:pt x="61" y="76"/>
                    <a:pt x="68" y="68"/>
                  </a:cubicBezTo>
                  <a:cubicBezTo>
                    <a:pt x="76" y="61"/>
                    <a:pt x="80" y="50"/>
                    <a:pt x="80" y="40"/>
                  </a:cubicBezTo>
                  <a:cubicBezTo>
                    <a:pt x="80" y="29"/>
                    <a:pt x="76" y="19"/>
                    <a:pt x="68" y="12"/>
                  </a:cubicBezTo>
                  <a:cubicBezTo>
                    <a:pt x="61" y="4"/>
                    <a:pt x="50"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14"/>
          <p:cNvGrpSpPr>
            <a:grpSpLocks noChangeAspect="1"/>
          </p:cNvGrpSpPr>
          <p:nvPr/>
        </p:nvGrpSpPr>
        <p:grpSpPr bwMode="auto">
          <a:xfrm>
            <a:off x="2996986" y="1618381"/>
            <a:ext cx="530730" cy="457200"/>
            <a:chOff x="4989" y="-1356"/>
            <a:chExt cx="3876" cy="3339"/>
          </a:xfrm>
          <a:solidFill>
            <a:schemeClr val="bg1"/>
          </a:solidFill>
        </p:grpSpPr>
        <p:sp>
          <p:nvSpPr>
            <p:cNvPr id="37" name="Freeform 15"/>
            <p:cNvSpPr>
              <a:spLocks noEditPoints="1"/>
            </p:cNvSpPr>
            <p:nvPr/>
          </p:nvSpPr>
          <p:spPr bwMode="auto">
            <a:xfrm>
              <a:off x="5474" y="1410"/>
              <a:ext cx="340" cy="340"/>
            </a:xfrm>
            <a:custGeom>
              <a:avLst/>
              <a:gdLst>
                <a:gd name="T0" fmla="*/ 90 w 180"/>
                <a:gd name="T1" fmla="*/ 0 h 180"/>
                <a:gd name="T2" fmla="*/ 0 w 180"/>
                <a:gd name="T3" fmla="*/ 90 h 180"/>
                <a:gd name="T4" fmla="*/ 90 w 180"/>
                <a:gd name="T5" fmla="*/ 180 h 180"/>
                <a:gd name="T6" fmla="*/ 180 w 180"/>
                <a:gd name="T7" fmla="*/ 90 h 180"/>
                <a:gd name="T8" fmla="*/ 90 w 180"/>
                <a:gd name="T9" fmla="*/ 0 h 180"/>
                <a:gd name="T10" fmla="*/ 90 w 180"/>
                <a:gd name="T11" fmla="*/ 120 h 180"/>
                <a:gd name="T12" fmla="*/ 60 w 180"/>
                <a:gd name="T13" fmla="*/ 90 h 180"/>
                <a:gd name="T14" fmla="*/ 90 w 180"/>
                <a:gd name="T15" fmla="*/ 60 h 180"/>
                <a:gd name="T16" fmla="*/ 120 w 180"/>
                <a:gd name="T17" fmla="*/ 90 h 180"/>
                <a:gd name="T18" fmla="*/ 90 w 180"/>
                <a:gd name="T19" fmla="*/ 12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0"/>
                  </a:moveTo>
                  <a:cubicBezTo>
                    <a:pt x="40" y="0"/>
                    <a:pt x="0" y="40"/>
                    <a:pt x="0" y="90"/>
                  </a:cubicBezTo>
                  <a:cubicBezTo>
                    <a:pt x="0" y="139"/>
                    <a:pt x="40" y="180"/>
                    <a:pt x="90" y="180"/>
                  </a:cubicBezTo>
                  <a:cubicBezTo>
                    <a:pt x="140" y="180"/>
                    <a:pt x="180" y="139"/>
                    <a:pt x="180" y="90"/>
                  </a:cubicBezTo>
                  <a:cubicBezTo>
                    <a:pt x="180" y="40"/>
                    <a:pt x="140" y="0"/>
                    <a:pt x="90" y="0"/>
                  </a:cubicBezTo>
                  <a:close/>
                  <a:moveTo>
                    <a:pt x="90" y="120"/>
                  </a:moveTo>
                  <a:cubicBezTo>
                    <a:pt x="73" y="120"/>
                    <a:pt x="60" y="106"/>
                    <a:pt x="60" y="90"/>
                  </a:cubicBezTo>
                  <a:cubicBezTo>
                    <a:pt x="60" y="73"/>
                    <a:pt x="73" y="60"/>
                    <a:pt x="90" y="60"/>
                  </a:cubicBezTo>
                  <a:cubicBezTo>
                    <a:pt x="107" y="60"/>
                    <a:pt x="120" y="73"/>
                    <a:pt x="120" y="90"/>
                  </a:cubicBezTo>
                  <a:cubicBezTo>
                    <a:pt x="120" y="106"/>
                    <a:pt x="107" y="120"/>
                    <a:pt x="90"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6"/>
            <p:cNvSpPr>
              <a:spLocks/>
            </p:cNvSpPr>
            <p:nvPr/>
          </p:nvSpPr>
          <p:spPr bwMode="auto">
            <a:xfrm>
              <a:off x="5810" y="-1356"/>
              <a:ext cx="2234" cy="2063"/>
            </a:xfrm>
            <a:custGeom>
              <a:avLst/>
              <a:gdLst>
                <a:gd name="T0" fmla="*/ 263 w 1180"/>
                <a:gd name="T1" fmla="*/ 1081 h 1090"/>
                <a:gd name="T2" fmla="*/ 305 w 1180"/>
                <a:gd name="T3" fmla="*/ 1073 h 1090"/>
                <a:gd name="T4" fmla="*/ 296 w 1180"/>
                <a:gd name="T5" fmla="*/ 1031 h 1090"/>
                <a:gd name="T6" fmla="*/ 60 w 1180"/>
                <a:gd name="T7" fmla="*/ 590 h 1090"/>
                <a:gd name="T8" fmla="*/ 590 w 1180"/>
                <a:gd name="T9" fmla="*/ 60 h 1090"/>
                <a:gd name="T10" fmla="*/ 1120 w 1180"/>
                <a:gd name="T11" fmla="*/ 590 h 1090"/>
                <a:gd name="T12" fmla="*/ 884 w 1180"/>
                <a:gd name="T13" fmla="*/ 1031 h 1090"/>
                <a:gd name="T14" fmla="*/ 875 w 1180"/>
                <a:gd name="T15" fmla="*/ 1073 h 1090"/>
                <a:gd name="T16" fmla="*/ 900 w 1180"/>
                <a:gd name="T17" fmla="*/ 1086 h 1090"/>
                <a:gd name="T18" fmla="*/ 917 w 1180"/>
                <a:gd name="T19" fmla="*/ 1081 h 1090"/>
                <a:gd name="T20" fmla="*/ 1180 w 1180"/>
                <a:gd name="T21" fmla="*/ 590 h 1090"/>
                <a:gd name="T22" fmla="*/ 590 w 1180"/>
                <a:gd name="T23" fmla="*/ 0 h 1090"/>
                <a:gd name="T24" fmla="*/ 0 w 1180"/>
                <a:gd name="T25" fmla="*/ 590 h 1090"/>
                <a:gd name="T26" fmla="*/ 263 w 1180"/>
                <a:gd name="T27" fmla="*/ 1081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0" h="1090">
                  <a:moveTo>
                    <a:pt x="263" y="1081"/>
                  </a:moveTo>
                  <a:cubicBezTo>
                    <a:pt x="277" y="1090"/>
                    <a:pt x="296" y="1086"/>
                    <a:pt x="305" y="1073"/>
                  </a:cubicBezTo>
                  <a:cubicBezTo>
                    <a:pt x="314" y="1059"/>
                    <a:pt x="310" y="1040"/>
                    <a:pt x="296" y="1031"/>
                  </a:cubicBezTo>
                  <a:cubicBezTo>
                    <a:pt x="148" y="932"/>
                    <a:pt x="60" y="767"/>
                    <a:pt x="60" y="590"/>
                  </a:cubicBezTo>
                  <a:cubicBezTo>
                    <a:pt x="60" y="298"/>
                    <a:pt x="298" y="60"/>
                    <a:pt x="590" y="60"/>
                  </a:cubicBezTo>
                  <a:cubicBezTo>
                    <a:pt x="882" y="60"/>
                    <a:pt x="1120" y="298"/>
                    <a:pt x="1120" y="590"/>
                  </a:cubicBezTo>
                  <a:cubicBezTo>
                    <a:pt x="1120" y="767"/>
                    <a:pt x="1032" y="932"/>
                    <a:pt x="884" y="1031"/>
                  </a:cubicBezTo>
                  <a:cubicBezTo>
                    <a:pt x="870" y="1040"/>
                    <a:pt x="866" y="1059"/>
                    <a:pt x="875" y="1073"/>
                  </a:cubicBezTo>
                  <a:cubicBezTo>
                    <a:pt x="881" y="1081"/>
                    <a:pt x="891" y="1086"/>
                    <a:pt x="900" y="1086"/>
                  </a:cubicBezTo>
                  <a:cubicBezTo>
                    <a:pt x="906" y="1086"/>
                    <a:pt x="912" y="1084"/>
                    <a:pt x="917" y="1081"/>
                  </a:cubicBezTo>
                  <a:cubicBezTo>
                    <a:pt x="1082" y="971"/>
                    <a:pt x="1180" y="787"/>
                    <a:pt x="1180" y="590"/>
                  </a:cubicBezTo>
                  <a:cubicBezTo>
                    <a:pt x="1180" y="265"/>
                    <a:pt x="915" y="0"/>
                    <a:pt x="590" y="0"/>
                  </a:cubicBezTo>
                  <a:cubicBezTo>
                    <a:pt x="265" y="0"/>
                    <a:pt x="0" y="265"/>
                    <a:pt x="0" y="590"/>
                  </a:cubicBezTo>
                  <a:cubicBezTo>
                    <a:pt x="0" y="787"/>
                    <a:pt x="98" y="971"/>
                    <a:pt x="263" y="10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7"/>
            <p:cNvSpPr>
              <a:spLocks/>
            </p:cNvSpPr>
            <p:nvPr/>
          </p:nvSpPr>
          <p:spPr bwMode="auto">
            <a:xfrm>
              <a:off x="6126" y="-1040"/>
              <a:ext cx="1602" cy="1484"/>
            </a:xfrm>
            <a:custGeom>
              <a:avLst/>
              <a:gdLst>
                <a:gd name="T0" fmla="*/ 641 w 846"/>
                <a:gd name="T1" fmla="*/ 780 h 784"/>
                <a:gd name="T2" fmla="*/ 657 w 846"/>
                <a:gd name="T3" fmla="*/ 775 h 784"/>
                <a:gd name="T4" fmla="*/ 846 w 846"/>
                <a:gd name="T5" fmla="*/ 423 h 784"/>
                <a:gd name="T6" fmla="*/ 423 w 846"/>
                <a:gd name="T7" fmla="*/ 0 h 784"/>
                <a:gd name="T8" fmla="*/ 0 w 846"/>
                <a:gd name="T9" fmla="*/ 423 h 784"/>
                <a:gd name="T10" fmla="*/ 189 w 846"/>
                <a:gd name="T11" fmla="*/ 775 h 784"/>
                <a:gd name="T12" fmla="*/ 230 w 846"/>
                <a:gd name="T13" fmla="*/ 767 h 784"/>
                <a:gd name="T14" fmla="*/ 222 w 846"/>
                <a:gd name="T15" fmla="*/ 725 h 784"/>
                <a:gd name="T16" fmla="*/ 60 w 846"/>
                <a:gd name="T17" fmla="*/ 423 h 784"/>
                <a:gd name="T18" fmla="*/ 423 w 846"/>
                <a:gd name="T19" fmla="*/ 60 h 784"/>
                <a:gd name="T20" fmla="*/ 786 w 846"/>
                <a:gd name="T21" fmla="*/ 423 h 784"/>
                <a:gd name="T22" fmla="*/ 624 w 846"/>
                <a:gd name="T23" fmla="*/ 725 h 784"/>
                <a:gd name="T24" fmla="*/ 616 w 846"/>
                <a:gd name="T25" fmla="*/ 767 h 784"/>
                <a:gd name="T26" fmla="*/ 641 w 846"/>
                <a:gd name="T27" fmla="*/ 78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6" h="784">
                  <a:moveTo>
                    <a:pt x="641" y="780"/>
                  </a:moveTo>
                  <a:cubicBezTo>
                    <a:pt x="647" y="780"/>
                    <a:pt x="652" y="779"/>
                    <a:pt x="657" y="775"/>
                  </a:cubicBezTo>
                  <a:cubicBezTo>
                    <a:pt x="776" y="696"/>
                    <a:pt x="846" y="565"/>
                    <a:pt x="846" y="423"/>
                  </a:cubicBezTo>
                  <a:cubicBezTo>
                    <a:pt x="846" y="190"/>
                    <a:pt x="656" y="0"/>
                    <a:pt x="423" y="0"/>
                  </a:cubicBezTo>
                  <a:cubicBezTo>
                    <a:pt x="190" y="0"/>
                    <a:pt x="0" y="190"/>
                    <a:pt x="0" y="423"/>
                  </a:cubicBezTo>
                  <a:cubicBezTo>
                    <a:pt x="0" y="565"/>
                    <a:pt x="70" y="696"/>
                    <a:pt x="189" y="775"/>
                  </a:cubicBezTo>
                  <a:cubicBezTo>
                    <a:pt x="202" y="784"/>
                    <a:pt x="221" y="781"/>
                    <a:pt x="230" y="767"/>
                  </a:cubicBezTo>
                  <a:cubicBezTo>
                    <a:pt x="239" y="753"/>
                    <a:pt x="236" y="735"/>
                    <a:pt x="222" y="725"/>
                  </a:cubicBezTo>
                  <a:cubicBezTo>
                    <a:pt x="120" y="658"/>
                    <a:pt x="60" y="545"/>
                    <a:pt x="60" y="423"/>
                  </a:cubicBezTo>
                  <a:cubicBezTo>
                    <a:pt x="60" y="223"/>
                    <a:pt x="223" y="60"/>
                    <a:pt x="423" y="60"/>
                  </a:cubicBezTo>
                  <a:cubicBezTo>
                    <a:pt x="623" y="60"/>
                    <a:pt x="786" y="223"/>
                    <a:pt x="786" y="423"/>
                  </a:cubicBezTo>
                  <a:cubicBezTo>
                    <a:pt x="786" y="545"/>
                    <a:pt x="726" y="658"/>
                    <a:pt x="624" y="725"/>
                  </a:cubicBezTo>
                  <a:cubicBezTo>
                    <a:pt x="610" y="735"/>
                    <a:pt x="607" y="753"/>
                    <a:pt x="616" y="767"/>
                  </a:cubicBezTo>
                  <a:cubicBezTo>
                    <a:pt x="622" y="776"/>
                    <a:pt x="631" y="780"/>
                    <a:pt x="641" y="7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8"/>
            <p:cNvSpPr>
              <a:spLocks/>
            </p:cNvSpPr>
            <p:nvPr/>
          </p:nvSpPr>
          <p:spPr bwMode="auto">
            <a:xfrm>
              <a:off x="6444" y="-722"/>
              <a:ext cx="966" cy="903"/>
            </a:xfrm>
            <a:custGeom>
              <a:avLst/>
              <a:gdLst>
                <a:gd name="T0" fmla="*/ 380 w 510"/>
                <a:gd name="T1" fmla="*/ 472 h 477"/>
                <a:gd name="T2" fmla="*/ 396 w 510"/>
                <a:gd name="T3" fmla="*/ 467 h 477"/>
                <a:gd name="T4" fmla="*/ 510 w 510"/>
                <a:gd name="T5" fmla="*/ 255 h 477"/>
                <a:gd name="T6" fmla="*/ 255 w 510"/>
                <a:gd name="T7" fmla="*/ 0 h 477"/>
                <a:gd name="T8" fmla="*/ 0 w 510"/>
                <a:gd name="T9" fmla="*/ 255 h 477"/>
                <a:gd name="T10" fmla="*/ 114 w 510"/>
                <a:gd name="T11" fmla="*/ 467 h 477"/>
                <a:gd name="T12" fmla="*/ 155 w 510"/>
                <a:gd name="T13" fmla="*/ 459 h 477"/>
                <a:gd name="T14" fmla="*/ 147 w 510"/>
                <a:gd name="T15" fmla="*/ 418 h 477"/>
                <a:gd name="T16" fmla="*/ 60 w 510"/>
                <a:gd name="T17" fmla="*/ 255 h 477"/>
                <a:gd name="T18" fmla="*/ 255 w 510"/>
                <a:gd name="T19" fmla="*/ 60 h 477"/>
                <a:gd name="T20" fmla="*/ 450 w 510"/>
                <a:gd name="T21" fmla="*/ 255 h 477"/>
                <a:gd name="T22" fmla="*/ 363 w 510"/>
                <a:gd name="T23" fmla="*/ 418 h 477"/>
                <a:gd name="T24" fmla="*/ 355 w 510"/>
                <a:gd name="T25" fmla="*/ 459 h 477"/>
                <a:gd name="T26" fmla="*/ 380 w 510"/>
                <a:gd name="T27" fmla="*/ 472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0" h="477">
                  <a:moveTo>
                    <a:pt x="380" y="472"/>
                  </a:moveTo>
                  <a:cubicBezTo>
                    <a:pt x="386" y="472"/>
                    <a:pt x="391" y="471"/>
                    <a:pt x="396" y="467"/>
                  </a:cubicBezTo>
                  <a:cubicBezTo>
                    <a:pt x="468" y="420"/>
                    <a:pt x="510" y="341"/>
                    <a:pt x="510" y="255"/>
                  </a:cubicBezTo>
                  <a:cubicBezTo>
                    <a:pt x="510" y="114"/>
                    <a:pt x="396" y="0"/>
                    <a:pt x="255" y="0"/>
                  </a:cubicBezTo>
                  <a:cubicBezTo>
                    <a:pt x="114" y="0"/>
                    <a:pt x="0" y="114"/>
                    <a:pt x="0" y="255"/>
                  </a:cubicBezTo>
                  <a:cubicBezTo>
                    <a:pt x="0" y="341"/>
                    <a:pt x="42" y="420"/>
                    <a:pt x="114" y="467"/>
                  </a:cubicBezTo>
                  <a:cubicBezTo>
                    <a:pt x="127" y="477"/>
                    <a:pt x="146" y="473"/>
                    <a:pt x="155" y="459"/>
                  </a:cubicBezTo>
                  <a:cubicBezTo>
                    <a:pt x="164" y="445"/>
                    <a:pt x="161" y="427"/>
                    <a:pt x="147" y="418"/>
                  </a:cubicBezTo>
                  <a:cubicBezTo>
                    <a:pt x="92" y="381"/>
                    <a:pt x="60" y="320"/>
                    <a:pt x="60" y="255"/>
                  </a:cubicBezTo>
                  <a:cubicBezTo>
                    <a:pt x="60" y="147"/>
                    <a:pt x="147" y="60"/>
                    <a:pt x="255" y="60"/>
                  </a:cubicBezTo>
                  <a:cubicBezTo>
                    <a:pt x="363" y="60"/>
                    <a:pt x="450" y="147"/>
                    <a:pt x="450" y="255"/>
                  </a:cubicBezTo>
                  <a:cubicBezTo>
                    <a:pt x="450" y="320"/>
                    <a:pt x="418" y="381"/>
                    <a:pt x="363" y="418"/>
                  </a:cubicBezTo>
                  <a:cubicBezTo>
                    <a:pt x="349" y="427"/>
                    <a:pt x="346" y="445"/>
                    <a:pt x="355" y="459"/>
                  </a:cubicBezTo>
                  <a:cubicBezTo>
                    <a:pt x="361" y="468"/>
                    <a:pt x="370" y="472"/>
                    <a:pt x="380"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9"/>
            <p:cNvSpPr>
              <a:spLocks/>
            </p:cNvSpPr>
            <p:nvPr/>
          </p:nvSpPr>
          <p:spPr bwMode="auto">
            <a:xfrm>
              <a:off x="5901" y="1188"/>
              <a:ext cx="2964" cy="795"/>
            </a:xfrm>
            <a:custGeom>
              <a:avLst/>
              <a:gdLst>
                <a:gd name="T0" fmla="*/ 1356 w 1566"/>
                <a:gd name="T1" fmla="*/ 0 h 420"/>
                <a:gd name="T2" fmla="*/ 1183 w 1566"/>
                <a:gd name="T3" fmla="*/ 0 h 420"/>
                <a:gd name="T4" fmla="*/ 1153 w 1566"/>
                <a:gd name="T5" fmla="*/ 30 h 420"/>
                <a:gd name="T6" fmla="*/ 1183 w 1566"/>
                <a:gd name="T7" fmla="*/ 60 h 420"/>
                <a:gd name="T8" fmla="*/ 1356 w 1566"/>
                <a:gd name="T9" fmla="*/ 60 h 420"/>
                <a:gd name="T10" fmla="*/ 1506 w 1566"/>
                <a:gd name="T11" fmla="*/ 210 h 420"/>
                <a:gd name="T12" fmla="*/ 1506 w 1566"/>
                <a:gd name="T13" fmla="*/ 210 h 420"/>
                <a:gd name="T14" fmla="*/ 1356 w 1566"/>
                <a:gd name="T15" fmla="*/ 360 h 420"/>
                <a:gd name="T16" fmla="*/ 30 w 1566"/>
                <a:gd name="T17" fmla="*/ 360 h 420"/>
                <a:gd name="T18" fmla="*/ 0 w 1566"/>
                <a:gd name="T19" fmla="*/ 390 h 420"/>
                <a:gd name="T20" fmla="*/ 30 w 1566"/>
                <a:gd name="T21" fmla="*/ 420 h 420"/>
                <a:gd name="T22" fmla="*/ 1356 w 1566"/>
                <a:gd name="T23" fmla="*/ 420 h 420"/>
                <a:gd name="T24" fmla="*/ 1566 w 1566"/>
                <a:gd name="T25" fmla="*/ 210 h 420"/>
                <a:gd name="T26" fmla="*/ 1566 w 1566"/>
                <a:gd name="T27" fmla="*/ 210 h 420"/>
                <a:gd name="T28" fmla="*/ 1356 w 1566"/>
                <a:gd name="T2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6" h="420">
                  <a:moveTo>
                    <a:pt x="1356" y="0"/>
                  </a:moveTo>
                  <a:cubicBezTo>
                    <a:pt x="1183" y="0"/>
                    <a:pt x="1183" y="0"/>
                    <a:pt x="1183" y="0"/>
                  </a:cubicBezTo>
                  <a:cubicBezTo>
                    <a:pt x="1167" y="0"/>
                    <a:pt x="1153" y="13"/>
                    <a:pt x="1153" y="30"/>
                  </a:cubicBezTo>
                  <a:cubicBezTo>
                    <a:pt x="1153" y="47"/>
                    <a:pt x="1167" y="60"/>
                    <a:pt x="1183" y="60"/>
                  </a:cubicBezTo>
                  <a:cubicBezTo>
                    <a:pt x="1356" y="60"/>
                    <a:pt x="1356" y="60"/>
                    <a:pt x="1356" y="60"/>
                  </a:cubicBezTo>
                  <a:cubicBezTo>
                    <a:pt x="1439" y="60"/>
                    <a:pt x="1506" y="127"/>
                    <a:pt x="1506" y="210"/>
                  </a:cubicBezTo>
                  <a:cubicBezTo>
                    <a:pt x="1506" y="210"/>
                    <a:pt x="1506" y="210"/>
                    <a:pt x="1506" y="210"/>
                  </a:cubicBezTo>
                  <a:cubicBezTo>
                    <a:pt x="1506" y="293"/>
                    <a:pt x="1439" y="360"/>
                    <a:pt x="1356" y="360"/>
                  </a:cubicBezTo>
                  <a:cubicBezTo>
                    <a:pt x="30" y="360"/>
                    <a:pt x="30" y="360"/>
                    <a:pt x="30" y="360"/>
                  </a:cubicBezTo>
                  <a:cubicBezTo>
                    <a:pt x="13" y="360"/>
                    <a:pt x="0" y="373"/>
                    <a:pt x="0" y="390"/>
                  </a:cubicBezTo>
                  <a:cubicBezTo>
                    <a:pt x="0" y="407"/>
                    <a:pt x="13" y="420"/>
                    <a:pt x="30" y="420"/>
                  </a:cubicBezTo>
                  <a:cubicBezTo>
                    <a:pt x="1356" y="420"/>
                    <a:pt x="1356" y="420"/>
                    <a:pt x="1356" y="420"/>
                  </a:cubicBezTo>
                  <a:cubicBezTo>
                    <a:pt x="1472" y="420"/>
                    <a:pt x="1566" y="326"/>
                    <a:pt x="1566" y="210"/>
                  </a:cubicBezTo>
                  <a:cubicBezTo>
                    <a:pt x="1566" y="210"/>
                    <a:pt x="1566" y="210"/>
                    <a:pt x="1566" y="210"/>
                  </a:cubicBezTo>
                  <a:cubicBezTo>
                    <a:pt x="1566" y="94"/>
                    <a:pt x="1472" y="0"/>
                    <a:pt x="13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0"/>
            <p:cNvSpPr>
              <a:spLocks/>
            </p:cNvSpPr>
            <p:nvPr/>
          </p:nvSpPr>
          <p:spPr bwMode="auto">
            <a:xfrm>
              <a:off x="4989" y="944"/>
              <a:ext cx="2958" cy="1039"/>
            </a:xfrm>
            <a:custGeom>
              <a:avLst/>
              <a:gdLst>
                <a:gd name="T0" fmla="*/ 384 w 1563"/>
                <a:gd name="T1" fmla="*/ 489 h 549"/>
                <a:gd name="T2" fmla="*/ 210 w 1563"/>
                <a:gd name="T3" fmla="*/ 489 h 549"/>
                <a:gd name="T4" fmla="*/ 60 w 1563"/>
                <a:gd name="T5" fmla="*/ 339 h 549"/>
                <a:gd name="T6" fmla="*/ 60 w 1563"/>
                <a:gd name="T7" fmla="*/ 339 h 549"/>
                <a:gd name="T8" fmla="*/ 210 w 1563"/>
                <a:gd name="T9" fmla="*/ 189 h 549"/>
                <a:gd name="T10" fmla="*/ 1533 w 1563"/>
                <a:gd name="T11" fmla="*/ 189 h 549"/>
                <a:gd name="T12" fmla="*/ 1563 w 1563"/>
                <a:gd name="T13" fmla="*/ 159 h 549"/>
                <a:gd name="T14" fmla="*/ 1533 w 1563"/>
                <a:gd name="T15" fmla="*/ 129 h 549"/>
                <a:gd name="T16" fmla="*/ 1054 w 1563"/>
                <a:gd name="T17" fmla="*/ 129 h 549"/>
                <a:gd name="T18" fmla="*/ 1054 w 1563"/>
                <a:gd name="T19" fmla="*/ 30 h 549"/>
                <a:gd name="T20" fmla="*/ 1024 w 1563"/>
                <a:gd name="T21" fmla="*/ 0 h 549"/>
                <a:gd name="T22" fmla="*/ 994 w 1563"/>
                <a:gd name="T23" fmla="*/ 30 h 549"/>
                <a:gd name="T24" fmla="*/ 994 w 1563"/>
                <a:gd name="T25" fmla="*/ 129 h 549"/>
                <a:gd name="T26" fmla="*/ 210 w 1563"/>
                <a:gd name="T27" fmla="*/ 129 h 549"/>
                <a:gd name="T28" fmla="*/ 0 w 1563"/>
                <a:gd name="T29" fmla="*/ 339 h 549"/>
                <a:gd name="T30" fmla="*/ 0 w 1563"/>
                <a:gd name="T31" fmla="*/ 339 h 549"/>
                <a:gd name="T32" fmla="*/ 210 w 1563"/>
                <a:gd name="T33" fmla="*/ 549 h 549"/>
                <a:gd name="T34" fmla="*/ 384 w 1563"/>
                <a:gd name="T35" fmla="*/ 549 h 549"/>
                <a:gd name="T36" fmla="*/ 414 w 1563"/>
                <a:gd name="T37" fmla="*/ 519 h 549"/>
                <a:gd name="T38" fmla="*/ 384 w 1563"/>
                <a:gd name="T39" fmla="*/ 48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3" h="549">
                  <a:moveTo>
                    <a:pt x="384" y="489"/>
                  </a:moveTo>
                  <a:cubicBezTo>
                    <a:pt x="210" y="489"/>
                    <a:pt x="210" y="489"/>
                    <a:pt x="210" y="489"/>
                  </a:cubicBezTo>
                  <a:cubicBezTo>
                    <a:pt x="127" y="489"/>
                    <a:pt x="60" y="422"/>
                    <a:pt x="60" y="339"/>
                  </a:cubicBezTo>
                  <a:cubicBezTo>
                    <a:pt x="60" y="339"/>
                    <a:pt x="60" y="339"/>
                    <a:pt x="60" y="339"/>
                  </a:cubicBezTo>
                  <a:cubicBezTo>
                    <a:pt x="60" y="256"/>
                    <a:pt x="127" y="189"/>
                    <a:pt x="210" y="189"/>
                  </a:cubicBezTo>
                  <a:cubicBezTo>
                    <a:pt x="1533" y="189"/>
                    <a:pt x="1533" y="189"/>
                    <a:pt x="1533" y="189"/>
                  </a:cubicBezTo>
                  <a:cubicBezTo>
                    <a:pt x="1550" y="189"/>
                    <a:pt x="1563" y="176"/>
                    <a:pt x="1563" y="159"/>
                  </a:cubicBezTo>
                  <a:cubicBezTo>
                    <a:pt x="1563" y="142"/>
                    <a:pt x="1550" y="129"/>
                    <a:pt x="1533" y="129"/>
                  </a:cubicBezTo>
                  <a:cubicBezTo>
                    <a:pt x="1054" y="129"/>
                    <a:pt x="1054" y="129"/>
                    <a:pt x="1054" y="129"/>
                  </a:cubicBezTo>
                  <a:cubicBezTo>
                    <a:pt x="1054" y="30"/>
                    <a:pt x="1054" y="30"/>
                    <a:pt x="1054" y="30"/>
                  </a:cubicBezTo>
                  <a:cubicBezTo>
                    <a:pt x="1054" y="14"/>
                    <a:pt x="1041" y="0"/>
                    <a:pt x="1024" y="0"/>
                  </a:cubicBezTo>
                  <a:cubicBezTo>
                    <a:pt x="1007" y="0"/>
                    <a:pt x="994" y="14"/>
                    <a:pt x="994" y="30"/>
                  </a:cubicBezTo>
                  <a:cubicBezTo>
                    <a:pt x="994" y="129"/>
                    <a:pt x="994" y="129"/>
                    <a:pt x="994" y="129"/>
                  </a:cubicBezTo>
                  <a:cubicBezTo>
                    <a:pt x="210" y="129"/>
                    <a:pt x="210" y="129"/>
                    <a:pt x="210" y="129"/>
                  </a:cubicBezTo>
                  <a:cubicBezTo>
                    <a:pt x="94" y="129"/>
                    <a:pt x="0" y="223"/>
                    <a:pt x="0" y="339"/>
                  </a:cubicBezTo>
                  <a:cubicBezTo>
                    <a:pt x="0" y="339"/>
                    <a:pt x="0" y="339"/>
                    <a:pt x="0" y="339"/>
                  </a:cubicBezTo>
                  <a:cubicBezTo>
                    <a:pt x="0" y="455"/>
                    <a:pt x="94" y="549"/>
                    <a:pt x="210" y="549"/>
                  </a:cubicBezTo>
                  <a:cubicBezTo>
                    <a:pt x="384" y="549"/>
                    <a:pt x="384" y="549"/>
                    <a:pt x="384" y="549"/>
                  </a:cubicBezTo>
                  <a:cubicBezTo>
                    <a:pt x="401" y="549"/>
                    <a:pt x="414" y="536"/>
                    <a:pt x="414" y="519"/>
                  </a:cubicBezTo>
                  <a:cubicBezTo>
                    <a:pt x="414" y="502"/>
                    <a:pt x="401" y="489"/>
                    <a:pt x="384" y="4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1"/>
            <p:cNvSpPr>
              <a:spLocks noEditPoints="1"/>
            </p:cNvSpPr>
            <p:nvPr/>
          </p:nvSpPr>
          <p:spPr bwMode="auto">
            <a:xfrm>
              <a:off x="7048" y="1415"/>
              <a:ext cx="1590" cy="337"/>
            </a:xfrm>
            <a:custGeom>
              <a:avLst/>
              <a:gdLst>
                <a:gd name="T0" fmla="*/ 0 w 840"/>
                <a:gd name="T1" fmla="*/ 89 h 178"/>
                <a:gd name="T2" fmla="*/ 89 w 840"/>
                <a:gd name="T3" fmla="*/ 178 h 178"/>
                <a:gd name="T4" fmla="*/ 751 w 840"/>
                <a:gd name="T5" fmla="*/ 178 h 178"/>
                <a:gd name="T6" fmla="*/ 840 w 840"/>
                <a:gd name="T7" fmla="*/ 89 h 178"/>
                <a:gd name="T8" fmla="*/ 751 w 840"/>
                <a:gd name="T9" fmla="*/ 0 h 178"/>
                <a:gd name="T10" fmla="*/ 89 w 840"/>
                <a:gd name="T11" fmla="*/ 0 h 178"/>
                <a:gd name="T12" fmla="*/ 0 w 840"/>
                <a:gd name="T13" fmla="*/ 89 h 178"/>
                <a:gd name="T14" fmla="*/ 780 w 840"/>
                <a:gd name="T15" fmla="*/ 89 h 178"/>
                <a:gd name="T16" fmla="*/ 751 w 840"/>
                <a:gd name="T17" fmla="*/ 118 h 178"/>
                <a:gd name="T18" fmla="*/ 89 w 840"/>
                <a:gd name="T19" fmla="*/ 118 h 178"/>
                <a:gd name="T20" fmla="*/ 60 w 840"/>
                <a:gd name="T21" fmla="*/ 89 h 178"/>
                <a:gd name="T22" fmla="*/ 89 w 840"/>
                <a:gd name="T23" fmla="*/ 60 h 178"/>
                <a:gd name="T24" fmla="*/ 751 w 840"/>
                <a:gd name="T25" fmla="*/ 60 h 178"/>
                <a:gd name="T26" fmla="*/ 780 w 840"/>
                <a:gd name="T27" fmla="*/ 8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0" h="178">
                  <a:moveTo>
                    <a:pt x="0" y="89"/>
                  </a:moveTo>
                  <a:cubicBezTo>
                    <a:pt x="0" y="138"/>
                    <a:pt x="40" y="178"/>
                    <a:pt x="89" y="178"/>
                  </a:cubicBezTo>
                  <a:cubicBezTo>
                    <a:pt x="751" y="178"/>
                    <a:pt x="751" y="178"/>
                    <a:pt x="751" y="178"/>
                  </a:cubicBezTo>
                  <a:cubicBezTo>
                    <a:pt x="800" y="178"/>
                    <a:pt x="840" y="138"/>
                    <a:pt x="840" y="89"/>
                  </a:cubicBezTo>
                  <a:cubicBezTo>
                    <a:pt x="840" y="40"/>
                    <a:pt x="800" y="0"/>
                    <a:pt x="751" y="0"/>
                  </a:cubicBezTo>
                  <a:cubicBezTo>
                    <a:pt x="89" y="0"/>
                    <a:pt x="89" y="0"/>
                    <a:pt x="89" y="0"/>
                  </a:cubicBezTo>
                  <a:cubicBezTo>
                    <a:pt x="40" y="0"/>
                    <a:pt x="0" y="40"/>
                    <a:pt x="0" y="89"/>
                  </a:cubicBezTo>
                  <a:close/>
                  <a:moveTo>
                    <a:pt x="780" y="89"/>
                  </a:moveTo>
                  <a:cubicBezTo>
                    <a:pt x="780" y="105"/>
                    <a:pt x="767" y="118"/>
                    <a:pt x="751" y="118"/>
                  </a:cubicBezTo>
                  <a:cubicBezTo>
                    <a:pt x="89" y="118"/>
                    <a:pt x="89" y="118"/>
                    <a:pt x="89" y="118"/>
                  </a:cubicBezTo>
                  <a:cubicBezTo>
                    <a:pt x="73" y="118"/>
                    <a:pt x="60" y="105"/>
                    <a:pt x="60" y="89"/>
                  </a:cubicBezTo>
                  <a:cubicBezTo>
                    <a:pt x="60" y="73"/>
                    <a:pt x="73" y="60"/>
                    <a:pt x="89" y="60"/>
                  </a:cubicBezTo>
                  <a:cubicBezTo>
                    <a:pt x="751" y="60"/>
                    <a:pt x="751" y="60"/>
                    <a:pt x="751" y="60"/>
                  </a:cubicBezTo>
                  <a:cubicBezTo>
                    <a:pt x="767" y="60"/>
                    <a:pt x="780" y="73"/>
                    <a:pt x="78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2"/>
            <p:cNvSpPr>
              <a:spLocks/>
            </p:cNvSpPr>
            <p:nvPr/>
          </p:nvSpPr>
          <p:spPr bwMode="auto">
            <a:xfrm>
              <a:off x="6015" y="1432"/>
              <a:ext cx="870" cy="114"/>
            </a:xfrm>
            <a:custGeom>
              <a:avLst/>
              <a:gdLst>
                <a:gd name="T0" fmla="*/ 430 w 460"/>
                <a:gd name="T1" fmla="*/ 0 h 60"/>
                <a:gd name="T2" fmla="*/ 30 w 460"/>
                <a:gd name="T3" fmla="*/ 0 h 60"/>
                <a:gd name="T4" fmla="*/ 0 w 460"/>
                <a:gd name="T5" fmla="*/ 30 h 60"/>
                <a:gd name="T6" fmla="*/ 30 w 460"/>
                <a:gd name="T7" fmla="*/ 60 h 60"/>
                <a:gd name="T8" fmla="*/ 430 w 460"/>
                <a:gd name="T9" fmla="*/ 60 h 60"/>
                <a:gd name="T10" fmla="*/ 460 w 460"/>
                <a:gd name="T11" fmla="*/ 30 h 60"/>
                <a:gd name="T12" fmla="*/ 430 w 460"/>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460" h="60">
                  <a:moveTo>
                    <a:pt x="430" y="0"/>
                  </a:moveTo>
                  <a:cubicBezTo>
                    <a:pt x="30" y="0"/>
                    <a:pt x="30" y="0"/>
                    <a:pt x="30" y="0"/>
                  </a:cubicBezTo>
                  <a:cubicBezTo>
                    <a:pt x="14" y="0"/>
                    <a:pt x="0" y="13"/>
                    <a:pt x="0" y="30"/>
                  </a:cubicBezTo>
                  <a:cubicBezTo>
                    <a:pt x="0" y="46"/>
                    <a:pt x="14" y="60"/>
                    <a:pt x="30" y="60"/>
                  </a:cubicBezTo>
                  <a:cubicBezTo>
                    <a:pt x="430" y="60"/>
                    <a:pt x="430" y="60"/>
                    <a:pt x="430" y="60"/>
                  </a:cubicBezTo>
                  <a:cubicBezTo>
                    <a:pt x="447" y="60"/>
                    <a:pt x="460" y="46"/>
                    <a:pt x="460" y="30"/>
                  </a:cubicBezTo>
                  <a:cubicBezTo>
                    <a:pt x="460" y="13"/>
                    <a:pt x="447" y="0"/>
                    <a:pt x="4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3"/>
            <p:cNvSpPr>
              <a:spLocks/>
            </p:cNvSpPr>
            <p:nvPr/>
          </p:nvSpPr>
          <p:spPr bwMode="auto">
            <a:xfrm>
              <a:off x="6015" y="1614"/>
              <a:ext cx="870" cy="114"/>
            </a:xfrm>
            <a:custGeom>
              <a:avLst/>
              <a:gdLst>
                <a:gd name="T0" fmla="*/ 430 w 460"/>
                <a:gd name="T1" fmla="*/ 0 h 60"/>
                <a:gd name="T2" fmla="*/ 30 w 460"/>
                <a:gd name="T3" fmla="*/ 0 h 60"/>
                <a:gd name="T4" fmla="*/ 0 w 460"/>
                <a:gd name="T5" fmla="*/ 30 h 60"/>
                <a:gd name="T6" fmla="*/ 30 w 460"/>
                <a:gd name="T7" fmla="*/ 60 h 60"/>
                <a:gd name="T8" fmla="*/ 430 w 460"/>
                <a:gd name="T9" fmla="*/ 60 h 60"/>
                <a:gd name="T10" fmla="*/ 460 w 460"/>
                <a:gd name="T11" fmla="*/ 30 h 60"/>
                <a:gd name="T12" fmla="*/ 430 w 460"/>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460" h="60">
                  <a:moveTo>
                    <a:pt x="430" y="0"/>
                  </a:moveTo>
                  <a:cubicBezTo>
                    <a:pt x="30" y="0"/>
                    <a:pt x="30" y="0"/>
                    <a:pt x="30" y="0"/>
                  </a:cubicBezTo>
                  <a:cubicBezTo>
                    <a:pt x="14" y="0"/>
                    <a:pt x="0" y="13"/>
                    <a:pt x="0" y="30"/>
                  </a:cubicBezTo>
                  <a:cubicBezTo>
                    <a:pt x="0" y="46"/>
                    <a:pt x="14" y="60"/>
                    <a:pt x="30" y="60"/>
                  </a:cubicBezTo>
                  <a:cubicBezTo>
                    <a:pt x="430" y="60"/>
                    <a:pt x="430" y="60"/>
                    <a:pt x="430" y="60"/>
                  </a:cubicBezTo>
                  <a:cubicBezTo>
                    <a:pt x="447" y="60"/>
                    <a:pt x="460" y="46"/>
                    <a:pt x="460" y="30"/>
                  </a:cubicBezTo>
                  <a:cubicBezTo>
                    <a:pt x="460" y="13"/>
                    <a:pt x="447" y="0"/>
                    <a:pt x="4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4"/>
            <p:cNvSpPr>
              <a:spLocks noEditPoints="1"/>
            </p:cNvSpPr>
            <p:nvPr/>
          </p:nvSpPr>
          <p:spPr bwMode="auto">
            <a:xfrm>
              <a:off x="6726" y="-447"/>
              <a:ext cx="417" cy="1262"/>
            </a:xfrm>
            <a:custGeom>
              <a:avLst/>
              <a:gdLst>
                <a:gd name="T0" fmla="*/ 106 w 220"/>
                <a:gd name="T1" fmla="*/ 667 h 667"/>
                <a:gd name="T2" fmla="*/ 136 w 220"/>
                <a:gd name="T3" fmla="*/ 637 h 667"/>
                <a:gd name="T4" fmla="*/ 136 w 220"/>
                <a:gd name="T5" fmla="*/ 217 h 667"/>
                <a:gd name="T6" fmla="*/ 220 w 220"/>
                <a:gd name="T7" fmla="*/ 110 h 667"/>
                <a:gd name="T8" fmla="*/ 110 w 220"/>
                <a:gd name="T9" fmla="*/ 0 h 667"/>
                <a:gd name="T10" fmla="*/ 0 w 220"/>
                <a:gd name="T11" fmla="*/ 110 h 667"/>
                <a:gd name="T12" fmla="*/ 76 w 220"/>
                <a:gd name="T13" fmla="*/ 215 h 667"/>
                <a:gd name="T14" fmla="*/ 76 w 220"/>
                <a:gd name="T15" fmla="*/ 637 h 667"/>
                <a:gd name="T16" fmla="*/ 106 w 220"/>
                <a:gd name="T17" fmla="*/ 667 h 667"/>
                <a:gd name="T18" fmla="*/ 60 w 220"/>
                <a:gd name="T19" fmla="*/ 110 h 667"/>
                <a:gd name="T20" fmla="*/ 110 w 220"/>
                <a:gd name="T21" fmla="*/ 60 h 667"/>
                <a:gd name="T22" fmla="*/ 160 w 220"/>
                <a:gd name="T23" fmla="*/ 110 h 667"/>
                <a:gd name="T24" fmla="*/ 110 w 220"/>
                <a:gd name="T25" fmla="*/ 160 h 667"/>
                <a:gd name="T26" fmla="*/ 60 w 220"/>
                <a:gd name="T27" fmla="*/ 11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667">
                  <a:moveTo>
                    <a:pt x="106" y="667"/>
                  </a:moveTo>
                  <a:cubicBezTo>
                    <a:pt x="123" y="667"/>
                    <a:pt x="136" y="654"/>
                    <a:pt x="136" y="637"/>
                  </a:cubicBezTo>
                  <a:cubicBezTo>
                    <a:pt x="136" y="217"/>
                    <a:pt x="136" y="217"/>
                    <a:pt x="136" y="217"/>
                  </a:cubicBezTo>
                  <a:cubicBezTo>
                    <a:pt x="184" y="205"/>
                    <a:pt x="220" y="162"/>
                    <a:pt x="220" y="110"/>
                  </a:cubicBezTo>
                  <a:cubicBezTo>
                    <a:pt x="220" y="49"/>
                    <a:pt x="171" y="0"/>
                    <a:pt x="110" y="0"/>
                  </a:cubicBezTo>
                  <a:cubicBezTo>
                    <a:pt x="49" y="0"/>
                    <a:pt x="0" y="49"/>
                    <a:pt x="0" y="110"/>
                  </a:cubicBezTo>
                  <a:cubicBezTo>
                    <a:pt x="0" y="159"/>
                    <a:pt x="32" y="200"/>
                    <a:pt x="76" y="215"/>
                  </a:cubicBezTo>
                  <a:cubicBezTo>
                    <a:pt x="76" y="637"/>
                    <a:pt x="76" y="637"/>
                    <a:pt x="76" y="637"/>
                  </a:cubicBezTo>
                  <a:cubicBezTo>
                    <a:pt x="76" y="654"/>
                    <a:pt x="89" y="667"/>
                    <a:pt x="106" y="667"/>
                  </a:cubicBezTo>
                  <a:close/>
                  <a:moveTo>
                    <a:pt x="60" y="110"/>
                  </a:moveTo>
                  <a:cubicBezTo>
                    <a:pt x="60" y="82"/>
                    <a:pt x="82" y="60"/>
                    <a:pt x="110" y="60"/>
                  </a:cubicBezTo>
                  <a:cubicBezTo>
                    <a:pt x="138" y="60"/>
                    <a:pt x="160" y="82"/>
                    <a:pt x="160" y="110"/>
                  </a:cubicBezTo>
                  <a:cubicBezTo>
                    <a:pt x="160" y="138"/>
                    <a:pt x="138" y="160"/>
                    <a:pt x="110" y="160"/>
                  </a:cubicBezTo>
                  <a:cubicBezTo>
                    <a:pt x="82" y="160"/>
                    <a:pt x="60" y="138"/>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27"/>
          <p:cNvGrpSpPr>
            <a:grpSpLocks noChangeAspect="1"/>
          </p:cNvGrpSpPr>
          <p:nvPr/>
        </p:nvGrpSpPr>
        <p:grpSpPr bwMode="auto">
          <a:xfrm>
            <a:off x="6439473" y="1618381"/>
            <a:ext cx="365878" cy="457200"/>
            <a:chOff x="1713" y="-1760"/>
            <a:chExt cx="3105" cy="3880"/>
          </a:xfrm>
          <a:solidFill>
            <a:schemeClr val="bg1"/>
          </a:solidFill>
        </p:grpSpPr>
        <p:sp>
          <p:nvSpPr>
            <p:cNvPr id="51" name="Freeform 28"/>
            <p:cNvSpPr>
              <a:spLocks noEditPoints="1"/>
            </p:cNvSpPr>
            <p:nvPr/>
          </p:nvSpPr>
          <p:spPr bwMode="auto">
            <a:xfrm>
              <a:off x="1713" y="-1707"/>
              <a:ext cx="3054" cy="3827"/>
            </a:xfrm>
            <a:custGeom>
              <a:avLst/>
              <a:gdLst>
                <a:gd name="T0" fmla="*/ 1357 w 1613"/>
                <a:gd name="T1" fmla="*/ 529 h 2022"/>
                <a:gd name="T2" fmla="*/ 1278 w 1613"/>
                <a:gd name="T3" fmla="*/ 381 h 2022"/>
                <a:gd name="T4" fmla="*/ 1297 w 1613"/>
                <a:gd name="T5" fmla="*/ 529 h 2022"/>
                <a:gd name="T6" fmla="*/ 999 w 1613"/>
                <a:gd name="T7" fmla="*/ 335 h 2022"/>
                <a:gd name="T8" fmla="*/ 1180 w 1613"/>
                <a:gd name="T9" fmla="*/ 340 h 2022"/>
                <a:gd name="T10" fmla="*/ 1208 w 1613"/>
                <a:gd name="T11" fmla="*/ 286 h 2022"/>
                <a:gd name="T12" fmla="*/ 954 w 1613"/>
                <a:gd name="T13" fmla="*/ 290 h 2022"/>
                <a:gd name="T14" fmla="*/ 634 w 1613"/>
                <a:gd name="T15" fmla="*/ 12 h 2022"/>
                <a:gd name="T16" fmla="*/ 555 w 1613"/>
                <a:gd name="T17" fmla="*/ 886 h 2022"/>
                <a:gd name="T18" fmla="*/ 291 w 1613"/>
                <a:gd name="T19" fmla="*/ 1346 h 2022"/>
                <a:gd name="T20" fmla="*/ 319 w 1613"/>
                <a:gd name="T21" fmla="*/ 1386 h 2022"/>
                <a:gd name="T22" fmla="*/ 446 w 1613"/>
                <a:gd name="T23" fmla="*/ 1090 h 2022"/>
                <a:gd name="T24" fmla="*/ 634 w 1613"/>
                <a:gd name="T25" fmla="*/ 980 h 2022"/>
                <a:gd name="T26" fmla="*/ 1131 w 1613"/>
                <a:gd name="T27" fmla="*/ 1740 h 2022"/>
                <a:gd name="T28" fmla="*/ 807 w 1613"/>
                <a:gd name="T29" fmla="*/ 1568 h 2022"/>
                <a:gd name="T30" fmla="*/ 631 w 1613"/>
                <a:gd name="T31" fmla="*/ 1490 h 2022"/>
                <a:gd name="T32" fmla="*/ 554 w 1613"/>
                <a:gd name="T33" fmla="*/ 1740 h 2022"/>
                <a:gd name="T34" fmla="*/ 296 w 1613"/>
                <a:gd name="T35" fmla="*/ 1508 h 2022"/>
                <a:gd name="T36" fmla="*/ 240 w 1613"/>
                <a:gd name="T37" fmla="*/ 1488 h 2022"/>
                <a:gd name="T38" fmla="*/ 97 w 1613"/>
                <a:gd name="T39" fmla="*/ 1740 h 2022"/>
                <a:gd name="T40" fmla="*/ 67 w 1613"/>
                <a:gd name="T41" fmla="*/ 1845 h 2022"/>
                <a:gd name="T42" fmla="*/ 0 w 1613"/>
                <a:gd name="T43" fmla="*/ 1875 h 2022"/>
                <a:gd name="T44" fmla="*/ 30 w 1613"/>
                <a:gd name="T45" fmla="*/ 2022 h 2022"/>
                <a:gd name="T46" fmla="*/ 1344 w 1613"/>
                <a:gd name="T47" fmla="*/ 1992 h 2022"/>
                <a:gd name="T48" fmla="*/ 1314 w 1613"/>
                <a:gd name="T49" fmla="*/ 1845 h 2022"/>
                <a:gd name="T50" fmla="*/ 1277 w 1613"/>
                <a:gd name="T51" fmla="*/ 1770 h 2022"/>
                <a:gd name="T52" fmla="*/ 1195 w 1613"/>
                <a:gd name="T53" fmla="*/ 1740 h 2022"/>
                <a:gd name="T54" fmla="*/ 1116 w 1613"/>
                <a:gd name="T55" fmla="*/ 1181 h 2022"/>
                <a:gd name="T56" fmla="*/ 1289 w 1613"/>
                <a:gd name="T57" fmla="*/ 1129 h 2022"/>
                <a:gd name="T58" fmla="*/ 676 w 1613"/>
                <a:gd name="T59" fmla="*/ 938 h 2022"/>
                <a:gd name="T60" fmla="*/ 655 w 1613"/>
                <a:gd name="T61" fmla="*/ 76 h 2022"/>
                <a:gd name="T62" fmla="*/ 1390 w 1613"/>
                <a:gd name="T63" fmla="*/ 1058 h 2022"/>
                <a:gd name="T64" fmla="*/ 1416 w 1613"/>
                <a:gd name="T65" fmla="*/ 1112 h 2022"/>
                <a:gd name="T66" fmla="*/ 1601 w 1613"/>
                <a:gd name="T67" fmla="*/ 938 h 2022"/>
                <a:gd name="T68" fmla="*/ 614 w 1613"/>
                <a:gd name="T69" fmla="*/ 1568 h 2022"/>
                <a:gd name="T70" fmla="*/ 730 w 1613"/>
                <a:gd name="T71" fmla="*/ 1550 h 2022"/>
                <a:gd name="T72" fmla="*/ 747 w 1613"/>
                <a:gd name="T73" fmla="*/ 1740 h 2022"/>
                <a:gd name="T74" fmla="*/ 614 w 1613"/>
                <a:gd name="T75" fmla="*/ 1568 h 2022"/>
                <a:gd name="T76" fmla="*/ 60 w 1613"/>
                <a:gd name="T77" fmla="*/ 1962 h 2022"/>
                <a:gd name="T78" fmla="*/ 1284 w 1613"/>
                <a:gd name="T79" fmla="*/ 1905 h 2022"/>
                <a:gd name="T80" fmla="*/ 1217 w 1613"/>
                <a:gd name="T81" fmla="*/ 1845 h 2022"/>
                <a:gd name="T82" fmla="*/ 127 w 1613"/>
                <a:gd name="T83" fmla="*/ 1800 h 2022"/>
                <a:gd name="T84" fmla="*/ 1217 w 1613"/>
                <a:gd name="T85" fmla="*/ 1845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13" h="2022">
                  <a:moveTo>
                    <a:pt x="1323" y="660"/>
                  </a:moveTo>
                  <a:cubicBezTo>
                    <a:pt x="1345" y="620"/>
                    <a:pt x="1357" y="575"/>
                    <a:pt x="1357" y="529"/>
                  </a:cubicBezTo>
                  <a:cubicBezTo>
                    <a:pt x="1357" y="481"/>
                    <a:pt x="1344" y="433"/>
                    <a:pt x="1319" y="392"/>
                  </a:cubicBezTo>
                  <a:cubicBezTo>
                    <a:pt x="1311" y="377"/>
                    <a:pt x="1293" y="373"/>
                    <a:pt x="1278" y="381"/>
                  </a:cubicBezTo>
                  <a:cubicBezTo>
                    <a:pt x="1264" y="389"/>
                    <a:pt x="1259" y="408"/>
                    <a:pt x="1268" y="422"/>
                  </a:cubicBezTo>
                  <a:cubicBezTo>
                    <a:pt x="1287" y="454"/>
                    <a:pt x="1297" y="491"/>
                    <a:pt x="1297" y="529"/>
                  </a:cubicBezTo>
                  <a:cubicBezTo>
                    <a:pt x="1297" y="559"/>
                    <a:pt x="1291" y="588"/>
                    <a:pt x="1279" y="615"/>
                  </a:cubicBezTo>
                  <a:cubicBezTo>
                    <a:pt x="999" y="335"/>
                    <a:pt x="999" y="335"/>
                    <a:pt x="999" y="335"/>
                  </a:cubicBezTo>
                  <a:cubicBezTo>
                    <a:pt x="1026" y="323"/>
                    <a:pt x="1055" y="317"/>
                    <a:pt x="1084" y="317"/>
                  </a:cubicBezTo>
                  <a:cubicBezTo>
                    <a:pt x="1118" y="317"/>
                    <a:pt x="1150" y="325"/>
                    <a:pt x="1180" y="340"/>
                  </a:cubicBezTo>
                  <a:cubicBezTo>
                    <a:pt x="1195" y="347"/>
                    <a:pt x="1213" y="341"/>
                    <a:pt x="1221" y="327"/>
                  </a:cubicBezTo>
                  <a:cubicBezTo>
                    <a:pt x="1228" y="312"/>
                    <a:pt x="1222" y="294"/>
                    <a:pt x="1208" y="286"/>
                  </a:cubicBezTo>
                  <a:cubicBezTo>
                    <a:pt x="1169" y="267"/>
                    <a:pt x="1128" y="257"/>
                    <a:pt x="1084" y="257"/>
                  </a:cubicBezTo>
                  <a:cubicBezTo>
                    <a:pt x="1039" y="257"/>
                    <a:pt x="994" y="268"/>
                    <a:pt x="954" y="290"/>
                  </a:cubicBezTo>
                  <a:cubicBezTo>
                    <a:pt x="676" y="12"/>
                    <a:pt x="676" y="12"/>
                    <a:pt x="676" y="12"/>
                  </a:cubicBezTo>
                  <a:cubicBezTo>
                    <a:pt x="664" y="0"/>
                    <a:pt x="645" y="0"/>
                    <a:pt x="634" y="12"/>
                  </a:cubicBezTo>
                  <a:cubicBezTo>
                    <a:pt x="504" y="141"/>
                    <a:pt x="433" y="313"/>
                    <a:pt x="433" y="496"/>
                  </a:cubicBezTo>
                  <a:cubicBezTo>
                    <a:pt x="433" y="637"/>
                    <a:pt x="476" y="772"/>
                    <a:pt x="555" y="886"/>
                  </a:cubicBezTo>
                  <a:cubicBezTo>
                    <a:pt x="478" y="923"/>
                    <a:pt x="419" y="989"/>
                    <a:pt x="390" y="1070"/>
                  </a:cubicBezTo>
                  <a:cubicBezTo>
                    <a:pt x="291" y="1346"/>
                    <a:pt x="291" y="1346"/>
                    <a:pt x="291" y="1346"/>
                  </a:cubicBezTo>
                  <a:cubicBezTo>
                    <a:pt x="285" y="1361"/>
                    <a:pt x="293" y="1379"/>
                    <a:pt x="309" y="1384"/>
                  </a:cubicBezTo>
                  <a:cubicBezTo>
                    <a:pt x="312" y="1385"/>
                    <a:pt x="316" y="1386"/>
                    <a:pt x="319" y="1386"/>
                  </a:cubicBezTo>
                  <a:cubicBezTo>
                    <a:pt x="331" y="1386"/>
                    <a:pt x="343" y="1378"/>
                    <a:pt x="347" y="1366"/>
                  </a:cubicBezTo>
                  <a:cubicBezTo>
                    <a:pt x="446" y="1090"/>
                    <a:pt x="446" y="1090"/>
                    <a:pt x="446" y="1090"/>
                  </a:cubicBezTo>
                  <a:cubicBezTo>
                    <a:pt x="471" y="1020"/>
                    <a:pt x="524" y="964"/>
                    <a:pt x="592" y="934"/>
                  </a:cubicBezTo>
                  <a:cubicBezTo>
                    <a:pt x="605" y="950"/>
                    <a:pt x="619" y="965"/>
                    <a:pt x="634" y="980"/>
                  </a:cubicBezTo>
                  <a:cubicBezTo>
                    <a:pt x="715" y="1062"/>
                    <a:pt x="814" y="1120"/>
                    <a:pt x="920" y="1152"/>
                  </a:cubicBezTo>
                  <a:cubicBezTo>
                    <a:pt x="1131" y="1740"/>
                    <a:pt x="1131" y="1740"/>
                    <a:pt x="1131" y="1740"/>
                  </a:cubicBezTo>
                  <a:cubicBezTo>
                    <a:pt x="807" y="1740"/>
                    <a:pt x="807" y="1740"/>
                    <a:pt x="807" y="1740"/>
                  </a:cubicBezTo>
                  <a:cubicBezTo>
                    <a:pt x="807" y="1568"/>
                    <a:pt x="807" y="1568"/>
                    <a:pt x="807" y="1568"/>
                  </a:cubicBezTo>
                  <a:cubicBezTo>
                    <a:pt x="807" y="1525"/>
                    <a:pt x="772" y="1490"/>
                    <a:pt x="730" y="1490"/>
                  </a:cubicBezTo>
                  <a:cubicBezTo>
                    <a:pt x="631" y="1490"/>
                    <a:pt x="631" y="1490"/>
                    <a:pt x="631" y="1490"/>
                  </a:cubicBezTo>
                  <a:cubicBezTo>
                    <a:pt x="588" y="1490"/>
                    <a:pt x="554" y="1525"/>
                    <a:pt x="554" y="1568"/>
                  </a:cubicBezTo>
                  <a:cubicBezTo>
                    <a:pt x="554" y="1740"/>
                    <a:pt x="554" y="1740"/>
                    <a:pt x="554" y="1740"/>
                  </a:cubicBezTo>
                  <a:cubicBezTo>
                    <a:pt x="213" y="1740"/>
                    <a:pt x="213" y="1740"/>
                    <a:pt x="213" y="1740"/>
                  </a:cubicBezTo>
                  <a:cubicBezTo>
                    <a:pt x="296" y="1508"/>
                    <a:pt x="296" y="1508"/>
                    <a:pt x="296" y="1508"/>
                  </a:cubicBezTo>
                  <a:cubicBezTo>
                    <a:pt x="302" y="1493"/>
                    <a:pt x="294" y="1476"/>
                    <a:pt x="278" y="1470"/>
                  </a:cubicBezTo>
                  <a:cubicBezTo>
                    <a:pt x="262" y="1464"/>
                    <a:pt x="245" y="1472"/>
                    <a:pt x="240" y="1488"/>
                  </a:cubicBezTo>
                  <a:cubicBezTo>
                    <a:pt x="149" y="1740"/>
                    <a:pt x="149" y="1740"/>
                    <a:pt x="149" y="1740"/>
                  </a:cubicBezTo>
                  <a:cubicBezTo>
                    <a:pt x="97" y="1740"/>
                    <a:pt x="97" y="1740"/>
                    <a:pt x="97" y="1740"/>
                  </a:cubicBezTo>
                  <a:cubicBezTo>
                    <a:pt x="80" y="1740"/>
                    <a:pt x="67" y="1753"/>
                    <a:pt x="67" y="1770"/>
                  </a:cubicBezTo>
                  <a:cubicBezTo>
                    <a:pt x="67" y="1845"/>
                    <a:pt x="67" y="1845"/>
                    <a:pt x="67" y="1845"/>
                  </a:cubicBezTo>
                  <a:cubicBezTo>
                    <a:pt x="30" y="1845"/>
                    <a:pt x="30" y="1845"/>
                    <a:pt x="30" y="1845"/>
                  </a:cubicBezTo>
                  <a:cubicBezTo>
                    <a:pt x="14" y="1845"/>
                    <a:pt x="0" y="1858"/>
                    <a:pt x="0" y="1875"/>
                  </a:cubicBezTo>
                  <a:cubicBezTo>
                    <a:pt x="0" y="1992"/>
                    <a:pt x="0" y="1992"/>
                    <a:pt x="0" y="1992"/>
                  </a:cubicBezTo>
                  <a:cubicBezTo>
                    <a:pt x="0" y="2009"/>
                    <a:pt x="14" y="2022"/>
                    <a:pt x="30" y="2022"/>
                  </a:cubicBezTo>
                  <a:cubicBezTo>
                    <a:pt x="1314" y="2022"/>
                    <a:pt x="1314" y="2022"/>
                    <a:pt x="1314" y="2022"/>
                  </a:cubicBezTo>
                  <a:cubicBezTo>
                    <a:pt x="1331" y="2022"/>
                    <a:pt x="1344" y="2009"/>
                    <a:pt x="1344" y="1992"/>
                  </a:cubicBezTo>
                  <a:cubicBezTo>
                    <a:pt x="1344" y="1875"/>
                    <a:pt x="1344" y="1875"/>
                    <a:pt x="1344" y="1875"/>
                  </a:cubicBezTo>
                  <a:cubicBezTo>
                    <a:pt x="1344" y="1858"/>
                    <a:pt x="1331" y="1845"/>
                    <a:pt x="1314" y="1845"/>
                  </a:cubicBezTo>
                  <a:cubicBezTo>
                    <a:pt x="1277" y="1845"/>
                    <a:pt x="1277" y="1845"/>
                    <a:pt x="1277" y="1845"/>
                  </a:cubicBezTo>
                  <a:cubicBezTo>
                    <a:pt x="1277" y="1770"/>
                    <a:pt x="1277" y="1770"/>
                    <a:pt x="1277" y="1770"/>
                  </a:cubicBezTo>
                  <a:cubicBezTo>
                    <a:pt x="1277" y="1753"/>
                    <a:pt x="1264" y="1740"/>
                    <a:pt x="1247" y="1740"/>
                  </a:cubicBezTo>
                  <a:cubicBezTo>
                    <a:pt x="1195" y="1740"/>
                    <a:pt x="1195" y="1740"/>
                    <a:pt x="1195" y="1740"/>
                  </a:cubicBezTo>
                  <a:cubicBezTo>
                    <a:pt x="990" y="1169"/>
                    <a:pt x="990" y="1169"/>
                    <a:pt x="990" y="1169"/>
                  </a:cubicBezTo>
                  <a:cubicBezTo>
                    <a:pt x="1032" y="1177"/>
                    <a:pt x="1074" y="1181"/>
                    <a:pt x="1116" y="1181"/>
                  </a:cubicBezTo>
                  <a:cubicBezTo>
                    <a:pt x="1166" y="1181"/>
                    <a:pt x="1216" y="1175"/>
                    <a:pt x="1266" y="1164"/>
                  </a:cubicBezTo>
                  <a:cubicBezTo>
                    <a:pt x="1282" y="1161"/>
                    <a:pt x="1292" y="1145"/>
                    <a:pt x="1289" y="1129"/>
                  </a:cubicBezTo>
                  <a:cubicBezTo>
                    <a:pt x="1285" y="1112"/>
                    <a:pt x="1269" y="1102"/>
                    <a:pt x="1253" y="1106"/>
                  </a:cubicBezTo>
                  <a:cubicBezTo>
                    <a:pt x="1043" y="1152"/>
                    <a:pt x="828" y="1089"/>
                    <a:pt x="676" y="938"/>
                  </a:cubicBezTo>
                  <a:cubicBezTo>
                    <a:pt x="558" y="820"/>
                    <a:pt x="493" y="663"/>
                    <a:pt x="493" y="496"/>
                  </a:cubicBezTo>
                  <a:cubicBezTo>
                    <a:pt x="493" y="339"/>
                    <a:pt x="550" y="191"/>
                    <a:pt x="655" y="76"/>
                  </a:cubicBezTo>
                  <a:cubicBezTo>
                    <a:pt x="1537" y="958"/>
                    <a:pt x="1537" y="958"/>
                    <a:pt x="1537" y="958"/>
                  </a:cubicBezTo>
                  <a:cubicBezTo>
                    <a:pt x="1493" y="999"/>
                    <a:pt x="1443" y="1032"/>
                    <a:pt x="1390" y="1058"/>
                  </a:cubicBezTo>
                  <a:cubicBezTo>
                    <a:pt x="1375" y="1065"/>
                    <a:pt x="1369" y="1083"/>
                    <a:pt x="1376" y="1098"/>
                  </a:cubicBezTo>
                  <a:cubicBezTo>
                    <a:pt x="1383" y="1113"/>
                    <a:pt x="1401" y="1119"/>
                    <a:pt x="1416" y="1112"/>
                  </a:cubicBezTo>
                  <a:cubicBezTo>
                    <a:pt x="1485" y="1079"/>
                    <a:pt x="1547" y="1034"/>
                    <a:pt x="1601" y="980"/>
                  </a:cubicBezTo>
                  <a:cubicBezTo>
                    <a:pt x="1613" y="968"/>
                    <a:pt x="1613" y="949"/>
                    <a:pt x="1601" y="938"/>
                  </a:cubicBezTo>
                  <a:lnTo>
                    <a:pt x="1323" y="660"/>
                  </a:lnTo>
                  <a:close/>
                  <a:moveTo>
                    <a:pt x="614" y="1568"/>
                  </a:moveTo>
                  <a:cubicBezTo>
                    <a:pt x="614" y="1558"/>
                    <a:pt x="622" y="1550"/>
                    <a:pt x="631" y="1550"/>
                  </a:cubicBezTo>
                  <a:cubicBezTo>
                    <a:pt x="730" y="1550"/>
                    <a:pt x="730" y="1550"/>
                    <a:pt x="730" y="1550"/>
                  </a:cubicBezTo>
                  <a:cubicBezTo>
                    <a:pt x="739" y="1550"/>
                    <a:pt x="747" y="1558"/>
                    <a:pt x="747" y="1568"/>
                  </a:cubicBezTo>
                  <a:cubicBezTo>
                    <a:pt x="747" y="1740"/>
                    <a:pt x="747" y="1740"/>
                    <a:pt x="747" y="1740"/>
                  </a:cubicBezTo>
                  <a:cubicBezTo>
                    <a:pt x="614" y="1740"/>
                    <a:pt x="614" y="1740"/>
                    <a:pt x="614" y="1740"/>
                  </a:cubicBezTo>
                  <a:cubicBezTo>
                    <a:pt x="614" y="1568"/>
                    <a:pt x="614" y="1568"/>
                    <a:pt x="614" y="1568"/>
                  </a:cubicBezTo>
                  <a:close/>
                  <a:moveTo>
                    <a:pt x="1284" y="1962"/>
                  </a:moveTo>
                  <a:cubicBezTo>
                    <a:pt x="60" y="1962"/>
                    <a:pt x="60" y="1962"/>
                    <a:pt x="60" y="1962"/>
                  </a:cubicBezTo>
                  <a:cubicBezTo>
                    <a:pt x="60" y="1905"/>
                    <a:pt x="60" y="1905"/>
                    <a:pt x="60" y="1905"/>
                  </a:cubicBezTo>
                  <a:cubicBezTo>
                    <a:pt x="1284" y="1905"/>
                    <a:pt x="1284" y="1905"/>
                    <a:pt x="1284" y="1905"/>
                  </a:cubicBezTo>
                  <a:lnTo>
                    <a:pt x="1284" y="1962"/>
                  </a:lnTo>
                  <a:close/>
                  <a:moveTo>
                    <a:pt x="1217" y="1845"/>
                  </a:moveTo>
                  <a:cubicBezTo>
                    <a:pt x="127" y="1845"/>
                    <a:pt x="127" y="1845"/>
                    <a:pt x="127" y="1845"/>
                  </a:cubicBezTo>
                  <a:cubicBezTo>
                    <a:pt x="127" y="1800"/>
                    <a:pt x="127" y="1800"/>
                    <a:pt x="127" y="1800"/>
                  </a:cubicBezTo>
                  <a:cubicBezTo>
                    <a:pt x="1217" y="1800"/>
                    <a:pt x="1217" y="1800"/>
                    <a:pt x="1217" y="1800"/>
                  </a:cubicBezTo>
                  <a:cubicBezTo>
                    <a:pt x="1217" y="1845"/>
                    <a:pt x="1217" y="1845"/>
                    <a:pt x="1217" y="18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9"/>
            <p:cNvSpPr>
              <a:spLocks/>
            </p:cNvSpPr>
            <p:nvPr/>
          </p:nvSpPr>
          <p:spPr bwMode="auto">
            <a:xfrm>
              <a:off x="2862" y="943"/>
              <a:ext cx="278" cy="113"/>
            </a:xfrm>
            <a:custGeom>
              <a:avLst/>
              <a:gdLst>
                <a:gd name="T0" fmla="*/ 0 w 147"/>
                <a:gd name="T1" fmla="*/ 30 h 60"/>
                <a:gd name="T2" fmla="*/ 30 w 147"/>
                <a:gd name="T3" fmla="*/ 60 h 60"/>
                <a:gd name="T4" fmla="*/ 117 w 147"/>
                <a:gd name="T5" fmla="*/ 60 h 60"/>
                <a:gd name="T6" fmla="*/ 147 w 147"/>
                <a:gd name="T7" fmla="*/ 30 h 60"/>
                <a:gd name="T8" fmla="*/ 117 w 147"/>
                <a:gd name="T9" fmla="*/ 0 h 60"/>
                <a:gd name="T10" fmla="*/ 30 w 147"/>
                <a:gd name="T11" fmla="*/ 0 h 60"/>
                <a:gd name="T12" fmla="*/ 0 w 147"/>
                <a:gd name="T13" fmla="*/ 30 h 60"/>
              </a:gdLst>
              <a:ahLst/>
              <a:cxnLst>
                <a:cxn ang="0">
                  <a:pos x="T0" y="T1"/>
                </a:cxn>
                <a:cxn ang="0">
                  <a:pos x="T2" y="T3"/>
                </a:cxn>
                <a:cxn ang="0">
                  <a:pos x="T4" y="T5"/>
                </a:cxn>
                <a:cxn ang="0">
                  <a:pos x="T6" y="T7"/>
                </a:cxn>
                <a:cxn ang="0">
                  <a:pos x="T8" y="T9"/>
                </a:cxn>
                <a:cxn ang="0">
                  <a:pos x="T10" y="T11"/>
                </a:cxn>
                <a:cxn ang="0">
                  <a:pos x="T12" y="T13"/>
                </a:cxn>
              </a:cxnLst>
              <a:rect l="0" t="0" r="r" b="b"/>
              <a:pathLst>
                <a:path w="147" h="60">
                  <a:moveTo>
                    <a:pt x="0" y="30"/>
                  </a:moveTo>
                  <a:cubicBezTo>
                    <a:pt x="0" y="46"/>
                    <a:pt x="14" y="60"/>
                    <a:pt x="30" y="60"/>
                  </a:cubicBezTo>
                  <a:cubicBezTo>
                    <a:pt x="117" y="60"/>
                    <a:pt x="117" y="60"/>
                    <a:pt x="117" y="60"/>
                  </a:cubicBezTo>
                  <a:cubicBezTo>
                    <a:pt x="133" y="60"/>
                    <a:pt x="147" y="46"/>
                    <a:pt x="147" y="30"/>
                  </a:cubicBezTo>
                  <a:cubicBezTo>
                    <a:pt x="147" y="13"/>
                    <a:pt x="133" y="0"/>
                    <a:pt x="117" y="0"/>
                  </a:cubicBezTo>
                  <a:cubicBezTo>
                    <a:pt x="30" y="0"/>
                    <a:pt x="30" y="0"/>
                    <a:pt x="30" y="0"/>
                  </a:cubicBezTo>
                  <a:cubicBezTo>
                    <a:pt x="14" y="0"/>
                    <a:pt x="0" y="13"/>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0"/>
            <p:cNvSpPr>
              <a:spLocks/>
            </p:cNvSpPr>
            <p:nvPr/>
          </p:nvSpPr>
          <p:spPr bwMode="auto">
            <a:xfrm>
              <a:off x="4015" y="-1349"/>
              <a:ext cx="392" cy="386"/>
            </a:xfrm>
            <a:custGeom>
              <a:avLst/>
              <a:gdLst>
                <a:gd name="T0" fmla="*/ 27 w 207"/>
                <a:gd name="T1" fmla="*/ 62 h 204"/>
                <a:gd name="T2" fmla="*/ 105 w 207"/>
                <a:gd name="T3" fmla="*/ 102 h 204"/>
                <a:gd name="T4" fmla="*/ 145 w 207"/>
                <a:gd name="T5" fmla="*/ 179 h 204"/>
                <a:gd name="T6" fmla="*/ 175 w 207"/>
                <a:gd name="T7" fmla="*/ 204 h 204"/>
                <a:gd name="T8" fmla="*/ 180 w 207"/>
                <a:gd name="T9" fmla="*/ 203 h 204"/>
                <a:gd name="T10" fmla="*/ 204 w 207"/>
                <a:gd name="T11" fmla="*/ 169 h 204"/>
                <a:gd name="T12" fmla="*/ 147 w 207"/>
                <a:gd name="T13" fmla="*/ 59 h 204"/>
                <a:gd name="T14" fmla="*/ 36 w 207"/>
                <a:gd name="T15" fmla="*/ 3 h 204"/>
                <a:gd name="T16" fmla="*/ 2 w 207"/>
                <a:gd name="T17" fmla="*/ 28 h 204"/>
                <a:gd name="T18" fmla="*/ 27 w 207"/>
                <a:gd name="T19" fmla="*/ 6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7" h="204">
                  <a:moveTo>
                    <a:pt x="27" y="62"/>
                  </a:moveTo>
                  <a:cubicBezTo>
                    <a:pt x="57" y="67"/>
                    <a:pt x="84" y="80"/>
                    <a:pt x="105" y="102"/>
                  </a:cubicBezTo>
                  <a:cubicBezTo>
                    <a:pt x="126" y="123"/>
                    <a:pt x="140" y="149"/>
                    <a:pt x="145" y="179"/>
                  </a:cubicBezTo>
                  <a:cubicBezTo>
                    <a:pt x="147" y="193"/>
                    <a:pt x="160" y="204"/>
                    <a:pt x="175" y="204"/>
                  </a:cubicBezTo>
                  <a:cubicBezTo>
                    <a:pt x="176" y="204"/>
                    <a:pt x="178" y="204"/>
                    <a:pt x="180" y="203"/>
                  </a:cubicBezTo>
                  <a:cubicBezTo>
                    <a:pt x="196" y="201"/>
                    <a:pt x="207" y="185"/>
                    <a:pt x="204" y="169"/>
                  </a:cubicBezTo>
                  <a:cubicBezTo>
                    <a:pt x="197" y="127"/>
                    <a:pt x="177" y="89"/>
                    <a:pt x="147" y="59"/>
                  </a:cubicBezTo>
                  <a:cubicBezTo>
                    <a:pt x="117" y="29"/>
                    <a:pt x="79" y="10"/>
                    <a:pt x="36" y="3"/>
                  </a:cubicBezTo>
                  <a:cubicBezTo>
                    <a:pt x="20" y="0"/>
                    <a:pt x="5" y="12"/>
                    <a:pt x="2" y="28"/>
                  </a:cubicBezTo>
                  <a:cubicBezTo>
                    <a:pt x="0" y="44"/>
                    <a:pt x="11" y="60"/>
                    <a:pt x="27"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1"/>
            <p:cNvSpPr>
              <a:spLocks/>
            </p:cNvSpPr>
            <p:nvPr/>
          </p:nvSpPr>
          <p:spPr bwMode="auto">
            <a:xfrm>
              <a:off x="4074" y="-1542"/>
              <a:ext cx="526" cy="517"/>
            </a:xfrm>
            <a:custGeom>
              <a:avLst/>
              <a:gdLst>
                <a:gd name="T0" fmla="*/ 28 w 278"/>
                <a:gd name="T1" fmla="*/ 62 h 273"/>
                <a:gd name="T2" fmla="*/ 152 w 278"/>
                <a:gd name="T3" fmla="*/ 125 h 273"/>
                <a:gd name="T4" fmla="*/ 216 w 278"/>
                <a:gd name="T5" fmla="*/ 248 h 273"/>
                <a:gd name="T6" fmla="*/ 246 w 278"/>
                <a:gd name="T7" fmla="*/ 273 h 273"/>
                <a:gd name="T8" fmla="*/ 251 w 278"/>
                <a:gd name="T9" fmla="*/ 273 h 273"/>
                <a:gd name="T10" fmla="*/ 275 w 278"/>
                <a:gd name="T11" fmla="*/ 238 h 273"/>
                <a:gd name="T12" fmla="*/ 194 w 278"/>
                <a:gd name="T13" fmla="*/ 82 h 273"/>
                <a:gd name="T14" fmla="*/ 37 w 278"/>
                <a:gd name="T15" fmla="*/ 3 h 273"/>
                <a:gd name="T16" fmla="*/ 3 w 278"/>
                <a:gd name="T17" fmla="*/ 28 h 273"/>
                <a:gd name="T18" fmla="*/ 28 w 278"/>
                <a:gd name="T19" fmla="*/ 6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273">
                  <a:moveTo>
                    <a:pt x="28" y="62"/>
                  </a:moveTo>
                  <a:cubicBezTo>
                    <a:pt x="75" y="69"/>
                    <a:pt x="118" y="91"/>
                    <a:pt x="152" y="125"/>
                  </a:cubicBezTo>
                  <a:cubicBezTo>
                    <a:pt x="186" y="158"/>
                    <a:pt x="208" y="201"/>
                    <a:pt x="216" y="248"/>
                  </a:cubicBezTo>
                  <a:cubicBezTo>
                    <a:pt x="218" y="263"/>
                    <a:pt x="231" y="273"/>
                    <a:pt x="246" y="273"/>
                  </a:cubicBezTo>
                  <a:cubicBezTo>
                    <a:pt x="247" y="273"/>
                    <a:pt x="249" y="273"/>
                    <a:pt x="251" y="273"/>
                  </a:cubicBezTo>
                  <a:cubicBezTo>
                    <a:pt x="267" y="270"/>
                    <a:pt x="278" y="255"/>
                    <a:pt x="275" y="238"/>
                  </a:cubicBezTo>
                  <a:cubicBezTo>
                    <a:pt x="265" y="179"/>
                    <a:pt x="237" y="125"/>
                    <a:pt x="194" y="82"/>
                  </a:cubicBezTo>
                  <a:cubicBezTo>
                    <a:pt x="151" y="39"/>
                    <a:pt x="97" y="12"/>
                    <a:pt x="37" y="3"/>
                  </a:cubicBezTo>
                  <a:cubicBezTo>
                    <a:pt x="21" y="0"/>
                    <a:pt x="5" y="11"/>
                    <a:pt x="3" y="28"/>
                  </a:cubicBezTo>
                  <a:cubicBezTo>
                    <a:pt x="0" y="44"/>
                    <a:pt x="11" y="59"/>
                    <a:pt x="28"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2"/>
            <p:cNvSpPr>
              <a:spLocks/>
            </p:cNvSpPr>
            <p:nvPr/>
          </p:nvSpPr>
          <p:spPr bwMode="auto">
            <a:xfrm>
              <a:off x="4091" y="-1760"/>
              <a:ext cx="727" cy="716"/>
            </a:xfrm>
            <a:custGeom>
              <a:avLst/>
              <a:gdLst>
                <a:gd name="T0" fmla="*/ 381 w 384"/>
                <a:gd name="T1" fmla="*/ 343 h 378"/>
                <a:gd name="T2" fmla="*/ 264 w 384"/>
                <a:gd name="T3" fmla="*/ 117 h 378"/>
                <a:gd name="T4" fmla="*/ 37 w 384"/>
                <a:gd name="T5" fmla="*/ 2 h 378"/>
                <a:gd name="T6" fmla="*/ 3 w 384"/>
                <a:gd name="T7" fmla="*/ 27 h 378"/>
                <a:gd name="T8" fmla="*/ 28 w 384"/>
                <a:gd name="T9" fmla="*/ 62 h 378"/>
                <a:gd name="T10" fmla="*/ 222 w 384"/>
                <a:gd name="T11" fmla="*/ 160 h 378"/>
                <a:gd name="T12" fmla="*/ 322 w 384"/>
                <a:gd name="T13" fmla="*/ 353 h 378"/>
                <a:gd name="T14" fmla="*/ 352 w 384"/>
                <a:gd name="T15" fmla="*/ 378 h 378"/>
                <a:gd name="T16" fmla="*/ 357 w 384"/>
                <a:gd name="T17" fmla="*/ 377 h 378"/>
                <a:gd name="T18" fmla="*/ 381 w 384"/>
                <a:gd name="T19" fmla="*/ 343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78">
                  <a:moveTo>
                    <a:pt x="381" y="343"/>
                  </a:moveTo>
                  <a:cubicBezTo>
                    <a:pt x="367" y="257"/>
                    <a:pt x="326" y="179"/>
                    <a:pt x="264" y="117"/>
                  </a:cubicBezTo>
                  <a:cubicBezTo>
                    <a:pt x="202" y="56"/>
                    <a:pt x="124" y="16"/>
                    <a:pt x="37" y="2"/>
                  </a:cubicBezTo>
                  <a:cubicBezTo>
                    <a:pt x="21" y="0"/>
                    <a:pt x="6" y="11"/>
                    <a:pt x="3" y="27"/>
                  </a:cubicBezTo>
                  <a:cubicBezTo>
                    <a:pt x="0" y="44"/>
                    <a:pt x="12" y="59"/>
                    <a:pt x="28" y="62"/>
                  </a:cubicBezTo>
                  <a:cubicBezTo>
                    <a:pt x="102" y="73"/>
                    <a:pt x="169" y="107"/>
                    <a:pt x="222" y="160"/>
                  </a:cubicBezTo>
                  <a:cubicBezTo>
                    <a:pt x="275" y="212"/>
                    <a:pt x="310" y="279"/>
                    <a:pt x="322" y="353"/>
                  </a:cubicBezTo>
                  <a:cubicBezTo>
                    <a:pt x="325" y="367"/>
                    <a:pt x="337" y="378"/>
                    <a:pt x="352" y="378"/>
                  </a:cubicBezTo>
                  <a:cubicBezTo>
                    <a:pt x="353" y="378"/>
                    <a:pt x="355" y="378"/>
                    <a:pt x="357" y="377"/>
                  </a:cubicBezTo>
                  <a:cubicBezTo>
                    <a:pt x="373" y="375"/>
                    <a:pt x="384" y="359"/>
                    <a:pt x="381" y="3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35"/>
          <p:cNvGrpSpPr>
            <a:grpSpLocks noChangeAspect="1"/>
          </p:cNvGrpSpPr>
          <p:nvPr/>
        </p:nvGrpSpPr>
        <p:grpSpPr bwMode="auto">
          <a:xfrm>
            <a:off x="3082684" y="3978718"/>
            <a:ext cx="410986" cy="457200"/>
            <a:chOff x="7679" y="1885"/>
            <a:chExt cx="3326" cy="3700"/>
          </a:xfrm>
          <a:solidFill>
            <a:schemeClr val="bg1"/>
          </a:solidFill>
        </p:grpSpPr>
        <p:sp>
          <p:nvSpPr>
            <p:cNvPr id="58" name="Freeform 36"/>
            <p:cNvSpPr>
              <a:spLocks noEditPoints="1"/>
            </p:cNvSpPr>
            <p:nvPr/>
          </p:nvSpPr>
          <p:spPr bwMode="auto">
            <a:xfrm>
              <a:off x="7679" y="1885"/>
              <a:ext cx="3326" cy="3700"/>
            </a:xfrm>
            <a:custGeom>
              <a:avLst/>
              <a:gdLst>
                <a:gd name="T0" fmla="*/ 1 w 1757"/>
                <a:gd name="T1" fmla="*/ 1099 h 1955"/>
                <a:gd name="T2" fmla="*/ 1727 w 1757"/>
                <a:gd name="T3" fmla="*/ 1026 h 1955"/>
                <a:gd name="T4" fmla="*/ 1506 w 1757"/>
                <a:gd name="T5" fmla="*/ 270 h 1955"/>
                <a:gd name="T6" fmla="*/ 1325 w 1757"/>
                <a:gd name="T7" fmla="*/ 24 h 1955"/>
                <a:gd name="T8" fmla="*/ 965 w 1757"/>
                <a:gd name="T9" fmla="*/ 204 h 1955"/>
                <a:gd name="T10" fmla="*/ 0 w 1757"/>
                <a:gd name="T11" fmla="*/ 1062 h 1955"/>
                <a:gd name="T12" fmla="*/ 213 w 1757"/>
                <a:gd name="T13" fmla="*/ 599 h 1955"/>
                <a:gd name="T14" fmla="*/ 288 w 1757"/>
                <a:gd name="T15" fmla="*/ 710 h 1955"/>
                <a:gd name="T16" fmla="*/ 479 w 1757"/>
                <a:gd name="T17" fmla="*/ 812 h 1955"/>
                <a:gd name="T18" fmla="*/ 271 w 1757"/>
                <a:gd name="T19" fmla="*/ 1152 h 1955"/>
                <a:gd name="T20" fmla="*/ 146 w 1757"/>
                <a:gd name="T21" fmla="*/ 1001 h 1955"/>
                <a:gd name="T22" fmla="*/ 213 w 1757"/>
                <a:gd name="T23" fmla="*/ 599 h 1955"/>
                <a:gd name="T24" fmla="*/ 1303 w 1757"/>
                <a:gd name="T25" fmla="*/ 84 h 1955"/>
                <a:gd name="T26" fmla="*/ 1442 w 1757"/>
                <a:gd name="T27" fmla="*/ 270 h 1955"/>
                <a:gd name="T28" fmla="*/ 1232 w 1757"/>
                <a:gd name="T29" fmla="*/ 654 h 1955"/>
                <a:gd name="T30" fmla="*/ 1021 w 1757"/>
                <a:gd name="T31" fmla="*/ 270 h 1955"/>
                <a:gd name="T32" fmla="*/ 1023 w 1757"/>
                <a:gd name="T33" fmla="*/ 247 h 1955"/>
                <a:gd name="T34" fmla="*/ 1023 w 1757"/>
                <a:gd name="T35" fmla="*/ 238 h 1955"/>
                <a:gd name="T36" fmla="*/ 957 w 1757"/>
                <a:gd name="T37" fmla="*/ 268 h 1955"/>
                <a:gd name="T38" fmla="*/ 1015 w 1757"/>
                <a:gd name="T39" fmla="*/ 454 h 1955"/>
                <a:gd name="T40" fmla="*/ 1250 w 1757"/>
                <a:gd name="T41" fmla="*/ 736 h 1955"/>
                <a:gd name="T42" fmla="*/ 1423 w 1757"/>
                <a:gd name="T43" fmla="*/ 490 h 1955"/>
                <a:gd name="T44" fmla="*/ 1541 w 1757"/>
                <a:gd name="T45" fmla="*/ 852 h 1955"/>
                <a:gd name="T46" fmla="*/ 1481 w 1757"/>
                <a:gd name="T47" fmla="*/ 1168 h 1955"/>
                <a:gd name="T48" fmla="*/ 1472 w 1757"/>
                <a:gd name="T49" fmla="*/ 971 h 1955"/>
                <a:gd name="T50" fmla="*/ 1292 w 1757"/>
                <a:gd name="T51" fmla="*/ 872 h 1955"/>
                <a:gd name="T52" fmla="*/ 1120 w 1757"/>
                <a:gd name="T53" fmla="*/ 870 h 1955"/>
                <a:gd name="T54" fmla="*/ 979 w 1757"/>
                <a:gd name="T55" fmla="*/ 998 h 1955"/>
                <a:gd name="T56" fmla="*/ 737 w 1757"/>
                <a:gd name="T57" fmla="*/ 771 h 1955"/>
                <a:gd name="T58" fmla="*/ 799 w 1757"/>
                <a:gd name="T59" fmla="*/ 494 h 1955"/>
                <a:gd name="T60" fmla="*/ 614 w 1757"/>
                <a:gd name="T61" fmla="*/ 401 h 1955"/>
                <a:gd name="T62" fmla="*/ 639 w 1757"/>
                <a:gd name="T63" fmla="*/ 294 h 1955"/>
                <a:gd name="T64" fmla="*/ 957 w 1757"/>
                <a:gd name="T65" fmla="*/ 268 h 1955"/>
                <a:gd name="T66" fmla="*/ 545 w 1757"/>
                <a:gd name="T67" fmla="*/ 414 h 1955"/>
                <a:gd name="T68" fmla="*/ 730 w 1757"/>
                <a:gd name="T69" fmla="*/ 507 h 1955"/>
                <a:gd name="T70" fmla="*/ 673 w 1757"/>
                <a:gd name="T71" fmla="*/ 768 h 1955"/>
                <a:gd name="T72" fmla="*/ 770 w 1757"/>
                <a:gd name="T73" fmla="*/ 1041 h 1955"/>
                <a:gd name="T74" fmla="*/ 992 w 1757"/>
                <a:gd name="T75" fmla="*/ 1062 h 1955"/>
                <a:gd name="T76" fmla="*/ 1133 w 1757"/>
                <a:gd name="T77" fmla="*/ 934 h 1955"/>
                <a:gd name="T78" fmla="*/ 1404 w 1757"/>
                <a:gd name="T79" fmla="*/ 986 h 1955"/>
                <a:gd name="T80" fmla="*/ 1390 w 1757"/>
                <a:gd name="T81" fmla="*/ 1185 h 1955"/>
                <a:gd name="T82" fmla="*/ 1531 w 1757"/>
                <a:gd name="T83" fmla="*/ 1240 h 1955"/>
                <a:gd name="T84" fmla="*/ 1598 w 1757"/>
                <a:gd name="T85" fmla="*/ 882 h 1955"/>
                <a:gd name="T86" fmla="*/ 1092 w 1757"/>
                <a:gd name="T87" fmla="*/ 1829 h 1955"/>
                <a:gd name="T88" fmla="*/ 66 w 1757"/>
                <a:gd name="T89" fmla="*/ 1113 h 1955"/>
                <a:gd name="T90" fmla="*/ 229 w 1757"/>
                <a:gd name="T91" fmla="*/ 1206 h 1955"/>
                <a:gd name="T92" fmla="*/ 265 w 1757"/>
                <a:gd name="T93" fmla="*/ 1221 h 1955"/>
                <a:gd name="T94" fmla="*/ 512 w 1757"/>
                <a:gd name="T95" fmla="*/ 1129 h 1955"/>
                <a:gd name="T96" fmla="*/ 541 w 1757"/>
                <a:gd name="T97" fmla="*/ 792 h 1955"/>
                <a:gd name="T98" fmla="*/ 448 w 1757"/>
                <a:gd name="T99" fmla="*/ 646 h 1955"/>
                <a:gd name="T100" fmla="*/ 256 w 1757"/>
                <a:gd name="T101" fmla="*/ 543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7" h="1955">
                  <a:moveTo>
                    <a:pt x="1" y="1091"/>
                  </a:moveTo>
                  <a:cubicBezTo>
                    <a:pt x="0" y="1094"/>
                    <a:pt x="0" y="1096"/>
                    <a:pt x="1" y="1099"/>
                  </a:cubicBezTo>
                  <a:cubicBezTo>
                    <a:pt x="21" y="1576"/>
                    <a:pt x="424" y="1946"/>
                    <a:pt x="901" y="1926"/>
                  </a:cubicBezTo>
                  <a:cubicBezTo>
                    <a:pt x="1378" y="1905"/>
                    <a:pt x="1748" y="1502"/>
                    <a:pt x="1727" y="1026"/>
                  </a:cubicBezTo>
                  <a:cubicBezTo>
                    <a:pt x="1718" y="802"/>
                    <a:pt x="1622" y="591"/>
                    <a:pt x="1460" y="436"/>
                  </a:cubicBezTo>
                  <a:cubicBezTo>
                    <a:pt x="1490" y="386"/>
                    <a:pt x="1506" y="329"/>
                    <a:pt x="1506" y="270"/>
                  </a:cubicBezTo>
                  <a:cubicBezTo>
                    <a:pt x="1506" y="162"/>
                    <a:pt x="1438" y="66"/>
                    <a:pt x="1337" y="29"/>
                  </a:cubicBezTo>
                  <a:cubicBezTo>
                    <a:pt x="1325" y="24"/>
                    <a:pt x="1325" y="24"/>
                    <a:pt x="1325" y="24"/>
                  </a:cubicBezTo>
                  <a:cubicBezTo>
                    <a:pt x="1265" y="1"/>
                    <a:pt x="1199" y="0"/>
                    <a:pt x="1137" y="20"/>
                  </a:cubicBezTo>
                  <a:cubicBezTo>
                    <a:pt x="1052" y="48"/>
                    <a:pt x="988" y="118"/>
                    <a:pt x="965" y="204"/>
                  </a:cubicBezTo>
                  <a:cubicBezTo>
                    <a:pt x="932" y="200"/>
                    <a:pt x="898" y="198"/>
                    <a:pt x="864" y="198"/>
                  </a:cubicBezTo>
                  <a:cubicBezTo>
                    <a:pt x="387" y="199"/>
                    <a:pt x="1" y="585"/>
                    <a:pt x="0" y="1062"/>
                  </a:cubicBezTo>
                  <a:cubicBezTo>
                    <a:pt x="0" y="1072"/>
                    <a:pt x="0" y="1081"/>
                    <a:pt x="1" y="1091"/>
                  </a:cubicBezTo>
                  <a:close/>
                  <a:moveTo>
                    <a:pt x="213" y="599"/>
                  </a:moveTo>
                  <a:cubicBezTo>
                    <a:pt x="259" y="692"/>
                    <a:pt x="259" y="692"/>
                    <a:pt x="259" y="692"/>
                  </a:cubicBezTo>
                  <a:cubicBezTo>
                    <a:pt x="265" y="703"/>
                    <a:pt x="276" y="710"/>
                    <a:pt x="288" y="710"/>
                  </a:cubicBezTo>
                  <a:cubicBezTo>
                    <a:pt x="428" y="710"/>
                    <a:pt x="428" y="710"/>
                    <a:pt x="428" y="710"/>
                  </a:cubicBezTo>
                  <a:cubicBezTo>
                    <a:pt x="479" y="812"/>
                    <a:pt x="479" y="812"/>
                    <a:pt x="479" y="812"/>
                  </a:cubicBezTo>
                  <a:cubicBezTo>
                    <a:pt x="450" y="1101"/>
                    <a:pt x="450" y="1101"/>
                    <a:pt x="450" y="1101"/>
                  </a:cubicBezTo>
                  <a:cubicBezTo>
                    <a:pt x="271" y="1152"/>
                    <a:pt x="271" y="1152"/>
                    <a:pt x="271" y="1152"/>
                  </a:cubicBezTo>
                  <a:cubicBezTo>
                    <a:pt x="187" y="1013"/>
                    <a:pt x="187" y="1013"/>
                    <a:pt x="187" y="1013"/>
                  </a:cubicBezTo>
                  <a:cubicBezTo>
                    <a:pt x="179" y="999"/>
                    <a:pt x="161" y="994"/>
                    <a:pt x="146" y="1001"/>
                  </a:cubicBezTo>
                  <a:cubicBezTo>
                    <a:pt x="65" y="1042"/>
                    <a:pt x="65" y="1042"/>
                    <a:pt x="65" y="1042"/>
                  </a:cubicBezTo>
                  <a:cubicBezTo>
                    <a:pt x="68" y="883"/>
                    <a:pt x="120" y="728"/>
                    <a:pt x="213" y="599"/>
                  </a:cubicBezTo>
                  <a:close/>
                  <a:moveTo>
                    <a:pt x="1158" y="81"/>
                  </a:moveTo>
                  <a:cubicBezTo>
                    <a:pt x="1205" y="65"/>
                    <a:pt x="1256" y="66"/>
                    <a:pt x="1303" y="84"/>
                  </a:cubicBezTo>
                  <a:cubicBezTo>
                    <a:pt x="1314" y="88"/>
                    <a:pt x="1314" y="88"/>
                    <a:pt x="1314" y="88"/>
                  </a:cubicBezTo>
                  <a:cubicBezTo>
                    <a:pt x="1390" y="116"/>
                    <a:pt x="1441" y="189"/>
                    <a:pt x="1442" y="270"/>
                  </a:cubicBezTo>
                  <a:cubicBezTo>
                    <a:pt x="1442" y="323"/>
                    <a:pt x="1426" y="374"/>
                    <a:pt x="1396" y="418"/>
                  </a:cubicBezTo>
                  <a:cubicBezTo>
                    <a:pt x="1232" y="654"/>
                    <a:pt x="1232" y="654"/>
                    <a:pt x="1232" y="654"/>
                  </a:cubicBezTo>
                  <a:cubicBezTo>
                    <a:pt x="1068" y="418"/>
                    <a:pt x="1068" y="418"/>
                    <a:pt x="1068" y="418"/>
                  </a:cubicBezTo>
                  <a:cubicBezTo>
                    <a:pt x="1037" y="374"/>
                    <a:pt x="1021" y="323"/>
                    <a:pt x="1021" y="270"/>
                  </a:cubicBezTo>
                  <a:cubicBezTo>
                    <a:pt x="1021" y="266"/>
                    <a:pt x="1021" y="266"/>
                    <a:pt x="1021" y="266"/>
                  </a:cubicBezTo>
                  <a:cubicBezTo>
                    <a:pt x="1021" y="260"/>
                    <a:pt x="1022" y="254"/>
                    <a:pt x="1023" y="247"/>
                  </a:cubicBezTo>
                  <a:cubicBezTo>
                    <a:pt x="1023" y="247"/>
                    <a:pt x="1023" y="246"/>
                    <a:pt x="1024" y="245"/>
                  </a:cubicBezTo>
                  <a:cubicBezTo>
                    <a:pt x="1024" y="243"/>
                    <a:pt x="1024" y="241"/>
                    <a:pt x="1023" y="238"/>
                  </a:cubicBezTo>
                  <a:cubicBezTo>
                    <a:pt x="1035" y="165"/>
                    <a:pt x="1087" y="104"/>
                    <a:pt x="1158" y="81"/>
                  </a:cubicBezTo>
                  <a:close/>
                  <a:moveTo>
                    <a:pt x="957" y="268"/>
                  </a:moveTo>
                  <a:cubicBezTo>
                    <a:pt x="957" y="270"/>
                    <a:pt x="957" y="270"/>
                    <a:pt x="957" y="270"/>
                  </a:cubicBezTo>
                  <a:cubicBezTo>
                    <a:pt x="957" y="336"/>
                    <a:pt x="977" y="400"/>
                    <a:pt x="1015" y="454"/>
                  </a:cubicBezTo>
                  <a:cubicBezTo>
                    <a:pt x="1205" y="728"/>
                    <a:pt x="1205" y="728"/>
                    <a:pt x="1205" y="728"/>
                  </a:cubicBezTo>
                  <a:cubicBezTo>
                    <a:pt x="1215" y="743"/>
                    <a:pt x="1235" y="746"/>
                    <a:pt x="1250" y="736"/>
                  </a:cubicBezTo>
                  <a:cubicBezTo>
                    <a:pt x="1253" y="734"/>
                    <a:pt x="1256" y="731"/>
                    <a:pt x="1258" y="728"/>
                  </a:cubicBezTo>
                  <a:cubicBezTo>
                    <a:pt x="1423" y="490"/>
                    <a:pt x="1423" y="490"/>
                    <a:pt x="1423" y="490"/>
                  </a:cubicBezTo>
                  <a:cubicBezTo>
                    <a:pt x="1501" y="566"/>
                    <a:pt x="1562" y="658"/>
                    <a:pt x="1604" y="759"/>
                  </a:cubicBezTo>
                  <a:cubicBezTo>
                    <a:pt x="1541" y="852"/>
                    <a:pt x="1541" y="852"/>
                    <a:pt x="1541" y="852"/>
                  </a:cubicBezTo>
                  <a:cubicBezTo>
                    <a:pt x="1539" y="856"/>
                    <a:pt x="1537" y="860"/>
                    <a:pt x="1537" y="864"/>
                  </a:cubicBezTo>
                  <a:cubicBezTo>
                    <a:pt x="1481" y="1168"/>
                    <a:pt x="1481" y="1168"/>
                    <a:pt x="1481" y="1168"/>
                  </a:cubicBezTo>
                  <a:cubicBezTo>
                    <a:pt x="1443" y="1143"/>
                    <a:pt x="1443" y="1143"/>
                    <a:pt x="1443" y="1143"/>
                  </a:cubicBezTo>
                  <a:cubicBezTo>
                    <a:pt x="1472" y="971"/>
                    <a:pt x="1472" y="971"/>
                    <a:pt x="1472" y="971"/>
                  </a:cubicBezTo>
                  <a:cubicBezTo>
                    <a:pt x="1474" y="956"/>
                    <a:pt x="1466" y="942"/>
                    <a:pt x="1452" y="936"/>
                  </a:cubicBezTo>
                  <a:cubicBezTo>
                    <a:pt x="1292" y="872"/>
                    <a:pt x="1292" y="872"/>
                    <a:pt x="1292" y="872"/>
                  </a:cubicBezTo>
                  <a:cubicBezTo>
                    <a:pt x="1288" y="871"/>
                    <a:pt x="1284" y="870"/>
                    <a:pt x="1280" y="870"/>
                  </a:cubicBezTo>
                  <a:cubicBezTo>
                    <a:pt x="1120" y="870"/>
                    <a:pt x="1120" y="870"/>
                    <a:pt x="1120" y="870"/>
                  </a:cubicBezTo>
                  <a:cubicBezTo>
                    <a:pt x="1112" y="870"/>
                    <a:pt x="1103" y="873"/>
                    <a:pt x="1097" y="879"/>
                  </a:cubicBezTo>
                  <a:cubicBezTo>
                    <a:pt x="979" y="998"/>
                    <a:pt x="979" y="998"/>
                    <a:pt x="979" y="998"/>
                  </a:cubicBezTo>
                  <a:cubicBezTo>
                    <a:pt x="822" y="998"/>
                    <a:pt x="822" y="998"/>
                    <a:pt x="822" y="998"/>
                  </a:cubicBezTo>
                  <a:cubicBezTo>
                    <a:pt x="737" y="771"/>
                    <a:pt x="737" y="771"/>
                    <a:pt x="737" y="771"/>
                  </a:cubicBezTo>
                  <a:cubicBezTo>
                    <a:pt x="767" y="622"/>
                    <a:pt x="767" y="622"/>
                    <a:pt x="767" y="622"/>
                  </a:cubicBezTo>
                  <a:cubicBezTo>
                    <a:pt x="799" y="494"/>
                    <a:pt x="799" y="494"/>
                    <a:pt x="799" y="494"/>
                  </a:cubicBezTo>
                  <a:cubicBezTo>
                    <a:pt x="803" y="478"/>
                    <a:pt x="794" y="461"/>
                    <a:pt x="778" y="456"/>
                  </a:cubicBezTo>
                  <a:cubicBezTo>
                    <a:pt x="614" y="401"/>
                    <a:pt x="614" y="401"/>
                    <a:pt x="614" y="401"/>
                  </a:cubicBezTo>
                  <a:cubicBezTo>
                    <a:pt x="639" y="302"/>
                    <a:pt x="639" y="302"/>
                    <a:pt x="639" y="302"/>
                  </a:cubicBezTo>
                  <a:cubicBezTo>
                    <a:pt x="639" y="299"/>
                    <a:pt x="640" y="297"/>
                    <a:pt x="639" y="294"/>
                  </a:cubicBezTo>
                  <a:cubicBezTo>
                    <a:pt x="712" y="273"/>
                    <a:pt x="788" y="262"/>
                    <a:pt x="864" y="262"/>
                  </a:cubicBezTo>
                  <a:cubicBezTo>
                    <a:pt x="895" y="262"/>
                    <a:pt x="926" y="264"/>
                    <a:pt x="957" y="268"/>
                  </a:cubicBezTo>
                  <a:close/>
                  <a:moveTo>
                    <a:pt x="569" y="319"/>
                  </a:moveTo>
                  <a:cubicBezTo>
                    <a:pt x="545" y="414"/>
                    <a:pt x="545" y="414"/>
                    <a:pt x="545" y="414"/>
                  </a:cubicBezTo>
                  <a:cubicBezTo>
                    <a:pt x="541" y="430"/>
                    <a:pt x="550" y="447"/>
                    <a:pt x="566" y="452"/>
                  </a:cubicBezTo>
                  <a:cubicBezTo>
                    <a:pt x="730" y="507"/>
                    <a:pt x="730" y="507"/>
                    <a:pt x="730" y="507"/>
                  </a:cubicBezTo>
                  <a:cubicBezTo>
                    <a:pt x="705" y="608"/>
                    <a:pt x="705" y="608"/>
                    <a:pt x="705" y="608"/>
                  </a:cubicBezTo>
                  <a:cubicBezTo>
                    <a:pt x="673" y="768"/>
                    <a:pt x="673" y="768"/>
                    <a:pt x="673" y="768"/>
                  </a:cubicBezTo>
                  <a:cubicBezTo>
                    <a:pt x="671" y="773"/>
                    <a:pt x="672" y="780"/>
                    <a:pt x="674" y="785"/>
                  </a:cubicBezTo>
                  <a:cubicBezTo>
                    <a:pt x="770" y="1041"/>
                    <a:pt x="770" y="1041"/>
                    <a:pt x="770" y="1041"/>
                  </a:cubicBezTo>
                  <a:cubicBezTo>
                    <a:pt x="775" y="1054"/>
                    <a:pt x="787" y="1062"/>
                    <a:pt x="800" y="1062"/>
                  </a:cubicBezTo>
                  <a:cubicBezTo>
                    <a:pt x="992" y="1062"/>
                    <a:pt x="992" y="1062"/>
                    <a:pt x="992" y="1062"/>
                  </a:cubicBezTo>
                  <a:cubicBezTo>
                    <a:pt x="1000" y="1062"/>
                    <a:pt x="1009" y="1059"/>
                    <a:pt x="1015" y="1053"/>
                  </a:cubicBezTo>
                  <a:cubicBezTo>
                    <a:pt x="1133" y="934"/>
                    <a:pt x="1133" y="934"/>
                    <a:pt x="1133" y="934"/>
                  </a:cubicBezTo>
                  <a:cubicBezTo>
                    <a:pt x="1274" y="934"/>
                    <a:pt x="1274" y="934"/>
                    <a:pt x="1274" y="934"/>
                  </a:cubicBezTo>
                  <a:cubicBezTo>
                    <a:pt x="1404" y="986"/>
                    <a:pt x="1404" y="986"/>
                    <a:pt x="1404" y="986"/>
                  </a:cubicBezTo>
                  <a:cubicBezTo>
                    <a:pt x="1376" y="1153"/>
                    <a:pt x="1376" y="1153"/>
                    <a:pt x="1376" y="1153"/>
                  </a:cubicBezTo>
                  <a:cubicBezTo>
                    <a:pt x="1374" y="1165"/>
                    <a:pt x="1380" y="1178"/>
                    <a:pt x="1390" y="1185"/>
                  </a:cubicBezTo>
                  <a:cubicBezTo>
                    <a:pt x="1486" y="1249"/>
                    <a:pt x="1486" y="1249"/>
                    <a:pt x="1486" y="1249"/>
                  </a:cubicBezTo>
                  <a:cubicBezTo>
                    <a:pt x="1501" y="1259"/>
                    <a:pt x="1521" y="1255"/>
                    <a:pt x="1531" y="1240"/>
                  </a:cubicBezTo>
                  <a:cubicBezTo>
                    <a:pt x="1533" y="1236"/>
                    <a:pt x="1535" y="1232"/>
                    <a:pt x="1535" y="1228"/>
                  </a:cubicBezTo>
                  <a:cubicBezTo>
                    <a:pt x="1598" y="882"/>
                    <a:pt x="1598" y="882"/>
                    <a:pt x="1598" y="882"/>
                  </a:cubicBezTo>
                  <a:cubicBezTo>
                    <a:pt x="1630" y="834"/>
                    <a:pt x="1630" y="834"/>
                    <a:pt x="1630" y="834"/>
                  </a:cubicBezTo>
                  <a:cubicBezTo>
                    <a:pt x="1757" y="1258"/>
                    <a:pt x="1516" y="1703"/>
                    <a:pt x="1092" y="1829"/>
                  </a:cubicBezTo>
                  <a:cubicBezTo>
                    <a:pt x="669" y="1955"/>
                    <a:pt x="224" y="1715"/>
                    <a:pt x="98" y="1291"/>
                  </a:cubicBezTo>
                  <a:cubicBezTo>
                    <a:pt x="80" y="1233"/>
                    <a:pt x="70" y="1173"/>
                    <a:pt x="66" y="1113"/>
                  </a:cubicBezTo>
                  <a:cubicBezTo>
                    <a:pt x="148" y="1072"/>
                    <a:pt x="148" y="1072"/>
                    <a:pt x="148" y="1072"/>
                  </a:cubicBezTo>
                  <a:cubicBezTo>
                    <a:pt x="229" y="1206"/>
                    <a:pt x="229" y="1206"/>
                    <a:pt x="229" y="1206"/>
                  </a:cubicBezTo>
                  <a:cubicBezTo>
                    <a:pt x="234" y="1216"/>
                    <a:pt x="245" y="1222"/>
                    <a:pt x="256" y="1222"/>
                  </a:cubicBezTo>
                  <a:cubicBezTo>
                    <a:pt x="259" y="1222"/>
                    <a:pt x="262" y="1222"/>
                    <a:pt x="265" y="1221"/>
                  </a:cubicBezTo>
                  <a:cubicBezTo>
                    <a:pt x="489" y="1157"/>
                    <a:pt x="489" y="1157"/>
                    <a:pt x="489" y="1157"/>
                  </a:cubicBezTo>
                  <a:cubicBezTo>
                    <a:pt x="501" y="1153"/>
                    <a:pt x="511" y="1142"/>
                    <a:pt x="512" y="1129"/>
                  </a:cubicBezTo>
                  <a:cubicBezTo>
                    <a:pt x="544" y="809"/>
                    <a:pt x="544" y="809"/>
                    <a:pt x="544" y="809"/>
                  </a:cubicBezTo>
                  <a:cubicBezTo>
                    <a:pt x="545" y="803"/>
                    <a:pt x="544" y="797"/>
                    <a:pt x="541" y="792"/>
                  </a:cubicBezTo>
                  <a:cubicBezTo>
                    <a:pt x="477" y="664"/>
                    <a:pt x="477" y="664"/>
                    <a:pt x="477" y="664"/>
                  </a:cubicBezTo>
                  <a:cubicBezTo>
                    <a:pt x="471" y="653"/>
                    <a:pt x="460" y="646"/>
                    <a:pt x="448" y="646"/>
                  </a:cubicBezTo>
                  <a:cubicBezTo>
                    <a:pt x="308" y="646"/>
                    <a:pt x="308" y="646"/>
                    <a:pt x="308" y="646"/>
                  </a:cubicBezTo>
                  <a:cubicBezTo>
                    <a:pt x="256" y="543"/>
                    <a:pt x="256" y="543"/>
                    <a:pt x="256" y="543"/>
                  </a:cubicBezTo>
                  <a:cubicBezTo>
                    <a:pt x="341" y="444"/>
                    <a:pt x="448" y="367"/>
                    <a:pt x="569"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37"/>
            <p:cNvSpPr>
              <a:spLocks noEditPoints="1"/>
            </p:cNvSpPr>
            <p:nvPr/>
          </p:nvSpPr>
          <p:spPr bwMode="auto">
            <a:xfrm>
              <a:off x="9771" y="2146"/>
              <a:ext cx="479" cy="477"/>
            </a:xfrm>
            <a:custGeom>
              <a:avLst/>
              <a:gdLst>
                <a:gd name="T0" fmla="*/ 127 w 253"/>
                <a:gd name="T1" fmla="*/ 252 h 252"/>
                <a:gd name="T2" fmla="*/ 253 w 253"/>
                <a:gd name="T3" fmla="*/ 126 h 252"/>
                <a:gd name="T4" fmla="*/ 127 w 253"/>
                <a:gd name="T5" fmla="*/ 0 h 252"/>
                <a:gd name="T6" fmla="*/ 0 w 253"/>
                <a:gd name="T7" fmla="*/ 126 h 252"/>
                <a:gd name="T8" fmla="*/ 127 w 253"/>
                <a:gd name="T9" fmla="*/ 252 h 252"/>
                <a:gd name="T10" fmla="*/ 127 w 253"/>
                <a:gd name="T11" fmla="*/ 64 h 252"/>
                <a:gd name="T12" fmla="*/ 189 w 253"/>
                <a:gd name="T13" fmla="*/ 126 h 252"/>
                <a:gd name="T14" fmla="*/ 127 w 253"/>
                <a:gd name="T15" fmla="*/ 188 h 252"/>
                <a:gd name="T16" fmla="*/ 64 w 253"/>
                <a:gd name="T17" fmla="*/ 126 h 252"/>
                <a:gd name="T18" fmla="*/ 127 w 253"/>
                <a:gd name="T19" fmla="*/ 6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252">
                  <a:moveTo>
                    <a:pt x="127" y="252"/>
                  </a:moveTo>
                  <a:cubicBezTo>
                    <a:pt x="196" y="252"/>
                    <a:pt x="253" y="196"/>
                    <a:pt x="253" y="126"/>
                  </a:cubicBezTo>
                  <a:cubicBezTo>
                    <a:pt x="253" y="56"/>
                    <a:pt x="196" y="0"/>
                    <a:pt x="127" y="0"/>
                  </a:cubicBezTo>
                  <a:cubicBezTo>
                    <a:pt x="57" y="0"/>
                    <a:pt x="0" y="56"/>
                    <a:pt x="0" y="126"/>
                  </a:cubicBezTo>
                  <a:cubicBezTo>
                    <a:pt x="1" y="195"/>
                    <a:pt x="57" y="252"/>
                    <a:pt x="127" y="252"/>
                  </a:cubicBezTo>
                  <a:close/>
                  <a:moveTo>
                    <a:pt x="127" y="64"/>
                  </a:moveTo>
                  <a:cubicBezTo>
                    <a:pt x="161" y="64"/>
                    <a:pt x="189" y="92"/>
                    <a:pt x="189" y="126"/>
                  </a:cubicBezTo>
                  <a:cubicBezTo>
                    <a:pt x="189" y="160"/>
                    <a:pt x="161" y="188"/>
                    <a:pt x="127" y="188"/>
                  </a:cubicBezTo>
                  <a:cubicBezTo>
                    <a:pt x="92" y="188"/>
                    <a:pt x="64" y="160"/>
                    <a:pt x="64" y="126"/>
                  </a:cubicBezTo>
                  <a:cubicBezTo>
                    <a:pt x="65" y="92"/>
                    <a:pt x="92" y="64"/>
                    <a:pt x="12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8"/>
            <p:cNvSpPr>
              <a:spLocks noEditPoints="1"/>
            </p:cNvSpPr>
            <p:nvPr/>
          </p:nvSpPr>
          <p:spPr bwMode="auto">
            <a:xfrm>
              <a:off x="8648" y="4008"/>
              <a:ext cx="731" cy="1219"/>
            </a:xfrm>
            <a:custGeom>
              <a:avLst/>
              <a:gdLst>
                <a:gd name="T0" fmla="*/ 36 w 386"/>
                <a:gd name="T1" fmla="*/ 279 h 644"/>
                <a:gd name="T2" fmla="*/ 71 w 386"/>
                <a:gd name="T3" fmla="*/ 337 h 644"/>
                <a:gd name="T4" fmla="*/ 66 w 386"/>
                <a:gd name="T5" fmla="*/ 346 h 644"/>
                <a:gd name="T6" fmla="*/ 34 w 386"/>
                <a:gd name="T7" fmla="*/ 442 h 644"/>
                <a:gd name="T8" fmla="*/ 37 w 386"/>
                <a:gd name="T9" fmla="*/ 468 h 644"/>
                <a:gd name="T10" fmla="*/ 133 w 386"/>
                <a:gd name="T11" fmla="*/ 628 h 644"/>
                <a:gd name="T12" fmla="*/ 160 w 386"/>
                <a:gd name="T13" fmla="*/ 644 h 644"/>
                <a:gd name="T14" fmla="*/ 192 w 386"/>
                <a:gd name="T15" fmla="*/ 644 h 644"/>
                <a:gd name="T16" fmla="*/ 215 w 386"/>
                <a:gd name="T17" fmla="*/ 635 h 644"/>
                <a:gd name="T18" fmla="*/ 311 w 386"/>
                <a:gd name="T19" fmla="*/ 539 h 644"/>
                <a:gd name="T20" fmla="*/ 318 w 386"/>
                <a:gd name="T21" fmla="*/ 528 h 644"/>
                <a:gd name="T22" fmla="*/ 382 w 386"/>
                <a:gd name="T23" fmla="*/ 368 h 644"/>
                <a:gd name="T24" fmla="*/ 375 w 386"/>
                <a:gd name="T25" fmla="*/ 333 h 644"/>
                <a:gd name="T26" fmla="*/ 318 w 386"/>
                <a:gd name="T27" fmla="*/ 276 h 644"/>
                <a:gd name="T28" fmla="*/ 352 w 386"/>
                <a:gd name="T29" fmla="*/ 168 h 644"/>
                <a:gd name="T30" fmla="*/ 243 w 386"/>
                <a:gd name="T31" fmla="*/ 18 h 644"/>
                <a:gd name="T32" fmla="*/ 236 w 386"/>
                <a:gd name="T33" fmla="*/ 15 h 644"/>
                <a:gd name="T34" fmla="*/ 117 w 386"/>
                <a:gd name="T35" fmla="*/ 13 h 644"/>
                <a:gd name="T36" fmla="*/ 0 w 386"/>
                <a:gd name="T37" fmla="*/ 168 h 644"/>
                <a:gd name="T38" fmla="*/ 36 w 386"/>
                <a:gd name="T39" fmla="*/ 279 h 644"/>
                <a:gd name="T40" fmla="*/ 261 w 386"/>
                <a:gd name="T41" fmla="*/ 498 h 644"/>
                <a:gd name="T42" fmla="*/ 179 w 386"/>
                <a:gd name="T43" fmla="*/ 580 h 644"/>
                <a:gd name="T44" fmla="*/ 99 w 386"/>
                <a:gd name="T45" fmla="*/ 448 h 644"/>
                <a:gd name="T46" fmla="*/ 112 w 386"/>
                <a:gd name="T47" fmla="*/ 408 h 644"/>
                <a:gd name="T48" fmla="*/ 148 w 386"/>
                <a:gd name="T49" fmla="*/ 469 h 644"/>
                <a:gd name="T50" fmla="*/ 192 w 386"/>
                <a:gd name="T51" fmla="*/ 480 h 644"/>
                <a:gd name="T52" fmla="*/ 204 w 386"/>
                <a:gd name="T53" fmla="*/ 469 h 644"/>
                <a:gd name="T54" fmla="*/ 284 w 386"/>
                <a:gd name="T55" fmla="*/ 333 h 644"/>
                <a:gd name="T56" fmla="*/ 314 w 386"/>
                <a:gd name="T57" fmla="*/ 364 h 644"/>
                <a:gd name="T58" fmla="*/ 261 w 386"/>
                <a:gd name="T59" fmla="*/ 498 h 644"/>
                <a:gd name="T60" fmla="*/ 136 w 386"/>
                <a:gd name="T61" fmla="*/ 74 h 644"/>
                <a:gd name="T62" fmla="*/ 214 w 386"/>
                <a:gd name="T63" fmla="*/ 75 h 644"/>
                <a:gd name="T64" fmla="*/ 220 w 386"/>
                <a:gd name="T65" fmla="*/ 78 h 644"/>
                <a:gd name="T66" fmla="*/ 288 w 386"/>
                <a:gd name="T67" fmla="*/ 168 h 644"/>
                <a:gd name="T68" fmla="*/ 261 w 386"/>
                <a:gd name="T69" fmla="*/ 245 h 644"/>
                <a:gd name="T70" fmla="*/ 176 w 386"/>
                <a:gd name="T71" fmla="*/ 389 h 644"/>
                <a:gd name="T72" fmla="*/ 91 w 386"/>
                <a:gd name="T73" fmla="*/ 245 h 644"/>
                <a:gd name="T74" fmla="*/ 89 w 386"/>
                <a:gd name="T75" fmla="*/ 243 h 644"/>
                <a:gd name="T76" fmla="*/ 64 w 386"/>
                <a:gd name="T77" fmla="*/ 165 h 644"/>
                <a:gd name="T78" fmla="*/ 136 w 386"/>
                <a:gd name="T79" fmla="*/ 7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6" h="644">
                  <a:moveTo>
                    <a:pt x="36" y="279"/>
                  </a:moveTo>
                  <a:cubicBezTo>
                    <a:pt x="71" y="337"/>
                    <a:pt x="71" y="337"/>
                    <a:pt x="71" y="337"/>
                  </a:cubicBezTo>
                  <a:cubicBezTo>
                    <a:pt x="69" y="340"/>
                    <a:pt x="67" y="343"/>
                    <a:pt x="66" y="346"/>
                  </a:cubicBezTo>
                  <a:cubicBezTo>
                    <a:pt x="34" y="442"/>
                    <a:pt x="34" y="442"/>
                    <a:pt x="34" y="442"/>
                  </a:cubicBezTo>
                  <a:cubicBezTo>
                    <a:pt x="31" y="451"/>
                    <a:pt x="32" y="460"/>
                    <a:pt x="37" y="468"/>
                  </a:cubicBezTo>
                  <a:cubicBezTo>
                    <a:pt x="133" y="628"/>
                    <a:pt x="133" y="628"/>
                    <a:pt x="133" y="628"/>
                  </a:cubicBezTo>
                  <a:cubicBezTo>
                    <a:pt x="138" y="638"/>
                    <a:pt x="149" y="644"/>
                    <a:pt x="160" y="644"/>
                  </a:cubicBezTo>
                  <a:cubicBezTo>
                    <a:pt x="192" y="644"/>
                    <a:pt x="192" y="644"/>
                    <a:pt x="192" y="644"/>
                  </a:cubicBezTo>
                  <a:cubicBezTo>
                    <a:pt x="200" y="644"/>
                    <a:pt x="209" y="641"/>
                    <a:pt x="215" y="635"/>
                  </a:cubicBezTo>
                  <a:cubicBezTo>
                    <a:pt x="311" y="539"/>
                    <a:pt x="311" y="539"/>
                    <a:pt x="311" y="539"/>
                  </a:cubicBezTo>
                  <a:cubicBezTo>
                    <a:pt x="314" y="536"/>
                    <a:pt x="316" y="532"/>
                    <a:pt x="318" y="528"/>
                  </a:cubicBezTo>
                  <a:cubicBezTo>
                    <a:pt x="382" y="368"/>
                    <a:pt x="382" y="368"/>
                    <a:pt x="382" y="368"/>
                  </a:cubicBezTo>
                  <a:cubicBezTo>
                    <a:pt x="386" y="356"/>
                    <a:pt x="384" y="342"/>
                    <a:pt x="375" y="333"/>
                  </a:cubicBezTo>
                  <a:cubicBezTo>
                    <a:pt x="318" y="276"/>
                    <a:pt x="318" y="276"/>
                    <a:pt x="318" y="276"/>
                  </a:cubicBezTo>
                  <a:cubicBezTo>
                    <a:pt x="340" y="244"/>
                    <a:pt x="352" y="207"/>
                    <a:pt x="352" y="168"/>
                  </a:cubicBezTo>
                  <a:cubicBezTo>
                    <a:pt x="351" y="99"/>
                    <a:pt x="307" y="39"/>
                    <a:pt x="243" y="18"/>
                  </a:cubicBezTo>
                  <a:cubicBezTo>
                    <a:pt x="236" y="15"/>
                    <a:pt x="236" y="15"/>
                    <a:pt x="236" y="15"/>
                  </a:cubicBezTo>
                  <a:cubicBezTo>
                    <a:pt x="198" y="1"/>
                    <a:pt x="156" y="0"/>
                    <a:pt x="117" y="13"/>
                  </a:cubicBezTo>
                  <a:cubicBezTo>
                    <a:pt x="48" y="33"/>
                    <a:pt x="1" y="96"/>
                    <a:pt x="0" y="168"/>
                  </a:cubicBezTo>
                  <a:cubicBezTo>
                    <a:pt x="0" y="208"/>
                    <a:pt x="13" y="247"/>
                    <a:pt x="36" y="279"/>
                  </a:cubicBezTo>
                  <a:close/>
                  <a:moveTo>
                    <a:pt x="261" y="498"/>
                  </a:moveTo>
                  <a:cubicBezTo>
                    <a:pt x="179" y="580"/>
                    <a:pt x="179" y="580"/>
                    <a:pt x="179" y="580"/>
                  </a:cubicBezTo>
                  <a:cubicBezTo>
                    <a:pt x="99" y="448"/>
                    <a:pt x="99" y="448"/>
                    <a:pt x="99" y="448"/>
                  </a:cubicBezTo>
                  <a:cubicBezTo>
                    <a:pt x="112" y="408"/>
                    <a:pt x="112" y="408"/>
                    <a:pt x="112" y="408"/>
                  </a:cubicBezTo>
                  <a:cubicBezTo>
                    <a:pt x="148" y="469"/>
                    <a:pt x="148" y="469"/>
                    <a:pt x="148" y="469"/>
                  </a:cubicBezTo>
                  <a:cubicBezTo>
                    <a:pt x="157" y="484"/>
                    <a:pt x="177" y="489"/>
                    <a:pt x="192" y="480"/>
                  </a:cubicBezTo>
                  <a:cubicBezTo>
                    <a:pt x="197" y="477"/>
                    <a:pt x="201" y="473"/>
                    <a:pt x="204" y="469"/>
                  </a:cubicBezTo>
                  <a:cubicBezTo>
                    <a:pt x="284" y="333"/>
                    <a:pt x="284" y="333"/>
                    <a:pt x="284" y="333"/>
                  </a:cubicBezTo>
                  <a:cubicBezTo>
                    <a:pt x="314" y="364"/>
                    <a:pt x="314" y="364"/>
                    <a:pt x="314" y="364"/>
                  </a:cubicBezTo>
                  <a:lnTo>
                    <a:pt x="261" y="498"/>
                  </a:lnTo>
                  <a:close/>
                  <a:moveTo>
                    <a:pt x="136" y="74"/>
                  </a:moveTo>
                  <a:cubicBezTo>
                    <a:pt x="161" y="65"/>
                    <a:pt x="189" y="66"/>
                    <a:pt x="214" y="75"/>
                  </a:cubicBezTo>
                  <a:cubicBezTo>
                    <a:pt x="220" y="78"/>
                    <a:pt x="220" y="78"/>
                    <a:pt x="220" y="78"/>
                  </a:cubicBezTo>
                  <a:cubicBezTo>
                    <a:pt x="260" y="90"/>
                    <a:pt x="287" y="126"/>
                    <a:pt x="288" y="168"/>
                  </a:cubicBezTo>
                  <a:cubicBezTo>
                    <a:pt x="288" y="196"/>
                    <a:pt x="278" y="223"/>
                    <a:pt x="261" y="245"/>
                  </a:cubicBezTo>
                  <a:cubicBezTo>
                    <a:pt x="176" y="389"/>
                    <a:pt x="176" y="389"/>
                    <a:pt x="176" y="389"/>
                  </a:cubicBezTo>
                  <a:cubicBezTo>
                    <a:pt x="91" y="245"/>
                    <a:pt x="91" y="245"/>
                    <a:pt x="91" y="245"/>
                  </a:cubicBezTo>
                  <a:cubicBezTo>
                    <a:pt x="90" y="245"/>
                    <a:pt x="90" y="244"/>
                    <a:pt x="89" y="243"/>
                  </a:cubicBezTo>
                  <a:cubicBezTo>
                    <a:pt x="72" y="220"/>
                    <a:pt x="64" y="193"/>
                    <a:pt x="64" y="165"/>
                  </a:cubicBezTo>
                  <a:cubicBezTo>
                    <a:pt x="66" y="122"/>
                    <a:pt x="95" y="85"/>
                    <a:pt x="136"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39"/>
            <p:cNvSpPr>
              <a:spLocks noEditPoints="1"/>
            </p:cNvSpPr>
            <p:nvPr/>
          </p:nvSpPr>
          <p:spPr bwMode="auto">
            <a:xfrm>
              <a:off x="8830" y="4198"/>
              <a:ext cx="303" cy="302"/>
            </a:xfrm>
            <a:custGeom>
              <a:avLst/>
              <a:gdLst>
                <a:gd name="T0" fmla="*/ 80 w 160"/>
                <a:gd name="T1" fmla="*/ 160 h 160"/>
                <a:gd name="T2" fmla="*/ 160 w 160"/>
                <a:gd name="T3" fmla="*/ 80 h 160"/>
                <a:gd name="T4" fmla="*/ 80 w 160"/>
                <a:gd name="T5" fmla="*/ 0 h 160"/>
                <a:gd name="T6" fmla="*/ 0 w 160"/>
                <a:gd name="T7" fmla="*/ 80 h 160"/>
                <a:gd name="T8" fmla="*/ 80 w 160"/>
                <a:gd name="T9" fmla="*/ 160 h 160"/>
                <a:gd name="T10" fmla="*/ 80 w 160"/>
                <a:gd name="T11" fmla="*/ 64 h 160"/>
                <a:gd name="T12" fmla="*/ 96 w 160"/>
                <a:gd name="T13" fmla="*/ 80 h 160"/>
                <a:gd name="T14" fmla="*/ 80 w 160"/>
                <a:gd name="T15" fmla="*/ 96 h 160"/>
                <a:gd name="T16" fmla="*/ 64 w 160"/>
                <a:gd name="T17" fmla="*/ 80 h 160"/>
                <a:gd name="T18" fmla="*/ 80 w 160"/>
                <a:gd name="T19"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124" y="160"/>
                    <a:pt x="160" y="124"/>
                    <a:pt x="160" y="80"/>
                  </a:cubicBezTo>
                  <a:cubicBezTo>
                    <a:pt x="160" y="36"/>
                    <a:pt x="124" y="0"/>
                    <a:pt x="80" y="0"/>
                  </a:cubicBezTo>
                  <a:cubicBezTo>
                    <a:pt x="36" y="0"/>
                    <a:pt x="0" y="36"/>
                    <a:pt x="0" y="80"/>
                  </a:cubicBezTo>
                  <a:cubicBezTo>
                    <a:pt x="0" y="124"/>
                    <a:pt x="36" y="160"/>
                    <a:pt x="80" y="160"/>
                  </a:cubicBezTo>
                  <a:close/>
                  <a:moveTo>
                    <a:pt x="80" y="64"/>
                  </a:moveTo>
                  <a:cubicBezTo>
                    <a:pt x="89" y="64"/>
                    <a:pt x="96" y="71"/>
                    <a:pt x="96" y="80"/>
                  </a:cubicBezTo>
                  <a:cubicBezTo>
                    <a:pt x="96" y="89"/>
                    <a:pt x="89" y="96"/>
                    <a:pt x="80" y="96"/>
                  </a:cubicBezTo>
                  <a:cubicBezTo>
                    <a:pt x="71" y="96"/>
                    <a:pt x="64" y="89"/>
                    <a:pt x="64" y="80"/>
                  </a:cubicBezTo>
                  <a:cubicBezTo>
                    <a:pt x="64" y="71"/>
                    <a:pt x="71" y="64"/>
                    <a:pt x="8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 name="Group 61"/>
          <p:cNvGrpSpPr/>
          <p:nvPr/>
        </p:nvGrpSpPr>
        <p:grpSpPr>
          <a:xfrm>
            <a:off x="2922208" y="4661751"/>
            <a:ext cx="3028648" cy="882321"/>
            <a:chOff x="2148114" y="1446894"/>
            <a:chExt cx="2271486" cy="661741"/>
          </a:xfrm>
        </p:grpSpPr>
        <p:sp>
          <p:nvSpPr>
            <p:cNvPr id="63" name="Rectangle 62"/>
            <p:cNvSpPr/>
            <p:nvPr/>
          </p:nvSpPr>
          <p:spPr>
            <a:xfrm>
              <a:off x="2148114" y="1670054"/>
              <a:ext cx="2271486" cy="438581"/>
            </a:xfrm>
            <a:prstGeom prst="rect">
              <a:avLst/>
            </a:prstGeom>
          </p:spPr>
          <p:txBody>
            <a:bodyPr wrap="square">
              <a:spAutoFit/>
            </a:bodyPr>
            <a:lstStyle/>
            <a:p>
              <a:r>
                <a:rPr lang="en-US" sz="1600" dirty="0">
                  <a:solidFill>
                    <a:schemeClr val="bg1"/>
                  </a:solidFill>
                  <a:latin typeface="+mj-lt"/>
                  <a:ea typeface="Roboto" panose="02000000000000000000" pitchFamily="2" charset="0"/>
                </a:rPr>
                <a:t>Carrier-Grade, Redundant</a:t>
              </a:r>
            </a:p>
            <a:p>
              <a:r>
                <a:rPr lang="en-US" sz="1600" dirty="0">
                  <a:solidFill>
                    <a:schemeClr val="bg1"/>
                  </a:solidFill>
                  <a:latin typeface="+mj-lt"/>
                  <a:ea typeface="Roboto" panose="02000000000000000000" pitchFamily="2" charset="0"/>
                </a:rPr>
                <a:t>High </a:t>
              </a:r>
              <a:r>
                <a:rPr lang="en-US" sz="1600" dirty="0" err="1">
                  <a:solidFill>
                    <a:schemeClr val="bg1"/>
                  </a:solidFill>
                  <a:latin typeface="+mj-lt"/>
                  <a:ea typeface="Roboto" panose="02000000000000000000" pitchFamily="2" charset="0"/>
                </a:rPr>
                <a:t>Calue</a:t>
              </a:r>
              <a:r>
                <a:rPr lang="en-US" sz="1600" dirty="0">
                  <a:solidFill>
                    <a:schemeClr val="bg1"/>
                  </a:solidFill>
                  <a:latin typeface="+mj-lt"/>
                  <a:ea typeface="Roboto" panose="02000000000000000000" pitchFamily="2" charset="0"/>
                </a:rPr>
                <a:t>, Cost Effective</a:t>
              </a:r>
            </a:p>
          </p:txBody>
        </p:sp>
        <p:sp>
          <p:nvSpPr>
            <p:cNvPr id="64" name="Footer Text"/>
            <p:cNvSpPr txBox="1"/>
            <p:nvPr/>
          </p:nvSpPr>
          <p:spPr>
            <a:xfrm flipH="1">
              <a:off x="2244271" y="1446894"/>
              <a:ext cx="2042886" cy="184666"/>
            </a:xfrm>
            <a:prstGeom prst="rect">
              <a:avLst/>
            </a:prstGeom>
            <a:noFill/>
          </p:spPr>
          <p:txBody>
            <a:bodyPr wrap="square" lIns="0" tIns="0" rIns="0" bIns="0" rtlCol="0">
              <a:spAutoFit/>
            </a:bodyPr>
            <a:lstStyle/>
            <a:p>
              <a:r>
                <a:rPr lang="en-GB" sz="1600" b="1" dirty="0">
                  <a:solidFill>
                    <a:schemeClr val="bg1"/>
                  </a:solidFill>
                  <a:latin typeface="+mj-lt"/>
                  <a:ea typeface="Roboto" panose="02000000000000000000" pitchFamily="2" charset="0"/>
                </a:rPr>
                <a:t>Ethernet Switches</a:t>
              </a:r>
            </a:p>
          </p:txBody>
        </p:sp>
      </p:grpSp>
      <p:grpSp>
        <p:nvGrpSpPr>
          <p:cNvPr id="65" name="Group 64"/>
          <p:cNvGrpSpPr/>
          <p:nvPr/>
        </p:nvGrpSpPr>
        <p:grpSpPr>
          <a:xfrm>
            <a:off x="6288710" y="2284238"/>
            <a:ext cx="3028648" cy="882324"/>
            <a:chOff x="2148114" y="1446893"/>
            <a:chExt cx="2271486" cy="661742"/>
          </a:xfrm>
        </p:grpSpPr>
        <p:sp>
          <p:nvSpPr>
            <p:cNvPr id="66" name="Rectangle 65"/>
            <p:cNvSpPr/>
            <p:nvPr/>
          </p:nvSpPr>
          <p:spPr>
            <a:xfrm>
              <a:off x="2148114" y="1670054"/>
              <a:ext cx="2271486" cy="438581"/>
            </a:xfrm>
            <a:prstGeom prst="rect">
              <a:avLst/>
            </a:prstGeom>
          </p:spPr>
          <p:txBody>
            <a:bodyPr wrap="square">
              <a:spAutoFit/>
            </a:bodyPr>
            <a:lstStyle/>
            <a:p>
              <a:r>
                <a:rPr lang="en-US" sz="1600" dirty="0">
                  <a:solidFill>
                    <a:schemeClr val="bg1"/>
                  </a:solidFill>
                  <a:latin typeface="+mj-lt"/>
                  <a:ea typeface="Roboto" panose="02000000000000000000" pitchFamily="2" charset="0"/>
                </a:rPr>
                <a:t>5G Ready, Internet of Things</a:t>
              </a:r>
            </a:p>
            <a:p>
              <a:r>
                <a:rPr lang="en-US" sz="1600" dirty="0">
                  <a:solidFill>
                    <a:schemeClr val="bg1"/>
                  </a:solidFill>
                  <a:latin typeface="+mj-lt"/>
                  <a:ea typeface="Roboto" panose="02000000000000000000" pitchFamily="2" charset="0"/>
                </a:rPr>
                <a:t>Flexible &amp; Scalable</a:t>
              </a:r>
            </a:p>
          </p:txBody>
        </p:sp>
        <p:sp>
          <p:nvSpPr>
            <p:cNvPr id="67" name="Footer Text"/>
            <p:cNvSpPr txBox="1"/>
            <p:nvPr/>
          </p:nvSpPr>
          <p:spPr>
            <a:xfrm flipH="1">
              <a:off x="2244271" y="1446893"/>
              <a:ext cx="2042886" cy="184666"/>
            </a:xfrm>
            <a:prstGeom prst="rect">
              <a:avLst/>
            </a:prstGeom>
            <a:noFill/>
          </p:spPr>
          <p:txBody>
            <a:bodyPr wrap="square" lIns="0" tIns="0" rIns="0" bIns="0" rtlCol="0">
              <a:spAutoFit/>
            </a:bodyPr>
            <a:lstStyle/>
            <a:p>
              <a:r>
                <a:rPr lang="en-GB" sz="1600" b="1" dirty="0">
                  <a:solidFill>
                    <a:schemeClr val="bg1"/>
                  </a:solidFill>
                  <a:latin typeface="+mj-lt"/>
                  <a:ea typeface="Roboto" panose="02000000000000000000" pitchFamily="2" charset="0"/>
                </a:rPr>
                <a:t>Mobile Backhaul</a:t>
              </a:r>
            </a:p>
          </p:txBody>
        </p:sp>
      </p:grpSp>
      <p:grpSp>
        <p:nvGrpSpPr>
          <p:cNvPr id="68" name="Group 67"/>
          <p:cNvGrpSpPr/>
          <p:nvPr/>
        </p:nvGrpSpPr>
        <p:grpSpPr>
          <a:xfrm>
            <a:off x="6288710" y="4661752"/>
            <a:ext cx="3028648" cy="1128544"/>
            <a:chOff x="2148114" y="1446894"/>
            <a:chExt cx="2271486" cy="846408"/>
          </a:xfrm>
        </p:grpSpPr>
        <p:sp>
          <p:nvSpPr>
            <p:cNvPr id="69" name="Rectangle 68"/>
            <p:cNvSpPr/>
            <p:nvPr/>
          </p:nvSpPr>
          <p:spPr>
            <a:xfrm>
              <a:off x="2148114" y="1670054"/>
              <a:ext cx="2271486" cy="623248"/>
            </a:xfrm>
            <a:prstGeom prst="rect">
              <a:avLst/>
            </a:prstGeom>
          </p:spPr>
          <p:txBody>
            <a:bodyPr wrap="square">
              <a:spAutoFit/>
            </a:bodyPr>
            <a:lstStyle/>
            <a:p>
              <a:r>
                <a:rPr lang="en-US" sz="1600" dirty="0">
                  <a:solidFill>
                    <a:schemeClr val="bg1"/>
                  </a:solidFill>
                  <a:latin typeface="+mj-lt"/>
                  <a:ea typeface="Roboto" panose="02000000000000000000" pitchFamily="2" charset="0"/>
                </a:rPr>
                <a:t>Centralized Management</a:t>
              </a:r>
            </a:p>
            <a:p>
              <a:r>
                <a:rPr lang="en-US" sz="1600" dirty="0">
                  <a:solidFill>
                    <a:schemeClr val="bg1"/>
                  </a:solidFill>
                  <a:latin typeface="+mj-lt"/>
                  <a:ea typeface="Roboto" panose="02000000000000000000" pitchFamily="2" charset="0"/>
                </a:rPr>
                <a:t>Simplified Operations</a:t>
              </a:r>
            </a:p>
            <a:p>
              <a:r>
                <a:rPr lang="en-US" sz="1600" dirty="0">
                  <a:solidFill>
                    <a:schemeClr val="bg1"/>
                  </a:solidFill>
                  <a:latin typeface="+mj-lt"/>
                  <a:ea typeface="Roboto" panose="02000000000000000000" pitchFamily="2" charset="0"/>
                </a:rPr>
                <a:t>Innovation Enabled</a:t>
              </a:r>
            </a:p>
          </p:txBody>
        </p:sp>
        <p:sp>
          <p:nvSpPr>
            <p:cNvPr id="70" name="Footer Text"/>
            <p:cNvSpPr txBox="1"/>
            <p:nvPr/>
          </p:nvSpPr>
          <p:spPr>
            <a:xfrm flipH="1">
              <a:off x="2244271" y="1446894"/>
              <a:ext cx="2042886" cy="184666"/>
            </a:xfrm>
            <a:prstGeom prst="rect">
              <a:avLst/>
            </a:prstGeom>
            <a:noFill/>
          </p:spPr>
          <p:txBody>
            <a:bodyPr wrap="square" lIns="0" tIns="0" rIns="0" bIns="0" rtlCol="0">
              <a:spAutoFit/>
            </a:bodyPr>
            <a:lstStyle/>
            <a:p>
              <a:r>
                <a:rPr lang="en-GB" sz="1600" b="1" dirty="0">
                  <a:solidFill>
                    <a:schemeClr val="bg1"/>
                  </a:solidFill>
                  <a:latin typeface="+mj-lt"/>
                  <a:ea typeface="Roboto" panose="02000000000000000000" pitchFamily="2" charset="0"/>
                </a:rPr>
                <a:t>Software Defined Networks</a:t>
              </a:r>
            </a:p>
          </p:txBody>
        </p:sp>
      </p:grpSp>
      <p:sp>
        <p:nvSpPr>
          <p:cNvPr id="8" name="Rectangle 7"/>
          <p:cNvSpPr/>
          <p:nvPr/>
        </p:nvSpPr>
        <p:spPr>
          <a:xfrm>
            <a:off x="1707034" y="-2459510"/>
            <a:ext cx="6096000" cy="1200329"/>
          </a:xfrm>
          <a:prstGeom prst="rect">
            <a:avLst/>
          </a:prstGeom>
        </p:spPr>
        <p:txBody>
          <a:bodyPr>
            <a:spAutoFit/>
          </a:bodyPr>
          <a:lstStyle/>
          <a:p>
            <a:r>
              <a:rPr lang="en-US" dirty="0"/>
              <a:t>For the font color, can you make sure it is dark enough? The logo in the upper right and the boxes on slides (e.g. 3, 5) appear darker than the text does, not sure if this is because there is a limit on what color the text can be. </a:t>
            </a:r>
          </a:p>
        </p:txBody>
      </p:sp>
    </p:spTree>
    <p:extLst>
      <p:ext uri="{BB962C8B-B14F-4D97-AF65-F5344CB8AC3E}">
        <p14:creationId xmlns:p14="http://schemas.microsoft.com/office/powerpoint/2010/main" val="4134904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9G_xpJgMUSIQDI9Tqh7_Q"/>
</p:tagLst>
</file>

<file path=ppt/theme/theme1.xml><?xml version="1.0" encoding="utf-8"?>
<a:theme xmlns:a="http://schemas.openxmlformats.org/drawingml/2006/main" name="Office Theme">
  <a:themeElements>
    <a:clrScheme name="DZS">
      <a:dk1>
        <a:srgbClr val="56565B"/>
      </a:dk1>
      <a:lt1>
        <a:sysClr val="window" lastClr="FFFFFF"/>
      </a:lt1>
      <a:dk2>
        <a:srgbClr val="272324"/>
      </a:dk2>
      <a:lt2>
        <a:srgbClr val="FFFFFF"/>
      </a:lt2>
      <a:accent1>
        <a:srgbClr val="56565B"/>
      </a:accent1>
      <a:accent2>
        <a:srgbClr val="00AEEB"/>
      </a:accent2>
      <a:accent3>
        <a:srgbClr val="D1CECD"/>
      </a:accent3>
      <a:accent4>
        <a:srgbClr val="F78A3A"/>
      </a:accent4>
      <a:accent5>
        <a:srgbClr val="FBCA29"/>
      </a:accent5>
      <a:accent6>
        <a:srgbClr val="004E93"/>
      </a:accent6>
      <a:hlink>
        <a:srgbClr val="00AEEB"/>
      </a:hlink>
      <a:folHlink>
        <a:srgbClr val="00AEEB"/>
      </a:folHlink>
    </a:clrScheme>
    <a:fontScheme name="Custom 1">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0</TotalTime>
  <Words>2197</Words>
  <Application>Microsoft Macintosh PowerPoint</Application>
  <PresentationFormat>Widescreen</PresentationFormat>
  <Paragraphs>347</Paragraphs>
  <Slides>35</Slides>
  <Notes>5</Notes>
  <HiddenSlides>0</HiddenSlides>
  <MMClips>0</MMClips>
  <ScaleCrop>false</ScaleCrop>
  <HeadingPairs>
    <vt:vector size="6" baseType="variant">
      <vt:variant>
        <vt:lpstr>Fonts Used</vt:lpstr>
      </vt:variant>
      <vt:variant>
        <vt:i4>17</vt:i4>
      </vt:variant>
      <vt:variant>
        <vt:lpstr>Theme</vt:lpstr>
      </vt:variant>
      <vt:variant>
        <vt:i4>1</vt:i4>
      </vt:variant>
      <vt:variant>
        <vt:lpstr>Slide Titles</vt:lpstr>
      </vt:variant>
      <vt:variant>
        <vt:i4>35</vt:i4>
      </vt:variant>
    </vt:vector>
  </HeadingPairs>
  <TitlesOfParts>
    <vt:vector size="53" baseType="lpstr">
      <vt:lpstr>SimSun</vt:lpstr>
      <vt:lpstr>Abeezee</vt:lpstr>
      <vt:lpstr>Arial</vt:lpstr>
      <vt:lpstr>Calibri</vt:lpstr>
      <vt:lpstr>Gill Sans</vt:lpstr>
      <vt:lpstr>Lato</vt:lpstr>
      <vt:lpstr>Lato Regular</vt:lpstr>
      <vt:lpstr>Montserrat Light</vt:lpstr>
      <vt:lpstr>Montserrat Semi</vt:lpstr>
      <vt:lpstr>Open Sans</vt:lpstr>
      <vt:lpstr>Open Sans Condensed</vt:lpstr>
      <vt:lpstr>Roboto</vt:lpstr>
      <vt:lpstr>Roboto Regular</vt:lpstr>
      <vt:lpstr>Times New Roman</vt:lpstr>
      <vt:lpstr>Titillium Light</vt:lpstr>
      <vt:lpstr>Titillium Semibold</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ndows User</dc:creator>
  <cp:lastModifiedBy>Microsoft Office User</cp:lastModifiedBy>
  <cp:revision>257</cp:revision>
  <dcterms:created xsi:type="dcterms:W3CDTF">2018-01-30T12:31:50Z</dcterms:created>
  <dcterms:modified xsi:type="dcterms:W3CDTF">2018-08-30T00:16:39Z</dcterms:modified>
</cp:coreProperties>
</file>